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7.xml" ContentType="application/vnd.openxmlformats-officedocument.presentationml.tags+xml"/>
  <Override PartName="/ppt/notesSlides/notesSlide22.xml" ContentType="application/vnd.openxmlformats-officedocument.presentationml.notesSlide+xml"/>
  <Override PartName="/ppt/tags/tag18.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881" r:id="rId1"/>
  </p:sldMasterIdLst>
  <p:notesMasterIdLst>
    <p:notesMasterId r:id="rId42"/>
  </p:notesMasterIdLst>
  <p:handoutMasterIdLst>
    <p:handoutMasterId r:id="rId43"/>
  </p:handoutMasterIdLst>
  <p:sldIdLst>
    <p:sldId id="268" r:id="rId2"/>
    <p:sldId id="318" r:id="rId3"/>
    <p:sldId id="321" r:id="rId4"/>
    <p:sldId id="302" r:id="rId5"/>
    <p:sldId id="303" r:id="rId6"/>
    <p:sldId id="324" r:id="rId7"/>
    <p:sldId id="325" r:id="rId8"/>
    <p:sldId id="322" r:id="rId9"/>
    <p:sldId id="304" r:id="rId10"/>
    <p:sldId id="305" r:id="rId11"/>
    <p:sldId id="306" r:id="rId12"/>
    <p:sldId id="307" r:id="rId13"/>
    <p:sldId id="319" r:id="rId14"/>
    <p:sldId id="271" r:id="rId15"/>
    <p:sldId id="273" r:id="rId16"/>
    <p:sldId id="279" r:id="rId17"/>
    <p:sldId id="274" r:id="rId18"/>
    <p:sldId id="275" r:id="rId19"/>
    <p:sldId id="270" r:id="rId20"/>
    <p:sldId id="277" r:id="rId21"/>
    <p:sldId id="278" r:id="rId22"/>
    <p:sldId id="280" r:id="rId23"/>
    <p:sldId id="320" r:id="rId24"/>
    <p:sldId id="309" r:id="rId25"/>
    <p:sldId id="323" r:id="rId26"/>
    <p:sldId id="310" r:id="rId27"/>
    <p:sldId id="311" r:id="rId28"/>
    <p:sldId id="312" r:id="rId29"/>
    <p:sldId id="315" r:id="rId30"/>
    <p:sldId id="316" r:id="rId31"/>
    <p:sldId id="313" r:id="rId32"/>
    <p:sldId id="314" r:id="rId33"/>
    <p:sldId id="317" r:id="rId34"/>
    <p:sldId id="296" r:id="rId35"/>
    <p:sldId id="297" r:id="rId36"/>
    <p:sldId id="298" r:id="rId37"/>
    <p:sldId id="299" r:id="rId38"/>
    <p:sldId id="300" r:id="rId39"/>
    <p:sldId id="301" r:id="rId40"/>
    <p:sldId id="284" r:id="rId41"/>
  </p:sldIdLst>
  <p:sldSz cx="9906000" cy="6858000" type="A4"/>
  <p:notesSz cx="6797675" cy="9874250"/>
  <p:custDataLst>
    <p:tags r:id="rId44"/>
  </p:custDataLst>
  <p:defaultTextStyle>
    <a:defPPr>
      <a:defRPr lang="de-DE"/>
    </a:defPPr>
    <a:lvl1pPr algn="l" rtl="0" eaLnBrk="0" fontAlgn="base" hangingPunct="0">
      <a:spcBef>
        <a:spcPct val="0"/>
      </a:spcBef>
      <a:spcAft>
        <a:spcPct val="20000"/>
      </a:spcAft>
      <a:defRPr sz="1600" kern="1200">
        <a:solidFill>
          <a:schemeClr val="tx1"/>
        </a:solidFill>
        <a:latin typeface="Arial" charset="0"/>
        <a:ea typeface="+mn-ea"/>
        <a:cs typeface="+mn-cs"/>
      </a:defRPr>
    </a:lvl1pPr>
    <a:lvl2pPr marL="457200" algn="l" rtl="0" eaLnBrk="0" fontAlgn="base" hangingPunct="0">
      <a:spcBef>
        <a:spcPct val="0"/>
      </a:spcBef>
      <a:spcAft>
        <a:spcPct val="20000"/>
      </a:spcAft>
      <a:defRPr sz="1600" kern="1200">
        <a:solidFill>
          <a:schemeClr val="tx1"/>
        </a:solidFill>
        <a:latin typeface="Arial" charset="0"/>
        <a:ea typeface="+mn-ea"/>
        <a:cs typeface="+mn-cs"/>
      </a:defRPr>
    </a:lvl2pPr>
    <a:lvl3pPr marL="914400" algn="l" rtl="0" eaLnBrk="0" fontAlgn="base" hangingPunct="0">
      <a:spcBef>
        <a:spcPct val="0"/>
      </a:spcBef>
      <a:spcAft>
        <a:spcPct val="20000"/>
      </a:spcAft>
      <a:defRPr sz="1600" kern="1200">
        <a:solidFill>
          <a:schemeClr val="tx1"/>
        </a:solidFill>
        <a:latin typeface="Arial" charset="0"/>
        <a:ea typeface="+mn-ea"/>
        <a:cs typeface="+mn-cs"/>
      </a:defRPr>
    </a:lvl3pPr>
    <a:lvl4pPr marL="1371600" algn="l" rtl="0" eaLnBrk="0" fontAlgn="base" hangingPunct="0">
      <a:spcBef>
        <a:spcPct val="0"/>
      </a:spcBef>
      <a:spcAft>
        <a:spcPct val="20000"/>
      </a:spcAft>
      <a:defRPr sz="1600" kern="1200">
        <a:solidFill>
          <a:schemeClr val="tx1"/>
        </a:solidFill>
        <a:latin typeface="Arial" charset="0"/>
        <a:ea typeface="+mn-ea"/>
        <a:cs typeface="+mn-cs"/>
      </a:defRPr>
    </a:lvl4pPr>
    <a:lvl5pPr marL="1828800" algn="l" rtl="0" eaLnBrk="0" fontAlgn="base" hangingPunct="0">
      <a:spcBef>
        <a:spcPct val="0"/>
      </a:spcBef>
      <a:spcAft>
        <a:spcPct val="2000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11"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zad" initials="z" lastIdx="36" clrIdx="0"/>
  <p:cmAuthor id="1" name="braun.nadim" initials="nmb" lastIdx="12" clrIdx="1"/>
  <p:cmAuthor id="2" name="Malik, Fredmund" initials="M " lastIdx="45" clrIdx="2"/>
  <p:cmAuthor id="3" name="Fischer, Jan" initials="FJA" lastIdx="1"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CFDD"/>
    <a:srgbClr val="AEBBCF"/>
    <a:srgbClr val="BCC4D6"/>
    <a:srgbClr val="95A3BD"/>
    <a:srgbClr val="EDEFF6"/>
    <a:srgbClr val="AFB8CD"/>
    <a:srgbClr val="B2BACE"/>
    <a:srgbClr val="ADB8CD"/>
    <a:srgbClr val="C4CFDE"/>
    <a:srgbClr val="CED6E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DF18680-E054-41AD-8BC1-D1AEF772440D}">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8FB837D-C827-4EFA-A057-4D05807E0F7C}" styleName="Designformatvorlage 1 - Akz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Designformatvorlage 1 - Akz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833" autoAdjust="0"/>
    <p:restoredTop sz="94912" autoAdjust="0"/>
  </p:normalViewPr>
  <p:slideViewPr>
    <p:cSldViewPr snapToGrid="0" snapToObjects="1" showGuides="1">
      <p:cViewPr varScale="1">
        <p:scale>
          <a:sx n="111" d="100"/>
          <a:sy n="111" d="100"/>
        </p:scale>
        <p:origin x="912" y="114"/>
      </p:cViewPr>
      <p:guideLst/>
    </p:cSldViewPr>
  </p:slideViewPr>
  <p:notesTextViewPr>
    <p:cViewPr>
      <p:scale>
        <a:sx n="3" d="2"/>
        <a:sy n="3" d="2"/>
      </p:scale>
      <p:origin x="0" y="0"/>
    </p:cViewPr>
  </p:notesTextViewPr>
  <p:sorterViewPr>
    <p:cViewPr>
      <p:scale>
        <a:sx n="100" d="100"/>
        <a:sy n="100" d="100"/>
      </p:scale>
      <p:origin x="0" y="0"/>
    </p:cViewPr>
  </p:sorterViewPr>
  <p:notesViewPr>
    <p:cSldViewPr snapToGrid="0" snapToObjects="1" showGuides="1">
      <p:cViewPr varScale="1">
        <p:scale>
          <a:sx n="88" d="100"/>
          <a:sy n="88" d="100"/>
        </p:scale>
        <p:origin x="3756" y="108"/>
      </p:cViewPr>
      <p:guideLst>
        <p:guide orient="horz" pos="3111"/>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Grafik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75088" y="338224"/>
            <a:ext cx="744749" cy="218033"/>
          </a:xfrm>
          <a:prstGeom prst="rect">
            <a:avLst/>
          </a:prstGeom>
        </p:spPr>
      </p:pic>
      <p:sp>
        <p:nvSpPr>
          <p:cNvPr id="7" name="Malik Year"/>
          <p:cNvSpPr>
            <a:spLocks noChangeArrowheads="1"/>
          </p:cNvSpPr>
          <p:nvPr/>
        </p:nvSpPr>
        <p:spPr bwMode="auto">
          <a:xfrm>
            <a:off x="353232" y="9590032"/>
            <a:ext cx="774112" cy="142144"/>
          </a:xfrm>
          <a:prstGeom prst="rect">
            <a:avLst/>
          </a:prstGeom>
          <a:noFill/>
          <a:ln w="9525">
            <a:noFill/>
            <a:miter lim="800000"/>
            <a:headEnd/>
            <a:tailEnd/>
          </a:ln>
          <a:effectLst/>
        </p:spPr>
        <p:txBody>
          <a:bodyPr wrap="none" anchor="ctr"/>
          <a:lstStyle/>
          <a:p>
            <a:pPr algn="r">
              <a:spcAft>
                <a:spcPct val="0"/>
              </a:spcAft>
            </a:pPr>
            <a:fld id="{AF5FB993-9714-42C6-952F-B1687DB8D0CF}" type="datetime4">
              <a:rPr lang="de-DE" altLang="de-DE" sz="800" smtClean="0">
                <a:latin typeface="Calibri" panose="020F0502020204030204" pitchFamily="34" charset="0"/>
              </a:rPr>
              <a:pPr algn="r">
                <a:spcAft>
                  <a:spcPct val="0"/>
                </a:spcAft>
              </a:pPr>
              <a:t>25. November 2019</a:t>
            </a:fld>
            <a:endParaRPr lang="de-DE" altLang="de-DE" sz="800" dirty="0">
              <a:latin typeface="Calibri" panose="020F0502020204030204" pitchFamily="34" charset="0"/>
            </a:endParaRPr>
          </a:p>
        </p:txBody>
      </p:sp>
      <p:sp>
        <p:nvSpPr>
          <p:cNvPr id="8" name="Malik Year"/>
          <p:cNvSpPr>
            <a:spLocks noChangeArrowheads="1"/>
          </p:cNvSpPr>
          <p:nvPr/>
        </p:nvSpPr>
        <p:spPr bwMode="auto">
          <a:xfrm>
            <a:off x="1013" y="9357957"/>
            <a:ext cx="831058" cy="606293"/>
          </a:xfrm>
          <a:prstGeom prst="rect">
            <a:avLst/>
          </a:prstGeom>
          <a:solidFill>
            <a:schemeClr val="bg1"/>
          </a:solidFill>
          <a:ln w="9525">
            <a:noFill/>
            <a:miter lim="800000"/>
            <a:headEnd/>
            <a:tailEnd/>
          </a:ln>
          <a:effectLst/>
        </p:spPr>
        <p:txBody>
          <a:bodyPr wrap="none" lIns="900000" rIns="108000" anchor="ctr"/>
          <a:lstStyle/>
          <a:p>
            <a:pPr algn="r">
              <a:spcAft>
                <a:spcPct val="0"/>
              </a:spcAft>
              <a:tabLst>
                <a:tab pos="0" algn="l"/>
              </a:tabLst>
            </a:pPr>
            <a:r>
              <a:rPr lang="de-DE" altLang="de-DE" sz="800" dirty="0" smtClean="0">
                <a:latin typeface="Calibri" panose="020F0502020204030204" pitchFamily="34" charset="0"/>
              </a:rPr>
              <a:t>© Malik</a:t>
            </a:r>
            <a:endParaRPr lang="de-DE" altLang="de-DE" sz="800" dirty="0">
              <a:latin typeface="Calibri" panose="020F0502020204030204" pitchFamily="34" charset="0"/>
            </a:endParaRPr>
          </a:p>
        </p:txBody>
      </p:sp>
      <p:sp>
        <p:nvSpPr>
          <p:cNvPr id="9" name="Rectangle 7"/>
          <p:cNvSpPr>
            <a:spLocks noChangeArrowheads="1"/>
          </p:cNvSpPr>
          <p:nvPr/>
        </p:nvSpPr>
        <p:spPr bwMode="auto">
          <a:xfrm>
            <a:off x="5571913" y="9585691"/>
            <a:ext cx="749724" cy="146485"/>
          </a:xfrm>
          <a:prstGeom prst="rect">
            <a:avLst/>
          </a:prstGeom>
          <a:noFill/>
          <a:ln w="9525">
            <a:noFill/>
            <a:miter lim="800000"/>
            <a:headEnd/>
            <a:tailEnd/>
          </a:ln>
          <a:effectLst/>
        </p:spPr>
        <p:txBody>
          <a:bodyPr wrap="none" lIns="95070" tIns="47535" rIns="0" bIns="47535" anchor="ctr"/>
          <a:lstStyle/>
          <a:p>
            <a:pPr algn="r">
              <a:spcAft>
                <a:spcPct val="0"/>
              </a:spcAft>
            </a:pPr>
            <a:r>
              <a:rPr lang="de-DE" altLang="de-DE" sz="800" dirty="0" smtClean="0">
                <a:latin typeface="Calibri" panose="020F0502020204030204" pitchFamily="34" charset="0"/>
              </a:rPr>
              <a:t>Page </a:t>
            </a:r>
            <a:fld id="{9FAAF413-F484-4E4B-A168-7D0578698AE7}" type="slidenum">
              <a:rPr lang="de-DE" altLang="de-DE" sz="800">
                <a:latin typeface="Calibri" panose="020F0502020204030204" pitchFamily="34" charset="0"/>
              </a:rPr>
              <a:pPr algn="r">
                <a:spcAft>
                  <a:spcPct val="0"/>
                </a:spcAft>
              </a:pPr>
              <a:t>‹Nr.›</a:t>
            </a:fld>
            <a:endParaRPr lang="de-DE" altLang="de-DE" sz="800" dirty="0">
              <a:latin typeface="Calibri" panose="020F0502020204030204" pitchFamily="34" charset="0"/>
            </a:endParaRPr>
          </a:p>
        </p:txBody>
      </p:sp>
    </p:spTree>
    <p:extLst>
      <p:ext uri="{BB962C8B-B14F-4D97-AF65-F5344CB8AC3E}">
        <p14:creationId xmlns:p14="http://schemas.microsoft.com/office/powerpoint/2010/main" val="3063701703"/>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Malik Year"/>
          <p:cNvSpPr>
            <a:spLocks noChangeArrowheads="1"/>
          </p:cNvSpPr>
          <p:nvPr/>
        </p:nvSpPr>
        <p:spPr bwMode="auto">
          <a:xfrm>
            <a:off x="829487" y="9490019"/>
            <a:ext cx="774112" cy="142144"/>
          </a:xfrm>
          <a:prstGeom prst="rect">
            <a:avLst/>
          </a:prstGeom>
          <a:noFill/>
          <a:ln w="9525">
            <a:noFill/>
            <a:miter lim="800000"/>
            <a:headEnd/>
            <a:tailEnd/>
          </a:ln>
          <a:effectLst/>
        </p:spPr>
        <p:txBody>
          <a:bodyPr wrap="none" anchor="ctr"/>
          <a:lstStyle/>
          <a:p>
            <a:pPr algn="r">
              <a:spcAft>
                <a:spcPct val="0"/>
              </a:spcAft>
            </a:pPr>
            <a:fld id="{AF5FB993-9714-42C6-952F-B1687DB8D0CF}" type="datetime4">
              <a:rPr lang="de-DE" altLang="de-DE" sz="800" smtClean="0">
                <a:latin typeface="Calibri" panose="020F0502020204030204" pitchFamily="34" charset="0"/>
              </a:rPr>
              <a:pPr algn="r">
                <a:spcAft>
                  <a:spcPct val="0"/>
                </a:spcAft>
              </a:pPr>
              <a:t>25. November 2019</a:t>
            </a:fld>
            <a:endParaRPr lang="de-DE" altLang="de-DE" sz="800" dirty="0">
              <a:latin typeface="Calibri" panose="020F0502020204030204" pitchFamily="34" charset="0"/>
            </a:endParaRPr>
          </a:p>
        </p:txBody>
      </p:sp>
      <p:sp>
        <p:nvSpPr>
          <p:cNvPr id="8" name="Malik Year"/>
          <p:cNvSpPr>
            <a:spLocks noChangeArrowheads="1"/>
          </p:cNvSpPr>
          <p:nvPr/>
        </p:nvSpPr>
        <p:spPr bwMode="auto">
          <a:xfrm>
            <a:off x="465357" y="9302750"/>
            <a:ext cx="831058" cy="516682"/>
          </a:xfrm>
          <a:prstGeom prst="rect">
            <a:avLst/>
          </a:prstGeom>
          <a:solidFill>
            <a:schemeClr val="bg1"/>
          </a:solidFill>
          <a:ln w="9525">
            <a:noFill/>
            <a:miter lim="800000"/>
            <a:headEnd/>
            <a:tailEnd/>
          </a:ln>
          <a:effectLst/>
        </p:spPr>
        <p:txBody>
          <a:bodyPr wrap="none" lIns="900000" rIns="108000" anchor="ctr"/>
          <a:lstStyle/>
          <a:p>
            <a:pPr algn="r">
              <a:spcAft>
                <a:spcPct val="0"/>
              </a:spcAft>
              <a:tabLst>
                <a:tab pos="0" algn="l"/>
              </a:tabLst>
            </a:pPr>
            <a:r>
              <a:rPr lang="de-DE" altLang="de-DE" sz="800" dirty="0" smtClean="0">
                <a:latin typeface="Calibri" panose="020F0502020204030204" pitchFamily="34" charset="0"/>
              </a:rPr>
              <a:t>© Malik</a:t>
            </a:r>
            <a:endParaRPr lang="de-DE" altLang="de-DE" sz="800" dirty="0">
              <a:latin typeface="Calibri" panose="020F0502020204030204" pitchFamily="34" charset="0"/>
            </a:endParaRPr>
          </a:p>
        </p:txBody>
      </p:sp>
      <p:sp>
        <p:nvSpPr>
          <p:cNvPr id="37892" name="Rectangle 4"/>
          <p:cNvSpPr>
            <a:spLocks noGrp="1" noRot="1" noChangeAspect="1" noChangeArrowheads="1" noTextEdit="1"/>
          </p:cNvSpPr>
          <p:nvPr>
            <p:ph type="sldImg" idx="2"/>
          </p:nvPr>
        </p:nvSpPr>
        <p:spPr bwMode="auto">
          <a:xfrm>
            <a:off x="939800" y="528638"/>
            <a:ext cx="4995863" cy="3457575"/>
          </a:xfrm>
          <a:prstGeom prst="rect">
            <a:avLst/>
          </a:prstGeom>
          <a:noFill/>
          <a:ln w="3175">
            <a:solidFill>
              <a:srgbClr val="000000"/>
            </a:solidFill>
            <a:miter lim="800000"/>
            <a:headEnd/>
            <a:tailEnd/>
          </a:ln>
          <a:effectLst/>
        </p:spPr>
      </p:sp>
      <p:sp>
        <p:nvSpPr>
          <p:cNvPr id="37898" name="Rectangle 10"/>
          <p:cNvSpPr>
            <a:spLocks noGrp="1" noChangeArrowheads="1"/>
          </p:cNvSpPr>
          <p:nvPr>
            <p:ph type="body" sz="quarter" idx="3"/>
          </p:nvPr>
        </p:nvSpPr>
        <p:spPr bwMode="auto">
          <a:xfrm>
            <a:off x="941040" y="4114801"/>
            <a:ext cx="4993481" cy="5245010"/>
          </a:xfrm>
          <a:prstGeom prst="rect">
            <a:avLst/>
          </a:prstGeom>
          <a:noFill/>
          <a:ln w="9525">
            <a:noFill/>
            <a:miter lim="800000"/>
            <a:headEnd/>
            <a:tailEnd/>
          </a:ln>
          <a:effectLst/>
        </p:spPr>
        <p:txBody>
          <a:bodyPr vert="horz" wrap="square" lIns="0" tIns="0" rIns="0" bIns="45862" numCol="1" anchor="t" anchorCtr="0" compatLnSpc="1">
            <a:prstTxWarp prst="textNoShape">
              <a:avLst/>
            </a:prstTxWarp>
          </a:bodyPr>
          <a:lstStyle/>
          <a:p>
            <a:pPr marL="0" marR="0" lvl="0" indent="0" algn="l" defTabSz="914395" rtl="0" eaLnBrk="1" fontAlgn="base" latinLnBrk="0" hangingPunct="1">
              <a:lnSpc>
                <a:spcPct val="113000"/>
              </a:lnSpc>
              <a:spcBef>
                <a:spcPct val="0"/>
              </a:spcBef>
              <a:spcAft>
                <a:spcPts val="600"/>
              </a:spcAft>
              <a:buClr>
                <a:srgbClr val="000000"/>
              </a:buClr>
              <a:buSzTx/>
              <a:buFontTx/>
              <a:buNone/>
              <a:tabLst/>
              <a:defRPr/>
            </a:pPr>
            <a:r>
              <a:rPr kumimoji="0" lang="en-GB" sz="1200" b="0" i="0" u="none" strike="noStrike" kern="0" cap="none" spc="0" normalizeH="0" baseline="0" noProof="0" dirty="0" smtClean="0">
                <a:ln>
                  <a:noFill/>
                </a:ln>
                <a:solidFill>
                  <a:srgbClr val="000000"/>
                </a:solidFill>
                <a:effectLst/>
                <a:uLnTx/>
                <a:uFillTx/>
                <a:latin typeface="Calibri"/>
                <a:ea typeface="+mn-ea"/>
                <a:cs typeface="+mn-cs"/>
              </a:rPr>
              <a:t>First level text with no bullet: </a:t>
            </a:r>
            <a:r>
              <a:rPr kumimoji="0" lang="en-US" sz="1200" b="0" i="0" u="none" strike="noStrike" kern="0" cap="none" spc="0" normalizeH="0" baseline="0" noProof="0" dirty="0" smtClean="0">
                <a:ln>
                  <a:noFill/>
                </a:ln>
                <a:solidFill>
                  <a:srgbClr val="000000"/>
                </a:solidFill>
                <a:effectLst/>
                <a:uLnTx/>
                <a:uFillTx/>
                <a:latin typeface="Calibri"/>
                <a:ea typeface="+mn-ea"/>
                <a:cs typeface="+mn-cs"/>
              </a:rPr>
              <a:t>Calibri </a:t>
            </a:r>
            <a:r>
              <a:rPr kumimoji="0" lang="en-GB" sz="1200" b="0" i="0" u="none" strike="noStrike" kern="0" cap="none" spc="0" normalizeH="0" baseline="0" noProof="0" dirty="0" smtClean="0">
                <a:ln>
                  <a:noFill/>
                </a:ln>
                <a:solidFill>
                  <a:srgbClr val="000000"/>
                </a:solidFill>
                <a:effectLst/>
                <a:uLnTx/>
                <a:uFillTx/>
                <a:latin typeface="Calibri"/>
                <a:ea typeface="+mn-ea"/>
                <a:cs typeface="+mn-cs"/>
              </a:rPr>
              <a:t>12 </a:t>
            </a:r>
            <a:r>
              <a:rPr kumimoji="0" lang="en-GB" sz="1200" b="0" i="0" u="none" strike="noStrike" kern="0" cap="none" spc="0" normalizeH="0" baseline="0" noProof="0" dirty="0" err="1" smtClean="0">
                <a:ln>
                  <a:noFill/>
                </a:ln>
                <a:solidFill>
                  <a:srgbClr val="000000"/>
                </a:solidFill>
                <a:effectLst/>
                <a:uLnTx/>
                <a:uFillTx/>
                <a:latin typeface="Calibri"/>
                <a:ea typeface="+mn-ea"/>
                <a:cs typeface="+mn-cs"/>
              </a:rPr>
              <a:t>pt</a:t>
            </a:r>
            <a:endParaRPr kumimoji="0" lang="en-GB" sz="1200" b="0" i="0" u="none" strike="noStrike" kern="0" cap="none" spc="0" normalizeH="0" baseline="0" noProof="0" dirty="0" smtClean="0">
              <a:ln>
                <a:noFill/>
              </a:ln>
              <a:solidFill>
                <a:srgbClr val="000000"/>
              </a:solidFill>
              <a:effectLst/>
              <a:uLnTx/>
              <a:uFillTx/>
              <a:latin typeface="Calibri"/>
              <a:ea typeface="+mn-ea"/>
              <a:cs typeface="+mn-cs"/>
            </a:endParaRPr>
          </a:p>
          <a:p>
            <a:pPr marL="215999" marR="0" lvl="1" indent="-215999" algn="l" defTabSz="914395" rtl="0" eaLnBrk="1" fontAlgn="base" latinLnBrk="0" hangingPunct="1">
              <a:lnSpc>
                <a:spcPct val="113000"/>
              </a:lnSpc>
              <a:spcBef>
                <a:spcPct val="0"/>
              </a:spcBef>
              <a:spcAft>
                <a:spcPts val="600"/>
              </a:spcAft>
              <a:buClr>
                <a:srgbClr val="000000"/>
              </a:buClr>
              <a:buSzTx/>
              <a:buFont typeface="+mj-lt"/>
              <a:buAutoNum type="arabicPeriod"/>
              <a:tabLst>
                <a:tab pos="361948" algn="l"/>
              </a:tabLst>
              <a:defRPr/>
            </a:pPr>
            <a:r>
              <a:rPr kumimoji="0" lang="en-GB" sz="1200" b="0" i="0" u="none" strike="noStrike" kern="0" cap="none" spc="0" normalizeH="0" baseline="0" noProof="0" dirty="0" smtClean="0">
                <a:ln>
                  <a:noFill/>
                </a:ln>
                <a:solidFill>
                  <a:srgbClr val="000000"/>
                </a:solidFill>
                <a:effectLst/>
                <a:uLnTx/>
                <a:uFillTx/>
                <a:latin typeface="Calibri"/>
              </a:rPr>
              <a:t>Second level text with numbers</a:t>
            </a:r>
          </a:p>
          <a:p>
            <a:pPr marL="431997" marR="0" lvl="2" indent="-215999" algn="l" defTabSz="888995" rtl="0" eaLnBrk="1" fontAlgn="base" latinLnBrk="0" hangingPunct="1">
              <a:lnSpc>
                <a:spcPct val="113000"/>
              </a:lnSpc>
              <a:spcBef>
                <a:spcPct val="0"/>
              </a:spcBef>
              <a:spcAft>
                <a:spcPts val="600"/>
              </a:spcAft>
              <a:buClr>
                <a:srgbClr val="000000"/>
              </a:buClr>
              <a:buSzTx/>
              <a:buFont typeface="+mj-lt"/>
              <a:buAutoNum type="alphaLcPeriod"/>
              <a:tabLst/>
              <a:defRPr/>
            </a:pPr>
            <a:r>
              <a:rPr kumimoji="0" lang="en-GB" sz="1200" b="0" i="0" u="none" strike="noStrike" kern="0" cap="none" spc="0" normalizeH="0" baseline="0" noProof="0" dirty="0" smtClean="0">
                <a:ln>
                  <a:noFill/>
                </a:ln>
                <a:solidFill>
                  <a:srgbClr val="000000"/>
                </a:solidFill>
                <a:effectLst/>
                <a:uLnTx/>
                <a:uFillTx/>
                <a:latin typeface="Calibri"/>
              </a:rPr>
              <a:t>Third level text with alphabet</a:t>
            </a:r>
          </a:p>
          <a:p>
            <a:pPr marL="647996" marR="0" lvl="3" indent="-215999" algn="l" defTabSz="914400" rtl="0" eaLnBrk="1" fontAlgn="base" latinLnBrk="0" hangingPunct="1">
              <a:lnSpc>
                <a:spcPct val="113000"/>
              </a:lnSpc>
              <a:spcBef>
                <a:spcPct val="0"/>
              </a:spcBef>
              <a:spcAft>
                <a:spcPts val="600"/>
              </a:spcAft>
              <a:buClr>
                <a:srgbClr val="000000"/>
              </a:buClr>
              <a:buSzTx/>
              <a:buFont typeface="+mj-lt"/>
              <a:buAutoNum type="romanLcPeriod"/>
              <a:tabLst/>
              <a:defRPr/>
            </a:pPr>
            <a:r>
              <a:rPr kumimoji="0" lang="en-GB" sz="1200" b="0" i="0" u="none" strike="noStrike" kern="0" cap="none" spc="0" normalizeH="0" baseline="0" noProof="0" dirty="0" smtClean="0">
                <a:ln>
                  <a:noFill/>
                </a:ln>
                <a:solidFill>
                  <a:srgbClr val="000000"/>
                </a:solidFill>
                <a:effectLst/>
                <a:uLnTx/>
                <a:uFillTx/>
                <a:latin typeface="Calibri"/>
              </a:rPr>
              <a:t>Fourth level text with roman numbers</a:t>
            </a:r>
          </a:p>
        </p:txBody>
      </p:sp>
      <p:sp>
        <p:nvSpPr>
          <p:cNvPr id="16" name="Rectangle 7"/>
          <p:cNvSpPr>
            <a:spLocks noChangeArrowheads="1"/>
          </p:cNvSpPr>
          <p:nvPr/>
        </p:nvSpPr>
        <p:spPr bwMode="auto">
          <a:xfrm>
            <a:off x="5228875" y="9490550"/>
            <a:ext cx="717550" cy="142121"/>
          </a:xfrm>
          <a:prstGeom prst="rect">
            <a:avLst/>
          </a:prstGeom>
          <a:noFill/>
          <a:ln w="9525">
            <a:noFill/>
            <a:miter lim="800000"/>
            <a:headEnd/>
            <a:tailEnd/>
          </a:ln>
          <a:effectLst/>
        </p:spPr>
        <p:txBody>
          <a:bodyPr wrap="none" lIns="91724" tIns="45862" rIns="0" bIns="45862" anchor="ctr"/>
          <a:lstStyle/>
          <a:p>
            <a:pPr algn="r">
              <a:spcAft>
                <a:spcPct val="0"/>
              </a:spcAft>
            </a:pPr>
            <a:r>
              <a:rPr lang="de-DE" altLang="de-DE" sz="800" dirty="0" smtClean="0">
                <a:latin typeface="Calibri" panose="020F0502020204030204" pitchFamily="34" charset="0"/>
                <a:cs typeface="Calibri" panose="020F0502020204030204" pitchFamily="34" charset="0"/>
              </a:rPr>
              <a:t>Page </a:t>
            </a:r>
            <a:fld id="{9FAAF413-F484-4E4B-A168-7D0578698AE7}" type="slidenum">
              <a:rPr lang="de-DE" altLang="de-DE" sz="800">
                <a:latin typeface="Calibri" panose="020F0502020204030204" pitchFamily="34" charset="0"/>
                <a:cs typeface="Calibri" panose="020F0502020204030204" pitchFamily="34" charset="0"/>
              </a:rPr>
              <a:pPr algn="r">
                <a:spcAft>
                  <a:spcPct val="0"/>
                </a:spcAft>
              </a:pPr>
              <a:t>‹Nr.›</a:t>
            </a:fld>
            <a:endParaRPr lang="de-DE" altLang="de-DE" sz="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7699852"/>
      </p:ext>
    </p:extLst>
  </p:cSld>
  <p:clrMap bg1="lt1" tx1="dk1" bg2="lt2" tx2="dk2" accent1="accent1" accent2="accent2" accent3="accent3" accent4="accent4" accent5="accent5" accent6="accent6" hlink="hlink" folHlink="folHlink"/>
  <p:hf hdr="0" ftr="0"/>
  <p:notesStyle>
    <a:lvl1pPr marL="0" marR="0" indent="0" algn="l" defTabSz="914395" rtl="0" eaLnBrk="1" fontAlgn="base" latinLnBrk="0" hangingPunct="1">
      <a:lnSpc>
        <a:spcPct val="113000"/>
      </a:lnSpc>
      <a:spcBef>
        <a:spcPct val="0"/>
      </a:spcBef>
      <a:spcAft>
        <a:spcPts val="600"/>
      </a:spcAft>
      <a:buClr>
        <a:srgbClr val="000000"/>
      </a:buClr>
      <a:buSzTx/>
      <a:buFontTx/>
      <a:buNone/>
      <a:tabLst/>
      <a:defRPr sz="1200" kern="1200">
        <a:solidFill>
          <a:schemeClr val="tx1"/>
        </a:solidFill>
        <a:latin typeface="Calibri" panose="020F0502020204030204" pitchFamily="34" charset="0"/>
        <a:ea typeface="+mn-ea"/>
        <a:cs typeface="Calibri" panose="020F0502020204030204" pitchFamily="34" charset="0"/>
      </a:defRPr>
    </a:lvl1pPr>
    <a:lvl2pPr marL="215999" marR="0" indent="-215999" algn="l" defTabSz="914395" rtl="0" eaLnBrk="1" fontAlgn="base" latinLnBrk="0" hangingPunct="1">
      <a:lnSpc>
        <a:spcPct val="113000"/>
      </a:lnSpc>
      <a:spcBef>
        <a:spcPct val="0"/>
      </a:spcBef>
      <a:spcAft>
        <a:spcPts val="600"/>
      </a:spcAft>
      <a:buClr>
        <a:srgbClr val="000000"/>
      </a:buClr>
      <a:buSzTx/>
      <a:buFont typeface="+mj-lt"/>
      <a:buAutoNum type="arabicPeriod"/>
      <a:tabLst>
        <a:tab pos="361948" algn="l"/>
      </a:tabLst>
      <a:defRPr sz="1200" kern="1200">
        <a:solidFill>
          <a:schemeClr val="tx1"/>
        </a:solidFill>
        <a:latin typeface="Calibri" panose="020F0502020204030204" pitchFamily="34" charset="0"/>
        <a:ea typeface="+mn-ea"/>
        <a:cs typeface="Calibri" panose="020F0502020204030204" pitchFamily="34" charset="0"/>
      </a:defRPr>
    </a:lvl2pPr>
    <a:lvl3pPr marL="431997" marR="0" indent="-215999" algn="l" defTabSz="888995" rtl="0" eaLnBrk="1" fontAlgn="base" latinLnBrk="0" hangingPunct="1">
      <a:lnSpc>
        <a:spcPct val="113000"/>
      </a:lnSpc>
      <a:spcBef>
        <a:spcPct val="0"/>
      </a:spcBef>
      <a:spcAft>
        <a:spcPts val="600"/>
      </a:spcAft>
      <a:buClr>
        <a:srgbClr val="000000"/>
      </a:buClr>
      <a:buSzTx/>
      <a:buFont typeface="+mj-lt"/>
      <a:buAutoNum type="alphaLcPeriod"/>
      <a:tabLst/>
      <a:defRPr sz="1200" kern="1200">
        <a:solidFill>
          <a:schemeClr val="tx1"/>
        </a:solidFill>
        <a:latin typeface="Calibri" panose="020F0502020204030204" pitchFamily="34" charset="0"/>
        <a:ea typeface="+mn-ea"/>
        <a:cs typeface="Calibri" panose="020F0502020204030204" pitchFamily="34" charset="0"/>
      </a:defRPr>
    </a:lvl3pPr>
    <a:lvl4pPr marL="647996" marR="0" indent="-215999" algn="l" defTabSz="914400" rtl="0" eaLnBrk="1" fontAlgn="base" latinLnBrk="0" hangingPunct="1">
      <a:lnSpc>
        <a:spcPct val="113000"/>
      </a:lnSpc>
      <a:spcBef>
        <a:spcPct val="0"/>
      </a:spcBef>
      <a:spcAft>
        <a:spcPts val="600"/>
      </a:spcAft>
      <a:buClr>
        <a:srgbClr val="000000"/>
      </a:buClr>
      <a:buSzTx/>
      <a:buFont typeface="+mj-lt"/>
      <a:buAutoNum type="romanLcPeriod"/>
      <a:tabLst/>
      <a:defRPr sz="1200" kern="1200">
        <a:solidFill>
          <a:schemeClr val="tx1"/>
        </a:solidFill>
        <a:latin typeface="Calibri" panose="020F0502020204030204" pitchFamily="34" charset="0"/>
        <a:ea typeface="+mn-ea"/>
        <a:cs typeface="Calibri" panose="020F0502020204030204" pitchFamily="34" charset="0"/>
      </a:defRPr>
    </a:lvl4pPr>
    <a:lvl5pPr marL="1077913" indent="-269875" algn="l" rtl="0" fontAlgn="base">
      <a:spcBef>
        <a:spcPts val="0"/>
      </a:spcBef>
      <a:spcAft>
        <a:spcPts val="384"/>
      </a:spcAft>
      <a:buFont typeface="Arial" pitchFamily="34" charset="0"/>
      <a:buChar char="-"/>
      <a:defRPr sz="1200" kern="1200">
        <a:solidFill>
          <a:schemeClr val="tx1"/>
        </a:solidFill>
        <a:latin typeface="Calibri" panose="020F0502020204030204" pitchFamily="34" charset="0"/>
        <a:ea typeface="+mn-ea"/>
        <a:cs typeface="Calibri" panose="020F0502020204030204" pitchFamily="34" charset="0"/>
      </a:defRPr>
    </a:lvl5pPr>
    <a:lvl6pPr marL="1343025" indent="-270000" algn="l" defTabSz="914400" rtl="0" eaLnBrk="1" latinLnBrk="0" hangingPunct="1">
      <a:spcAft>
        <a:spcPts val="384"/>
      </a:spcAft>
      <a:buFont typeface="Arial" pitchFamily="34" charset="0"/>
      <a:buChar char="-"/>
      <a:defRPr lang="de-DE" altLang="de-DE" sz="1200" kern="1200" baseline="0" dirty="0" smtClean="0">
        <a:solidFill>
          <a:schemeClr val="tx1"/>
        </a:solidFill>
        <a:latin typeface="Calibri" panose="020F0502020204030204" pitchFamily="34" charset="0"/>
        <a:ea typeface="+mn-ea"/>
        <a:cs typeface="Calibri" panose="020F0502020204030204" pitchFamily="34" charset="0"/>
      </a:defRPr>
    </a:lvl6pPr>
    <a:lvl7pPr marL="1793875" indent="-269875" algn="l" defTabSz="914400" rtl="0" eaLnBrk="1" latinLnBrk="0" hangingPunct="1">
      <a:buNone/>
      <a:tabLst/>
      <a:defRPr sz="1200" kern="1200" baseline="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41388" y="528638"/>
            <a:ext cx="4992687" cy="3457575"/>
          </a:xfrm>
        </p:spPr>
      </p:sp>
      <p:sp>
        <p:nvSpPr>
          <p:cNvPr id="3" name="Notizenplatzhalter 2"/>
          <p:cNvSpPr>
            <a:spLocks noGrp="1"/>
          </p:cNvSpPr>
          <p:nvPr>
            <p:ph type="body" idx="1"/>
          </p:nvPr>
        </p:nvSpPr>
        <p:spPr/>
        <p:txBody>
          <a:bodyPr/>
          <a:lstStyle/>
          <a:p>
            <a:endParaRPr lang="de-DE" sz="1100" dirty="0">
              <a:latin typeface="Calibri" panose="020F0502020204030204" pitchFamily="34" charset="0"/>
            </a:endParaRPr>
          </a:p>
        </p:txBody>
      </p:sp>
    </p:spTree>
    <p:extLst>
      <p:ext uri="{BB962C8B-B14F-4D97-AF65-F5344CB8AC3E}">
        <p14:creationId xmlns:p14="http://schemas.microsoft.com/office/powerpoint/2010/main" val="31559262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25488" y="741363"/>
            <a:ext cx="5346700" cy="3702050"/>
          </a:xfrm>
        </p:spPr>
      </p:sp>
      <p:sp>
        <p:nvSpPr>
          <p:cNvPr id="3" name="Notizenplatzhalter 2"/>
          <p:cNvSpPr>
            <a:spLocks noGrp="1"/>
          </p:cNvSpPr>
          <p:nvPr>
            <p:ph type="body" idx="1"/>
          </p:nvPr>
        </p:nvSpPr>
        <p:spPr>
          <a:xfrm>
            <a:off x="889000" y="4689992"/>
            <a:ext cx="4891088" cy="4443650"/>
          </a:xfrm>
          <a:prstGeom prst="rect">
            <a:avLst/>
          </a:prstGeom>
        </p:spPr>
        <p:txBody>
          <a:bodyPr>
            <a:normAutofit/>
          </a:bodyPr>
          <a:lstStyle/>
          <a:p>
            <a:r>
              <a:rPr lang="de-DE" sz="1000"/>
              <a:t>Animierte Folie; s-Kurven bauen sich auf</a:t>
            </a:r>
          </a:p>
          <a:p>
            <a:r>
              <a:rPr lang="de-DE" sz="1000"/>
              <a:t>Beispiele: Industriegesellschaft ersetzt die Agrargesellschaft; Auto ersetzt Pferd; mechanische Büromaschinen werden durch Computer ersetzt, chemische Fotografie durch digitale Bilderzeugung (Kodak)  </a:t>
            </a:r>
          </a:p>
          <a:p>
            <a:endParaRPr lang="de-DE" sz="1000"/>
          </a:p>
          <a:p>
            <a:endParaRPr lang="de-DE" baseline="0" smtClean="0"/>
          </a:p>
          <a:p>
            <a:endParaRPr lang="de-DE" dirty="0"/>
          </a:p>
        </p:txBody>
      </p:sp>
    </p:spTree>
    <p:extLst>
      <p:ext uri="{BB962C8B-B14F-4D97-AF65-F5344CB8AC3E}">
        <p14:creationId xmlns:p14="http://schemas.microsoft.com/office/powerpoint/2010/main" val="22568010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41388" y="528638"/>
            <a:ext cx="4992687" cy="3457575"/>
          </a:xfrm>
        </p:spPr>
      </p:sp>
      <p:sp>
        <p:nvSpPr>
          <p:cNvPr id="3" name="Notizenplatzhalter 2"/>
          <p:cNvSpPr>
            <a:spLocks noGrp="1"/>
          </p:cNvSpPr>
          <p:nvPr>
            <p:ph type="body" idx="1"/>
          </p:nvPr>
        </p:nvSpPr>
        <p:spPr/>
        <p:txBody>
          <a:bodyPr/>
          <a:lstStyle/>
          <a:p>
            <a:endParaRPr lang="de-CH"/>
          </a:p>
        </p:txBody>
      </p:sp>
    </p:spTree>
    <p:extLst>
      <p:ext uri="{BB962C8B-B14F-4D97-AF65-F5344CB8AC3E}">
        <p14:creationId xmlns:p14="http://schemas.microsoft.com/office/powerpoint/2010/main" val="15377979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11200" y="744538"/>
            <a:ext cx="5375275" cy="3722687"/>
          </a:xfrm>
        </p:spPr>
      </p:sp>
      <p:sp>
        <p:nvSpPr>
          <p:cNvPr id="3" name="Notizenplatzhalter 2"/>
          <p:cNvSpPr>
            <a:spLocks noGrp="1"/>
          </p:cNvSpPr>
          <p:nvPr>
            <p:ph type="body" idx="1"/>
          </p:nvPr>
        </p:nvSpPr>
        <p:spPr>
          <a:xfrm>
            <a:off x="889000" y="4714875"/>
            <a:ext cx="4891088" cy="4467226"/>
          </a:xfrm>
          <a:prstGeom prst="rect">
            <a:avLst/>
          </a:prstGeom>
        </p:spPr>
        <p:txBody>
          <a:bodyPr>
            <a:normAutofit/>
          </a:bodyPr>
          <a:lstStyle/>
          <a:p>
            <a:r>
              <a:rPr lang="de-DE" smtClean="0"/>
              <a:t>Verwenden Sie die Animation; die vertikale</a:t>
            </a:r>
            <a:r>
              <a:rPr lang="de-DE" baseline="0" smtClean="0"/>
              <a:t> Linie schiebt sich zuerst in die Mitte und dann bei weiterem clicken</a:t>
            </a:r>
          </a:p>
          <a:p>
            <a:r>
              <a:rPr lang="de-DE" baseline="0" smtClean="0"/>
              <a:t>nochmals nach links, denn nicht alle Branchen sind heute im selben Entwicklungsstadium </a:t>
            </a:r>
          </a:p>
        </p:txBody>
      </p:sp>
    </p:spTree>
    <p:extLst>
      <p:ext uri="{BB962C8B-B14F-4D97-AF65-F5344CB8AC3E}">
        <p14:creationId xmlns:p14="http://schemas.microsoft.com/office/powerpoint/2010/main" val="17539287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11200" y="744538"/>
            <a:ext cx="5375275" cy="3722687"/>
          </a:xfrm>
        </p:spPr>
      </p:sp>
      <p:sp>
        <p:nvSpPr>
          <p:cNvPr id="3" name="Notizenplatzhalter 2"/>
          <p:cNvSpPr>
            <a:spLocks noGrp="1"/>
          </p:cNvSpPr>
          <p:nvPr>
            <p:ph type="body" idx="1"/>
          </p:nvPr>
        </p:nvSpPr>
        <p:spPr>
          <a:xfrm>
            <a:off x="889000" y="4714875"/>
            <a:ext cx="4891088" cy="4467226"/>
          </a:xfrm>
          <a:prstGeom prst="rect">
            <a:avLst/>
          </a:prstGeom>
        </p:spPr>
        <p:txBody>
          <a:bodyPr>
            <a:normAutofit/>
          </a:bodyPr>
          <a:lstStyle/>
          <a:p>
            <a:r>
              <a:rPr lang="de-DE" smtClean="0"/>
              <a:t>Verwenden Sie die Animation; die vertikale</a:t>
            </a:r>
            <a:r>
              <a:rPr lang="de-DE" baseline="0" smtClean="0"/>
              <a:t> Linie schiebt sich zuerst in die Mitte und dann bei weiterem clicken</a:t>
            </a:r>
          </a:p>
          <a:p>
            <a:r>
              <a:rPr lang="de-DE" baseline="0" smtClean="0"/>
              <a:t>nochmals nach links, denn nicht alle Branchen sind heute im selben Entwicklungsstadium </a:t>
            </a:r>
          </a:p>
        </p:txBody>
      </p:sp>
    </p:spTree>
    <p:extLst>
      <p:ext uri="{BB962C8B-B14F-4D97-AF65-F5344CB8AC3E}">
        <p14:creationId xmlns:p14="http://schemas.microsoft.com/office/powerpoint/2010/main" val="2267381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95325" y="747713"/>
            <a:ext cx="5407025" cy="3743325"/>
          </a:xfrm>
        </p:spPr>
      </p:sp>
      <p:sp>
        <p:nvSpPr>
          <p:cNvPr id="3" name="Notizenplatzhalter 2"/>
          <p:cNvSpPr>
            <a:spLocks noGrp="1"/>
          </p:cNvSpPr>
          <p:nvPr>
            <p:ph type="body" idx="1"/>
          </p:nvPr>
        </p:nvSpPr>
        <p:spPr>
          <a:xfrm>
            <a:off x="889000" y="4714875"/>
            <a:ext cx="4891088" cy="4467226"/>
          </a:xfrm>
          <a:prstGeom prst="rect">
            <a:avLst/>
          </a:prstGeom>
        </p:spPr>
        <p:txBody>
          <a:bodyPr>
            <a:normAutofit/>
          </a:bodyPr>
          <a:lstStyle/>
          <a:p>
            <a:r>
              <a:rPr lang="de-DE" smtClean="0"/>
              <a:t>Durch</a:t>
            </a:r>
            <a:r>
              <a:rPr lang="de-DE" baseline="0" smtClean="0"/>
              <a:t> Marketing und Innovation auf der roten Kurve kann diese gestrecht werden. Die Icons recht oben stehen </a:t>
            </a:r>
          </a:p>
          <a:p>
            <a:r>
              <a:rPr lang="de-DE" baseline="0" smtClean="0"/>
              <a:t>für meine Management Systeme für die Transfomation</a:t>
            </a:r>
            <a:endParaRPr lang="de-DE" dirty="0"/>
          </a:p>
        </p:txBody>
      </p:sp>
    </p:spTree>
    <p:extLst>
      <p:ext uri="{BB962C8B-B14F-4D97-AF65-F5344CB8AC3E}">
        <p14:creationId xmlns:p14="http://schemas.microsoft.com/office/powerpoint/2010/main" val="15817015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41388" y="528638"/>
            <a:ext cx="4992687" cy="3457575"/>
          </a:xfrm>
        </p:spPr>
      </p:sp>
      <p:sp>
        <p:nvSpPr>
          <p:cNvPr id="3" name="Notizenplatzhalter 2"/>
          <p:cNvSpPr>
            <a:spLocks noGrp="1"/>
          </p:cNvSpPr>
          <p:nvPr>
            <p:ph type="body" idx="1"/>
          </p:nvPr>
        </p:nvSpPr>
        <p:spPr/>
        <p:txBody>
          <a:bodyPr/>
          <a:lstStyle/>
          <a:p>
            <a:endParaRPr lang="de-CH"/>
          </a:p>
        </p:txBody>
      </p:sp>
    </p:spTree>
    <p:extLst>
      <p:ext uri="{BB962C8B-B14F-4D97-AF65-F5344CB8AC3E}">
        <p14:creationId xmlns:p14="http://schemas.microsoft.com/office/powerpoint/2010/main" val="2968275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4317684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5270995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3951920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3114982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Tree>
    <p:extLst>
      <p:ext uri="{BB962C8B-B14F-4D97-AF65-F5344CB8AC3E}">
        <p14:creationId xmlns:p14="http://schemas.microsoft.com/office/powerpoint/2010/main" val="9030739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9768287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5976955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95325" y="747713"/>
            <a:ext cx="5407025" cy="3743325"/>
          </a:xfrm>
        </p:spPr>
      </p:sp>
      <p:sp>
        <p:nvSpPr>
          <p:cNvPr id="3" name="Notizenplatzhalter 2"/>
          <p:cNvSpPr>
            <a:spLocks noGrp="1"/>
          </p:cNvSpPr>
          <p:nvPr>
            <p:ph type="body" idx="1"/>
          </p:nvPr>
        </p:nvSpPr>
        <p:spPr>
          <a:xfrm>
            <a:off x="889000" y="4714875"/>
            <a:ext cx="4891088" cy="4467226"/>
          </a:xfrm>
          <a:prstGeom prst="rect">
            <a:avLst/>
          </a:prstGeom>
        </p:spPr>
        <p:txBody>
          <a:bodyPr>
            <a:normAutofit/>
          </a:bodyPr>
          <a:lstStyle/>
          <a:p>
            <a:r>
              <a:rPr lang="de-DE" smtClean="0"/>
              <a:t>Durch</a:t>
            </a:r>
            <a:r>
              <a:rPr lang="de-DE" baseline="0" smtClean="0"/>
              <a:t> Marketing und Innovation auf der roten Kurve kann diese gestrecht werden. Die Icons recht oben stehen </a:t>
            </a:r>
          </a:p>
          <a:p>
            <a:r>
              <a:rPr lang="de-DE" baseline="0" smtClean="0"/>
              <a:t>für meine Management Systeme für die Transfomation</a:t>
            </a:r>
            <a:endParaRPr lang="de-DE" dirty="0"/>
          </a:p>
        </p:txBody>
      </p:sp>
    </p:spTree>
    <p:extLst>
      <p:ext uri="{BB962C8B-B14F-4D97-AF65-F5344CB8AC3E}">
        <p14:creationId xmlns:p14="http://schemas.microsoft.com/office/powerpoint/2010/main" val="20354824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9906" name="Rectangle 2"/>
          <p:cNvSpPr>
            <a:spLocks noGrp="1" noRot="1" noChangeAspect="1" noChangeArrowheads="1" noTextEdit="1"/>
          </p:cNvSpPr>
          <p:nvPr>
            <p:ph type="sldImg"/>
          </p:nvPr>
        </p:nvSpPr>
        <p:spPr>
          <a:xfrm>
            <a:off x="696913" y="747713"/>
            <a:ext cx="5407025" cy="3744912"/>
          </a:xfrm>
          <a:prstGeom prst="rect">
            <a:avLst/>
          </a:prstGeom>
          <a:ln/>
        </p:spPr>
      </p:sp>
      <p:sp>
        <p:nvSpPr>
          <p:cNvPr id="379907" name="Rectangle 3"/>
          <p:cNvSpPr>
            <a:spLocks noGrp="1" noChangeArrowheads="1"/>
          </p:cNvSpPr>
          <p:nvPr>
            <p:ph type="body" idx="1"/>
          </p:nvPr>
        </p:nvSpPr>
        <p:spPr>
          <a:xfrm>
            <a:off x="704850" y="4606570"/>
            <a:ext cx="5327650" cy="4642679"/>
          </a:xfrm>
          <a:prstGeom prst="rect">
            <a:avLst/>
          </a:prstGeom>
        </p:spPr>
        <p:txBody>
          <a:bodyPr/>
          <a:lstStyle/>
          <a:p>
            <a:endParaRPr lang="de-CH" dirty="0"/>
          </a:p>
        </p:txBody>
      </p:sp>
    </p:spTree>
    <p:extLst>
      <p:ext uri="{BB962C8B-B14F-4D97-AF65-F5344CB8AC3E}">
        <p14:creationId xmlns:p14="http://schemas.microsoft.com/office/powerpoint/2010/main" val="25098060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41388" y="528638"/>
            <a:ext cx="4992687" cy="3457575"/>
          </a:xfrm>
        </p:spPr>
      </p:sp>
      <p:sp>
        <p:nvSpPr>
          <p:cNvPr id="3" name="Notizenplatzhalter 2"/>
          <p:cNvSpPr>
            <a:spLocks noGrp="1"/>
          </p:cNvSpPr>
          <p:nvPr>
            <p:ph type="body" idx="1"/>
          </p:nvPr>
        </p:nvSpPr>
        <p:spPr/>
        <p:txBody>
          <a:bodyPr/>
          <a:lstStyle/>
          <a:p>
            <a:endParaRPr lang="de-DE" sz="1100" dirty="0">
              <a:latin typeface="Calibri" panose="020F0502020204030204" pitchFamily="34" charset="0"/>
            </a:endParaRPr>
          </a:p>
        </p:txBody>
      </p:sp>
    </p:spTree>
    <p:extLst>
      <p:ext uri="{BB962C8B-B14F-4D97-AF65-F5344CB8AC3E}">
        <p14:creationId xmlns:p14="http://schemas.microsoft.com/office/powerpoint/2010/main" val="1813284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Folienbildplatzhalter 1"/>
          <p:cNvSpPr>
            <a:spLocks noGrp="1" noRot="1" noChangeAspect="1" noTextEdit="1"/>
          </p:cNvSpPr>
          <p:nvPr>
            <p:ph type="sldImg"/>
          </p:nvPr>
        </p:nvSpPr>
        <p:spPr>
          <a:ln/>
        </p:spPr>
      </p:sp>
      <p:sp>
        <p:nvSpPr>
          <p:cNvPr id="258051" name="Notizenplatzhalter 2"/>
          <p:cNvSpPr>
            <a:spLocks noGrp="1"/>
          </p:cNvSpPr>
          <p:nvPr>
            <p:ph type="body" idx="1"/>
          </p:nvPr>
        </p:nvSpPr>
        <p:spPr>
          <a:noFill/>
          <a:ln/>
        </p:spPr>
        <p:txBody>
          <a:bodyPr/>
          <a:lstStyle/>
          <a:p>
            <a:pPr eaLnBrk="1" hangingPunct="1"/>
            <a:endParaRPr lang="de-DE" smtClean="0"/>
          </a:p>
        </p:txBody>
      </p:sp>
    </p:spTree>
    <p:extLst>
      <p:ext uri="{BB962C8B-B14F-4D97-AF65-F5344CB8AC3E}">
        <p14:creationId xmlns:p14="http://schemas.microsoft.com/office/powerpoint/2010/main" val="7940739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6" name="Rectangle 1026"/>
          <p:cNvSpPr>
            <a:spLocks noGrp="1" noRot="1" noChangeAspect="1" noChangeArrowheads="1" noTextEdit="1"/>
          </p:cNvSpPr>
          <p:nvPr>
            <p:ph type="sldImg"/>
          </p:nvPr>
        </p:nvSpPr>
        <p:spPr>
          <a:ln/>
        </p:spPr>
      </p:sp>
      <p:sp>
        <p:nvSpPr>
          <p:cNvPr id="221187" name="Rectangle 1027"/>
          <p:cNvSpPr>
            <a:spLocks noGrp="1" noChangeArrowheads="1"/>
          </p:cNvSpPr>
          <p:nvPr>
            <p:ph type="body" idx="1"/>
          </p:nvPr>
        </p:nvSpPr>
        <p:spPr>
          <a:noFill/>
          <a:ln/>
        </p:spPr>
        <p:txBody>
          <a:bodyPr/>
          <a:lstStyle/>
          <a:p>
            <a:endParaRPr lang="de-DE" smtClean="0"/>
          </a:p>
        </p:txBody>
      </p:sp>
    </p:spTree>
    <p:extLst>
      <p:ext uri="{BB962C8B-B14F-4D97-AF65-F5344CB8AC3E}">
        <p14:creationId xmlns:p14="http://schemas.microsoft.com/office/powerpoint/2010/main" val="37710370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41388" y="528638"/>
            <a:ext cx="4992687" cy="3457575"/>
          </a:xfrm>
        </p:spPr>
      </p:sp>
      <p:sp>
        <p:nvSpPr>
          <p:cNvPr id="3" name="Notizenplatzhalter 2"/>
          <p:cNvSpPr>
            <a:spLocks noGrp="1"/>
          </p:cNvSpPr>
          <p:nvPr>
            <p:ph type="body" idx="1"/>
          </p:nvPr>
        </p:nvSpPr>
        <p:spPr/>
        <p:txBody>
          <a:bodyPr/>
          <a:lstStyle/>
          <a:p>
            <a:endParaRPr lang="de-CH"/>
          </a:p>
        </p:txBody>
      </p:sp>
    </p:spTree>
    <p:extLst>
      <p:ext uri="{BB962C8B-B14F-4D97-AF65-F5344CB8AC3E}">
        <p14:creationId xmlns:p14="http://schemas.microsoft.com/office/powerpoint/2010/main" val="14258386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11200" y="744538"/>
            <a:ext cx="5375275" cy="3722687"/>
          </a:xfrm>
        </p:spPr>
      </p:sp>
      <p:sp>
        <p:nvSpPr>
          <p:cNvPr id="3" name="Notizenplatzhalter 2"/>
          <p:cNvSpPr>
            <a:spLocks noGrp="1"/>
          </p:cNvSpPr>
          <p:nvPr>
            <p:ph type="body" idx="1"/>
          </p:nvPr>
        </p:nvSpPr>
        <p:spPr>
          <a:xfrm>
            <a:off x="889000" y="4714875"/>
            <a:ext cx="4891088" cy="4467226"/>
          </a:xfrm>
          <a:prstGeom prst="rect">
            <a:avLst/>
          </a:prstGeom>
        </p:spPr>
        <p:txBody>
          <a:bodyPr>
            <a:normAutofit/>
          </a:bodyPr>
          <a:lstStyle/>
          <a:p>
            <a:r>
              <a:rPr lang="de-DE" smtClean="0"/>
              <a:t>Diese Bild ist zuerst </a:t>
            </a:r>
            <a:r>
              <a:rPr lang="de-CH" smtClean="0"/>
              <a:t>als</a:t>
            </a:r>
            <a:r>
              <a:rPr lang="de-CH" baseline="0" smtClean="0"/>
              <a:t> Ganzes </a:t>
            </a:r>
            <a:r>
              <a:rPr lang="de-DE" smtClean="0"/>
              <a:t>statisch;</a:t>
            </a:r>
            <a:r>
              <a:rPr lang="de-DE" baseline="0" smtClean="0"/>
              <a:t> in der nächsten Folie dann animiert</a:t>
            </a:r>
            <a:endParaRPr lang="de-DE" dirty="0"/>
          </a:p>
        </p:txBody>
      </p:sp>
    </p:spTree>
    <p:extLst>
      <p:ext uri="{BB962C8B-B14F-4D97-AF65-F5344CB8AC3E}">
        <p14:creationId xmlns:p14="http://schemas.microsoft.com/office/powerpoint/2010/main" val="6884140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41388" y="528638"/>
            <a:ext cx="4992687" cy="3457575"/>
          </a:xfrm>
        </p:spPr>
      </p:sp>
      <p:sp>
        <p:nvSpPr>
          <p:cNvPr id="3" name="Notizenplatzhalter 2"/>
          <p:cNvSpPr>
            <a:spLocks noGrp="1"/>
          </p:cNvSpPr>
          <p:nvPr>
            <p:ph type="body" idx="1"/>
          </p:nvPr>
        </p:nvSpPr>
        <p:spPr/>
        <p:txBody>
          <a:bodyPr/>
          <a:lstStyle/>
          <a:p>
            <a:endParaRPr lang="de-CH"/>
          </a:p>
        </p:txBody>
      </p:sp>
    </p:spTree>
    <p:extLst>
      <p:ext uri="{BB962C8B-B14F-4D97-AF65-F5344CB8AC3E}">
        <p14:creationId xmlns:p14="http://schemas.microsoft.com/office/powerpoint/2010/main" val="34773347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41388" y="528638"/>
            <a:ext cx="4992687" cy="3457575"/>
          </a:xfrm>
        </p:spPr>
      </p:sp>
      <p:sp>
        <p:nvSpPr>
          <p:cNvPr id="3" name="Notizenplatzhalter 2"/>
          <p:cNvSpPr>
            <a:spLocks noGrp="1"/>
          </p:cNvSpPr>
          <p:nvPr>
            <p:ph type="body" idx="1"/>
          </p:nvPr>
        </p:nvSpPr>
        <p:spPr/>
        <p:txBody>
          <a:bodyPr/>
          <a:lstStyle/>
          <a:p>
            <a:endParaRPr lang="de-CH"/>
          </a:p>
        </p:txBody>
      </p:sp>
    </p:spTree>
    <p:extLst>
      <p:ext uri="{BB962C8B-B14F-4D97-AF65-F5344CB8AC3E}">
        <p14:creationId xmlns:p14="http://schemas.microsoft.com/office/powerpoint/2010/main" val="11691296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25488" y="741363"/>
            <a:ext cx="5346700" cy="3702050"/>
          </a:xfrm>
        </p:spPr>
      </p:sp>
      <p:sp>
        <p:nvSpPr>
          <p:cNvPr id="3" name="Notizenplatzhalter 2"/>
          <p:cNvSpPr>
            <a:spLocks noGrp="1"/>
          </p:cNvSpPr>
          <p:nvPr>
            <p:ph type="body" idx="1"/>
          </p:nvPr>
        </p:nvSpPr>
        <p:spPr>
          <a:xfrm>
            <a:off x="889000" y="4689992"/>
            <a:ext cx="4891088" cy="4443650"/>
          </a:xfrm>
          <a:prstGeom prst="rect">
            <a:avLst/>
          </a:prstGeom>
        </p:spPr>
        <p:txBody>
          <a:bodyPr>
            <a:normAutofit/>
          </a:bodyPr>
          <a:lstStyle/>
          <a:p>
            <a:r>
              <a:rPr lang="de-DE" sz="1000"/>
              <a:t>Animierte Folie; s-Kurven bauen sich auf</a:t>
            </a:r>
          </a:p>
          <a:p>
            <a:r>
              <a:rPr lang="de-DE" sz="1000"/>
              <a:t>Beispiele: Industriegesellschaft ersetzt die Agrargesellschaft; Auto ersetzt Pferd; mechanische Büromaschinen werden durch Computer ersetzt, chemische Fotografie durch digitale Bilderzeugung (Kodak)  </a:t>
            </a:r>
          </a:p>
          <a:p>
            <a:endParaRPr lang="de-DE" sz="1000"/>
          </a:p>
          <a:p>
            <a:endParaRPr lang="de-DE" baseline="0" smtClean="0"/>
          </a:p>
          <a:p>
            <a:endParaRPr lang="de-DE" dirty="0"/>
          </a:p>
        </p:txBody>
      </p:sp>
    </p:spTree>
    <p:extLst>
      <p:ext uri="{BB962C8B-B14F-4D97-AF65-F5344CB8AC3E}">
        <p14:creationId xmlns:p14="http://schemas.microsoft.com/office/powerpoint/2010/main" val="14864086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pn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blatt">
    <p:spTree>
      <p:nvGrpSpPr>
        <p:cNvPr id="1" name=""/>
        <p:cNvGrpSpPr/>
        <p:nvPr/>
      </p:nvGrpSpPr>
      <p:grpSpPr>
        <a:xfrm>
          <a:off x="0" y="0"/>
          <a:ext cx="0" cy="0"/>
          <a:chOff x="0" y="0"/>
          <a:chExt cx="0" cy="0"/>
        </a:xfrm>
      </p:grpSpPr>
      <p:sp>
        <p:nvSpPr>
          <p:cNvPr id="19" name="Rechteck 1"/>
          <p:cNvSpPr/>
          <p:nvPr userDrawn="1"/>
        </p:nvSpPr>
        <p:spPr bwMode="auto">
          <a:xfrm>
            <a:off x="0" y="525780"/>
            <a:ext cx="9907200" cy="1318260"/>
          </a:xfrm>
          <a:custGeom>
            <a:avLst/>
            <a:gdLst>
              <a:gd name="connsiteX0" fmla="*/ 0 w 9939600"/>
              <a:gd name="connsiteY0" fmla="*/ 0 h 1318260"/>
              <a:gd name="connsiteX1" fmla="*/ 9939600 w 9939600"/>
              <a:gd name="connsiteY1" fmla="*/ 0 h 1318260"/>
              <a:gd name="connsiteX2" fmla="*/ 9939600 w 9939600"/>
              <a:gd name="connsiteY2" fmla="*/ 1318260 h 1318260"/>
              <a:gd name="connsiteX3" fmla="*/ 0 w 9939600"/>
              <a:gd name="connsiteY3" fmla="*/ 1318260 h 1318260"/>
              <a:gd name="connsiteX4" fmla="*/ 0 w 9939600"/>
              <a:gd name="connsiteY4" fmla="*/ 0 h 1318260"/>
              <a:gd name="connsiteX0" fmla="*/ 0 w 9939600"/>
              <a:gd name="connsiteY0" fmla="*/ 129540 h 1318260"/>
              <a:gd name="connsiteX1" fmla="*/ 9939600 w 9939600"/>
              <a:gd name="connsiteY1" fmla="*/ 0 h 1318260"/>
              <a:gd name="connsiteX2" fmla="*/ 9939600 w 9939600"/>
              <a:gd name="connsiteY2" fmla="*/ 1318260 h 1318260"/>
              <a:gd name="connsiteX3" fmla="*/ 0 w 9939600"/>
              <a:gd name="connsiteY3" fmla="*/ 1318260 h 1318260"/>
              <a:gd name="connsiteX4" fmla="*/ 0 w 9939600"/>
              <a:gd name="connsiteY4" fmla="*/ 129540 h 1318260"/>
              <a:gd name="connsiteX0" fmla="*/ 0 w 9939600"/>
              <a:gd name="connsiteY0" fmla="*/ 129540 h 1318260"/>
              <a:gd name="connsiteX1" fmla="*/ 9939600 w 9939600"/>
              <a:gd name="connsiteY1" fmla="*/ 0 h 1318260"/>
              <a:gd name="connsiteX2" fmla="*/ 9939600 w 9939600"/>
              <a:gd name="connsiteY2" fmla="*/ 1318260 h 1318260"/>
              <a:gd name="connsiteX3" fmla="*/ 15240 w 9939600"/>
              <a:gd name="connsiteY3" fmla="*/ 1203960 h 1318260"/>
              <a:gd name="connsiteX4" fmla="*/ 0 w 9939600"/>
              <a:gd name="connsiteY4" fmla="*/ 129540 h 1318260"/>
              <a:gd name="connsiteX0" fmla="*/ 0 w 9939600"/>
              <a:gd name="connsiteY0" fmla="*/ 129540 h 1318260"/>
              <a:gd name="connsiteX1" fmla="*/ 9939600 w 9939600"/>
              <a:gd name="connsiteY1" fmla="*/ 0 h 1318260"/>
              <a:gd name="connsiteX2" fmla="*/ 9939600 w 9939600"/>
              <a:gd name="connsiteY2" fmla="*/ 1318260 h 1318260"/>
              <a:gd name="connsiteX3" fmla="*/ 15240 w 9939600"/>
              <a:gd name="connsiteY3" fmla="*/ 1203960 h 1318260"/>
              <a:gd name="connsiteX4" fmla="*/ 0 w 9939600"/>
              <a:gd name="connsiteY4" fmla="*/ 129540 h 1318260"/>
              <a:gd name="connsiteX0" fmla="*/ 0 w 9939600"/>
              <a:gd name="connsiteY0" fmla="*/ 129540 h 1318260"/>
              <a:gd name="connsiteX1" fmla="*/ 9939600 w 9939600"/>
              <a:gd name="connsiteY1" fmla="*/ 0 h 1318260"/>
              <a:gd name="connsiteX2" fmla="*/ 9939600 w 9939600"/>
              <a:gd name="connsiteY2" fmla="*/ 1318260 h 1318260"/>
              <a:gd name="connsiteX3" fmla="*/ 15240 w 9939600"/>
              <a:gd name="connsiteY3" fmla="*/ 1203960 h 1318260"/>
              <a:gd name="connsiteX4" fmla="*/ 0 w 9939600"/>
              <a:gd name="connsiteY4" fmla="*/ 129540 h 1318260"/>
              <a:gd name="connsiteX0" fmla="*/ 0 w 9939600"/>
              <a:gd name="connsiteY0" fmla="*/ 129540 h 1318260"/>
              <a:gd name="connsiteX1" fmla="*/ 9939600 w 9939600"/>
              <a:gd name="connsiteY1" fmla="*/ 0 h 1318260"/>
              <a:gd name="connsiteX2" fmla="*/ 9939600 w 9939600"/>
              <a:gd name="connsiteY2" fmla="*/ 1318260 h 1318260"/>
              <a:gd name="connsiteX3" fmla="*/ 15240 w 9939600"/>
              <a:gd name="connsiteY3" fmla="*/ 1203960 h 1318260"/>
              <a:gd name="connsiteX4" fmla="*/ 0 w 9939600"/>
              <a:gd name="connsiteY4" fmla="*/ 129540 h 1318260"/>
              <a:gd name="connsiteX0" fmla="*/ 0 w 9939600"/>
              <a:gd name="connsiteY0" fmla="*/ 129540 h 1318260"/>
              <a:gd name="connsiteX1" fmla="*/ 9939600 w 9939600"/>
              <a:gd name="connsiteY1" fmla="*/ 0 h 1318260"/>
              <a:gd name="connsiteX2" fmla="*/ 9939600 w 9939600"/>
              <a:gd name="connsiteY2" fmla="*/ 1318260 h 1318260"/>
              <a:gd name="connsiteX3" fmla="*/ 15240 w 9939600"/>
              <a:gd name="connsiteY3" fmla="*/ 1203960 h 1318260"/>
              <a:gd name="connsiteX4" fmla="*/ 0 w 9939600"/>
              <a:gd name="connsiteY4" fmla="*/ 129540 h 1318260"/>
              <a:gd name="connsiteX0" fmla="*/ 0 w 9924360"/>
              <a:gd name="connsiteY0" fmla="*/ 129540 h 1318260"/>
              <a:gd name="connsiteX1" fmla="*/ 9924360 w 9924360"/>
              <a:gd name="connsiteY1" fmla="*/ 0 h 1318260"/>
              <a:gd name="connsiteX2" fmla="*/ 9924360 w 9924360"/>
              <a:gd name="connsiteY2" fmla="*/ 1318260 h 1318260"/>
              <a:gd name="connsiteX3" fmla="*/ 0 w 9924360"/>
              <a:gd name="connsiteY3" fmla="*/ 1203960 h 1318260"/>
              <a:gd name="connsiteX4" fmla="*/ 0 w 9924360"/>
              <a:gd name="connsiteY4" fmla="*/ 129540 h 1318260"/>
              <a:gd name="connsiteX0" fmla="*/ 0 w 9924360"/>
              <a:gd name="connsiteY0" fmla="*/ 129540 h 1318260"/>
              <a:gd name="connsiteX1" fmla="*/ 9924360 w 9924360"/>
              <a:gd name="connsiteY1" fmla="*/ 0 h 1318260"/>
              <a:gd name="connsiteX2" fmla="*/ 9924360 w 9924360"/>
              <a:gd name="connsiteY2" fmla="*/ 1318260 h 1318260"/>
              <a:gd name="connsiteX3" fmla="*/ 0 w 9924360"/>
              <a:gd name="connsiteY3" fmla="*/ 1203960 h 1318260"/>
              <a:gd name="connsiteX4" fmla="*/ 0 w 9924360"/>
              <a:gd name="connsiteY4" fmla="*/ 129540 h 1318260"/>
              <a:gd name="connsiteX0" fmla="*/ 0 w 9924360"/>
              <a:gd name="connsiteY0" fmla="*/ 129540 h 1318260"/>
              <a:gd name="connsiteX1" fmla="*/ 9924360 w 9924360"/>
              <a:gd name="connsiteY1" fmla="*/ 0 h 1318260"/>
              <a:gd name="connsiteX2" fmla="*/ 9924360 w 9924360"/>
              <a:gd name="connsiteY2" fmla="*/ 1318260 h 1318260"/>
              <a:gd name="connsiteX3" fmla="*/ 0 w 9924360"/>
              <a:gd name="connsiteY3" fmla="*/ 1203960 h 1318260"/>
              <a:gd name="connsiteX4" fmla="*/ 0 w 9924360"/>
              <a:gd name="connsiteY4" fmla="*/ 129540 h 1318260"/>
              <a:gd name="connsiteX0" fmla="*/ 0 w 9924360"/>
              <a:gd name="connsiteY0" fmla="*/ 129540 h 1318260"/>
              <a:gd name="connsiteX1" fmla="*/ 9924360 w 9924360"/>
              <a:gd name="connsiteY1" fmla="*/ 0 h 1318260"/>
              <a:gd name="connsiteX2" fmla="*/ 9924360 w 9924360"/>
              <a:gd name="connsiteY2" fmla="*/ 1318260 h 1318260"/>
              <a:gd name="connsiteX3" fmla="*/ 0 w 9924360"/>
              <a:gd name="connsiteY3" fmla="*/ 1203960 h 1318260"/>
              <a:gd name="connsiteX4" fmla="*/ 0 w 9924360"/>
              <a:gd name="connsiteY4" fmla="*/ 129540 h 1318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24360" h="1318260">
                <a:moveTo>
                  <a:pt x="0" y="129540"/>
                </a:moveTo>
                <a:cubicBezTo>
                  <a:pt x="3422420" y="452120"/>
                  <a:pt x="6616240" y="88900"/>
                  <a:pt x="9924360" y="0"/>
                </a:cubicBezTo>
                <a:lnTo>
                  <a:pt x="9924360" y="1318260"/>
                </a:lnTo>
                <a:cubicBezTo>
                  <a:pt x="6745780" y="1104900"/>
                  <a:pt x="3452900" y="800100"/>
                  <a:pt x="0" y="1203960"/>
                </a:cubicBezTo>
                <a:lnTo>
                  <a:pt x="0" y="129540"/>
                </a:lnTo>
                <a:close/>
              </a:path>
            </a:pathLst>
          </a:cu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en-US" sz="1200" b="1" dirty="0">
              <a:solidFill>
                <a:srgbClr val="FFFFFF"/>
              </a:solidFill>
            </a:endParaRPr>
          </a:p>
        </p:txBody>
      </p:sp>
      <p:sp>
        <p:nvSpPr>
          <p:cNvPr id="20" name="Text Placeholder 10"/>
          <p:cNvSpPr>
            <a:spLocks noGrp="1"/>
          </p:cNvSpPr>
          <p:nvPr>
            <p:ph type="body" sz="quarter" idx="10" hasCustomPrompt="1"/>
            <p:custDataLst>
              <p:tags r:id="rId1"/>
            </p:custDataLst>
          </p:nvPr>
        </p:nvSpPr>
        <p:spPr>
          <a:xfrm>
            <a:off x="633600" y="3024000"/>
            <a:ext cx="8640000" cy="694800"/>
          </a:xfrm>
          <a:prstGeom prst="rect">
            <a:avLst/>
          </a:prstGeom>
        </p:spPr>
        <p:txBody>
          <a:bodyPr lIns="0"/>
          <a:lstStyle>
            <a:lvl1pPr marL="0" indent="0" algn="ctr">
              <a:lnSpc>
                <a:spcPct val="140000"/>
              </a:lnSpc>
              <a:buNone/>
              <a:defRPr sz="1800" b="0" baseline="0">
                <a:solidFill>
                  <a:schemeClr val="tx1"/>
                </a:solidFill>
              </a:defRPr>
            </a:lvl1pPr>
          </a:lstStyle>
          <a:p>
            <a:pPr lvl="0"/>
            <a:r>
              <a:rPr lang="en-US" noProof="0" dirty="0" err="1" smtClean="0"/>
              <a:t>Untertitel</a:t>
            </a:r>
            <a:r>
              <a:rPr lang="en-US" noProof="0" dirty="0" smtClean="0"/>
              <a:t>: </a:t>
            </a:r>
            <a:r>
              <a:rPr lang="en-US" dirty="0" smtClean="0"/>
              <a:t>Arial </a:t>
            </a:r>
            <a:r>
              <a:rPr lang="en-US" noProof="0" dirty="0" smtClean="0"/>
              <a:t>18 </a:t>
            </a:r>
            <a:r>
              <a:rPr lang="en-US" noProof="0" dirty="0" err="1" smtClean="0"/>
              <a:t>pt</a:t>
            </a:r>
            <a:r>
              <a:rPr lang="en-US" noProof="0" dirty="0" smtClean="0"/>
              <a:t>, </a:t>
            </a:r>
            <a:r>
              <a:rPr lang="en-US" noProof="0" dirty="0" err="1" smtClean="0"/>
              <a:t>nicht</a:t>
            </a:r>
            <a:r>
              <a:rPr lang="en-US" noProof="0" dirty="0" smtClean="0"/>
              <a:t> </a:t>
            </a:r>
            <a:r>
              <a:rPr lang="en-US" noProof="0" dirty="0" err="1" smtClean="0"/>
              <a:t>fett</a:t>
            </a:r>
            <a:endParaRPr lang="en-US" noProof="0" dirty="0" smtClean="0"/>
          </a:p>
        </p:txBody>
      </p:sp>
      <p:sp>
        <p:nvSpPr>
          <p:cNvPr id="21" name="Title 18"/>
          <p:cNvSpPr>
            <a:spLocks noGrp="1"/>
          </p:cNvSpPr>
          <p:nvPr>
            <p:ph type="title" hasCustomPrompt="1"/>
            <p:custDataLst>
              <p:tags r:id="rId2"/>
            </p:custDataLst>
          </p:nvPr>
        </p:nvSpPr>
        <p:spPr>
          <a:xfrm>
            <a:off x="633600" y="2059200"/>
            <a:ext cx="8640000" cy="770400"/>
          </a:xfrm>
          <a:prstGeom prst="rect">
            <a:avLst/>
          </a:prstGeom>
        </p:spPr>
        <p:txBody>
          <a:bodyPr anchor="b"/>
          <a:lstStyle>
            <a:lvl1pPr>
              <a:lnSpc>
                <a:spcPct val="140000"/>
              </a:lnSpc>
              <a:defRPr sz="2200" baseline="0">
                <a:solidFill>
                  <a:schemeClr val="tx1"/>
                </a:solidFill>
              </a:defRPr>
            </a:lvl1pPr>
          </a:lstStyle>
          <a:p>
            <a:r>
              <a:rPr lang="en-US" noProof="0" dirty="0" smtClean="0"/>
              <a:t>Title: </a:t>
            </a:r>
            <a:r>
              <a:rPr lang="en-US" dirty="0" smtClean="0"/>
              <a:t>Arial 22</a:t>
            </a:r>
            <a:r>
              <a:rPr lang="en-US" noProof="0" dirty="0" smtClean="0"/>
              <a:t> </a:t>
            </a:r>
            <a:r>
              <a:rPr lang="en-US" noProof="0" dirty="0" err="1" smtClean="0"/>
              <a:t>pt</a:t>
            </a:r>
            <a:r>
              <a:rPr lang="en-US" noProof="0" dirty="0" smtClean="0"/>
              <a:t>, </a:t>
            </a:r>
            <a:r>
              <a:rPr lang="en-US" noProof="0" dirty="0" err="1" smtClean="0"/>
              <a:t>fett</a:t>
            </a:r>
            <a:endParaRPr lang="en-US" noProof="0" dirty="0"/>
          </a:p>
        </p:txBody>
      </p:sp>
      <p:sp>
        <p:nvSpPr>
          <p:cNvPr id="22" name="Text Placeholder 27"/>
          <p:cNvSpPr>
            <a:spLocks noGrp="1"/>
          </p:cNvSpPr>
          <p:nvPr>
            <p:ph type="body" sz="quarter" idx="11" hasCustomPrompt="1"/>
          </p:nvPr>
        </p:nvSpPr>
        <p:spPr>
          <a:xfrm>
            <a:off x="633600" y="6084000"/>
            <a:ext cx="4809600" cy="244800"/>
          </a:xfrm>
          <a:prstGeom prst="rect">
            <a:avLst/>
          </a:prstGeom>
        </p:spPr>
        <p:txBody>
          <a:bodyPr lIns="0">
            <a:noAutofit/>
          </a:bodyPr>
          <a:lstStyle>
            <a:lvl1pPr>
              <a:lnSpc>
                <a:spcPct val="113000"/>
              </a:lnSpc>
              <a:defRPr lang="de-CH" sz="1400" i="0" noProof="0" dirty="0"/>
            </a:lvl1pPr>
          </a:lstStyle>
          <a:p>
            <a:pPr lvl="0"/>
            <a:r>
              <a:rPr lang="en-US" noProof="0" dirty="0" smtClean="0"/>
              <a:t>TT </a:t>
            </a:r>
            <a:r>
              <a:rPr lang="en-US" noProof="0" dirty="0" err="1" smtClean="0"/>
              <a:t>Monat</a:t>
            </a:r>
            <a:r>
              <a:rPr lang="en-US" noProof="0" dirty="0" smtClean="0"/>
              <a:t> JJJJ: Arial</a:t>
            </a:r>
            <a:r>
              <a:rPr lang="en-US" dirty="0" smtClean="0"/>
              <a:t> </a:t>
            </a:r>
            <a:r>
              <a:rPr lang="en-US" noProof="0" dirty="0" smtClean="0"/>
              <a:t>14 </a:t>
            </a:r>
            <a:r>
              <a:rPr lang="en-US" noProof="0" dirty="0" err="1" smtClean="0"/>
              <a:t>pt</a:t>
            </a:r>
            <a:r>
              <a:rPr lang="en-US" noProof="0" dirty="0" smtClean="0"/>
              <a:t>, </a:t>
            </a:r>
            <a:r>
              <a:rPr lang="en-US" noProof="0" dirty="0" err="1" smtClean="0"/>
              <a:t>nicht</a:t>
            </a:r>
            <a:r>
              <a:rPr lang="en-US" noProof="0" dirty="0" smtClean="0"/>
              <a:t> </a:t>
            </a:r>
            <a:r>
              <a:rPr lang="en-US" noProof="0" dirty="0" err="1" smtClean="0"/>
              <a:t>fett</a:t>
            </a:r>
            <a:endParaRPr lang="en-US" noProof="0" dirty="0" smtClean="0"/>
          </a:p>
        </p:txBody>
      </p:sp>
      <p:sp>
        <p:nvSpPr>
          <p:cNvPr id="27" name="Text Placeholder 27"/>
          <p:cNvSpPr>
            <a:spLocks noGrp="1"/>
          </p:cNvSpPr>
          <p:nvPr>
            <p:ph type="body" sz="quarter" idx="12" hasCustomPrompt="1"/>
            <p:custDataLst>
              <p:tags r:id="rId3"/>
            </p:custDataLst>
          </p:nvPr>
        </p:nvSpPr>
        <p:spPr>
          <a:xfrm>
            <a:off x="633600" y="4104000"/>
            <a:ext cx="4809600" cy="1800000"/>
          </a:xfrm>
          <a:prstGeom prst="rect">
            <a:avLst/>
          </a:prstGeom>
        </p:spPr>
        <p:txBody>
          <a:bodyPr lIns="0" anchor="ctr">
            <a:normAutofit/>
          </a:bodyPr>
          <a:lstStyle>
            <a:lvl1pPr>
              <a:lnSpc>
                <a:spcPct val="113000"/>
              </a:lnSpc>
              <a:defRPr lang="de-CH" sz="1400" i="0" baseline="0" noProof="0" dirty="0" smtClean="0"/>
            </a:lvl1pPr>
          </a:lstStyle>
          <a:p>
            <a:pPr lvl="0"/>
            <a:r>
              <a:rPr lang="en-US" noProof="0" dirty="0" smtClean="0"/>
              <a:t>Name: Arial</a:t>
            </a:r>
            <a:r>
              <a:rPr lang="en-US" dirty="0" smtClean="0"/>
              <a:t> </a:t>
            </a:r>
            <a:r>
              <a:rPr lang="en-US" noProof="0" dirty="0" smtClean="0"/>
              <a:t>14 </a:t>
            </a:r>
            <a:r>
              <a:rPr lang="en-US" noProof="0" dirty="0" err="1" smtClean="0"/>
              <a:t>pt</a:t>
            </a:r>
            <a:r>
              <a:rPr lang="en-US" noProof="0" dirty="0" smtClean="0"/>
              <a:t>, </a:t>
            </a:r>
            <a:r>
              <a:rPr lang="en-US" noProof="0" dirty="0" err="1" smtClean="0"/>
              <a:t>nicht</a:t>
            </a:r>
            <a:r>
              <a:rPr lang="en-US" noProof="0" dirty="0" smtClean="0"/>
              <a:t> </a:t>
            </a:r>
            <a:r>
              <a:rPr lang="en-US" noProof="0" dirty="0" err="1" smtClean="0"/>
              <a:t>fett</a:t>
            </a:r>
            <a:endParaRPr lang="en-US" noProof="0" dirty="0" smtClean="0"/>
          </a:p>
          <a:p>
            <a:pPr lvl="0"/>
            <a:r>
              <a:rPr lang="en-US" noProof="0" dirty="0" err="1" smtClean="0"/>
              <a:t>Funktion</a:t>
            </a:r>
            <a:r>
              <a:rPr lang="en-US" noProof="0" dirty="0" smtClean="0"/>
              <a:t>: Arial</a:t>
            </a:r>
            <a:r>
              <a:rPr lang="en-US" dirty="0" smtClean="0"/>
              <a:t> </a:t>
            </a:r>
            <a:r>
              <a:rPr lang="en-US" noProof="0" dirty="0" smtClean="0"/>
              <a:t>14 </a:t>
            </a:r>
            <a:r>
              <a:rPr lang="en-US" noProof="0" dirty="0" err="1" smtClean="0"/>
              <a:t>pt</a:t>
            </a:r>
            <a:r>
              <a:rPr lang="en-US" noProof="0" dirty="0" smtClean="0"/>
              <a:t>, </a:t>
            </a:r>
            <a:r>
              <a:rPr lang="en-US" noProof="0" dirty="0" err="1" smtClean="0"/>
              <a:t>nich</a:t>
            </a:r>
            <a:r>
              <a:rPr lang="en-US" noProof="0" dirty="0" smtClean="0"/>
              <a:t> </a:t>
            </a:r>
            <a:r>
              <a:rPr lang="en-US" noProof="0" dirty="0" err="1" smtClean="0"/>
              <a:t>fett</a:t>
            </a:r>
            <a:endParaRPr lang="en-US" noProof="0" dirty="0" smtClean="0"/>
          </a:p>
        </p:txBody>
      </p:sp>
      <p:sp>
        <p:nvSpPr>
          <p:cNvPr id="29" name="TextBox 18"/>
          <p:cNvSpPr txBox="1"/>
          <p:nvPr userDrawn="1">
            <p:custDataLst>
              <p:tags r:id="rId4"/>
            </p:custDataLst>
          </p:nvPr>
        </p:nvSpPr>
        <p:spPr>
          <a:xfrm>
            <a:off x="7513477" y="5904071"/>
            <a:ext cx="1399742" cy="461280"/>
          </a:xfrm>
          <a:prstGeom prst="rect">
            <a:avLst/>
          </a:prstGeom>
          <a:ln algn="ctr"/>
        </p:spPr>
        <p:txBody>
          <a:bodyPr wrap="none" rtlCol="0" anchor="t">
            <a:spAutoFit/>
          </a:bodyPr>
          <a:lstStyle/>
          <a:p>
            <a:pPr algn="ctr" eaLnBrk="1" hangingPunct="1">
              <a:spcAft>
                <a:spcPct val="0"/>
              </a:spcAft>
            </a:pPr>
            <a:r>
              <a:rPr lang="en-US" sz="799" i="1" kern="0" dirty="0" smtClean="0">
                <a:solidFill>
                  <a:srgbClr val="6382AD">
                    <a:lumMod val="75000"/>
                  </a:srgbClr>
                </a:solidFill>
                <a:latin typeface="Calibri" panose="020F0502020204030204"/>
              </a:rPr>
              <a:t>System-cybernetic</a:t>
            </a:r>
            <a:br>
              <a:rPr lang="en-US" sz="799" i="1" kern="0" dirty="0" smtClean="0">
                <a:solidFill>
                  <a:srgbClr val="6382AD">
                    <a:lumMod val="75000"/>
                  </a:srgbClr>
                </a:solidFill>
                <a:latin typeface="Calibri" panose="020F0502020204030204"/>
              </a:rPr>
            </a:br>
            <a:r>
              <a:rPr lang="en-US" sz="799" i="1" kern="0" dirty="0" smtClean="0">
                <a:solidFill>
                  <a:srgbClr val="6382AD">
                    <a:lumMod val="75000"/>
                  </a:srgbClr>
                </a:solidFill>
                <a:latin typeface="Calibri" panose="020F0502020204030204"/>
              </a:rPr>
              <a:t>Malik ManagementSystems®</a:t>
            </a:r>
          </a:p>
          <a:p>
            <a:pPr algn="ctr" eaLnBrk="1" hangingPunct="1">
              <a:spcAft>
                <a:spcPct val="0"/>
              </a:spcAft>
            </a:pPr>
            <a:r>
              <a:rPr lang="en-US" sz="799" i="1" kern="0" dirty="0" smtClean="0">
                <a:solidFill>
                  <a:srgbClr val="6382AD">
                    <a:lumMod val="75000"/>
                  </a:srgbClr>
                </a:solidFill>
                <a:latin typeface="Calibri" panose="020F0502020204030204"/>
              </a:rPr>
              <a:t>for mastering complexity</a:t>
            </a:r>
          </a:p>
        </p:txBody>
      </p:sp>
      <p:pic>
        <p:nvPicPr>
          <p:cNvPr id="33" name="Grafik 3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348866" y="1005584"/>
            <a:ext cx="1063050" cy="312933"/>
          </a:xfrm>
          <a:prstGeom prst="rect">
            <a:avLst/>
          </a:prstGeom>
        </p:spPr>
      </p:pic>
      <p:sp>
        <p:nvSpPr>
          <p:cNvPr id="4" name="Bildplatzhalter 3"/>
          <p:cNvSpPr>
            <a:spLocks noGrp="1"/>
          </p:cNvSpPr>
          <p:nvPr>
            <p:ph type="pic" sz="quarter" idx="13" hasCustomPrompt="1"/>
          </p:nvPr>
        </p:nvSpPr>
        <p:spPr>
          <a:xfrm>
            <a:off x="633600" y="903110"/>
            <a:ext cx="1287546" cy="473253"/>
          </a:xfrm>
        </p:spPr>
        <p:txBody>
          <a:bodyPr anchor="ctr"/>
          <a:lstStyle>
            <a:lvl1pPr>
              <a:lnSpc>
                <a:spcPct val="100000"/>
              </a:lnSpc>
              <a:spcAft>
                <a:spcPts val="0"/>
              </a:spcAft>
              <a:defRPr sz="800" baseline="0">
                <a:solidFill>
                  <a:schemeClr val="accent4"/>
                </a:solidFill>
              </a:defRPr>
            </a:lvl1pPr>
          </a:lstStyle>
          <a:p>
            <a:r>
              <a:rPr lang="en-US" dirty="0" smtClean="0"/>
              <a:t>Client logo</a:t>
            </a:r>
            <a:br>
              <a:rPr lang="en-US" dirty="0" smtClean="0"/>
            </a:br>
            <a:r>
              <a:rPr lang="en-US" dirty="0" smtClean="0"/>
              <a:t>without shadow, reflection and background</a:t>
            </a:r>
          </a:p>
        </p:txBody>
      </p:sp>
      <p:pic>
        <p:nvPicPr>
          <p:cNvPr id="3" name="Grafik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223608" y="3874639"/>
            <a:ext cx="2340000" cy="2029432"/>
          </a:xfrm>
          <a:prstGeom prst="rect">
            <a:avLst/>
          </a:prstGeom>
        </p:spPr>
      </p:pic>
      <p:sp>
        <p:nvSpPr>
          <p:cNvPr id="14" name="Textfeld 13"/>
          <p:cNvSpPr txBox="1"/>
          <p:nvPr userDrawn="1"/>
        </p:nvSpPr>
        <p:spPr>
          <a:xfrm>
            <a:off x="270668" y="6655411"/>
            <a:ext cx="959195" cy="107722"/>
          </a:xfrm>
          <a:prstGeom prst="rect">
            <a:avLst/>
          </a:prstGeom>
          <a:ln w="127" algn="ctr">
            <a:noFill/>
          </a:ln>
        </p:spPr>
        <p:txBody>
          <a:bodyPr wrap="square" lIns="36000" tIns="0" rIns="36000" bIns="0" rtlCol="0" anchor="ctr">
            <a:spAutoFit/>
          </a:bodyPr>
          <a:lstStyle/>
          <a:p>
            <a:pPr algn="r" defTabSz="914395" eaLnBrk="1" hangingPunct="1">
              <a:spcAft>
                <a:spcPct val="0"/>
              </a:spcAft>
            </a:pPr>
            <a:fld id="{09CDFAC8-C949-4135-BF7E-0998B6B3BAB0}" type="datetime4">
              <a:rPr lang="en-US" sz="700" smtClean="0">
                <a:solidFill>
                  <a:srgbClr val="000000"/>
                </a:solidFill>
                <a:latin typeface="Arial" panose="020B0604020202020204" pitchFamily="34" charset="0"/>
                <a:cs typeface="Arial" panose="020B0604020202020204" pitchFamily="34" charset="0"/>
              </a:rPr>
              <a:pPr algn="r" defTabSz="914395" eaLnBrk="1" hangingPunct="1">
                <a:spcAft>
                  <a:spcPct val="0"/>
                </a:spcAft>
              </a:pPr>
              <a:t>November 25, 2019</a:t>
            </a:fld>
            <a:endParaRPr lang="en-US" sz="700" dirty="0">
              <a:solidFill>
                <a:srgbClr val="000000"/>
              </a:solidFill>
              <a:latin typeface="Arial" panose="020B0604020202020204" pitchFamily="34" charset="0"/>
              <a:cs typeface="Arial" panose="020B0604020202020204" pitchFamily="34" charset="0"/>
            </a:endParaRPr>
          </a:p>
        </p:txBody>
      </p:sp>
      <p:sp>
        <p:nvSpPr>
          <p:cNvPr id="15" name="Malik Year"/>
          <p:cNvSpPr/>
          <p:nvPr userDrawn="1"/>
        </p:nvSpPr>
        <p:spPr bwMode="auto">
          <a:xfrm>
            <a:off x="270669" y="6655406"/>
            <a:ext cx="714375" cy="107722"/>
          </a:xfrm>
          <a:prstGeom prst="rect">
            <a:avLst/>
          </a:prstGeom>
          <a:solidFill>
            <a:schemeClr val="bg1"/>
          </a:solidFill>
          <a:ln w="127">
            <a:noFill/>
            <a:miter lim="800000"/>
            <a:headEnd/>
            <a:tailEnd/>
          </a:ln>
          <a:effectLst/>
        </p:spPr>
        <p:txBody>
          <a:bodyPr lIns="0" tIns="0" rIns="18000" bIns="0" anchor="ctr">
            <a:spAutoFit/>
          </a:bodyPr>
          <a:lstStyle/>
          <a:p>
            <a:pPr algn="r">
              <a:spcAft>
                <a:spcPct val="0"/>
              </a:spcAft>
              <a:tabLst>
                <a:tab pos="95249" algn="l"/>
              </a:tabLst>
            </a:pPr>
            <a:r>
              <a:rPr lang="en-US" sz="700" dirty="0" smtClean="0">
                <a:solidFill>
                  <a:srgbClr val="000000"/>
                </a:solidFill>
                <a:latin typeface="Arial" panose="020B0604020202020204" pitchFamily="34" charset="0"/>
                <a:cs typeface="Arial" panose="020B0604020202020204" pitchFamily="34" charset="0"/>
              </a:rPr>
              <a:t>© Malik</a:t>
            </a:r>
            <a:endParaRPr lang="en-US" sz="7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89379048"/>
      </p:ext>
    </p:extLst>
  </p:cSld>
  <p:clrMapOvr>
    <a:masterClrMapping/>
  </p:clrMapOvr>
  <p:transition spd="slow"/>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32" name="Textplatzhalter 3"/>
          <p:cNvSpPr>
            <a:spLocks noGrp="1"/>
          </p:cNvSpPr>
          <p:nvPr>
            <p:ph type="body" sz="quarter" idx="12" hasCustomPrompt="1"/>
          </p:nvPr>
        </p:nvSpPr>
        <p:spPr>
          <a:xfrm>
            <a:off x="636588" y="1621200"/>
            <a:ext cx="5067300" cy="2275200"/>
          </a:xfrm>
          <a:prstGeom prst="rect">
            <a:avLst/>
          </a:prstGeom>
        </p:spPr>
        <p:txBody>
          <a:bodyPr lIns="0" anchor="ctr" anchorCtr="0"/>
          <a:lstStyle>
            <a:lvl1pPr>
              <a:lnSpc>
                <a:spcPct val="113000"/>
              </a:lnSpc>
              <a:spcAft>
                <a:spcPts val="600"/>
              </a:spcAft>
              <a:defRPr sz="1400" baseline="0">
                <a:latin typeface="Arial" panose="020B0604020202020204" pitchFamily="34" charset="0"/>
                <a:cs typeface="Arial" panose="020B0604020202020204" pitchFamily="34" charset="0"/>
              </a:defRPr>
            </a:lvl1pPr>
          </a:lstStyle>
          <a:p>
            <a:pPr lvl="0"/>
            <a:r>
              <a:rPr lang="en-US" noProof="0" dirty="0" smtClean="0"/>
              <a:t>Name: Arial 14 </a:t>
            </a:r>
            <a:r>
              <a:rPr lang="en-US" noProof="0" dirty="0" err="1" smtClean="0"/>
              <a:t>pt</a:t>
            </a:r>
            <a:r>
              <a:rPr lang="en-US" noProof="0" dirty="0" smtClean="0"/>
              <a:t>, </a:t>
            </a:r>
            <a:r>
              <a:rPr lang="en-US" noProof="0" dirty="0" err="1" smtClean="0"/>
              <a:t>nicht</a:t>
            </a:r>
            <a:r>
              <a:rPr lang="en-US" noProof="0" dirty="0" smtClean="0"/>
              <a:t> </a:t>
            </a:r>
            <a:r>
              <a:rPr lang="en-US" noProof="0" dirty="0" err="1" smtClean="0"/>
              <a:t>fett</a:t>
            </a:r>
            <a:endParaRPr lang="en-US" noProof="0" dirty="0" smtClean="0"/>
          </a:p>
          <a:p>
            <a:pPr lvl="0"/>
            <a:r>
              <a:rPr lang="en-US" noProof="0" dirty="0" err="1" smtClean="0"/>
              <a:t>Funktion</a:t>
            </a:r>
            <a:r>
              <a:rPr lang="en-US" noProof="0" dirty="0" smtClean="0"/>
              <a:t>: Arial 14 </a:t>
            </a:r>
            <a:r>
              <a:rPr lang="en-US" noProof="0" dirty="0" err="1" smtClean="0"/>
              <a:t>pt</a:t>
            </a:r>
            <a:r>
              <a:rPr lang="en-US" noProof="0" dirty="0" smtClean="0"/>
              <a:t>, </a:t>
            </a:r>
            <a:r>
              <a:rPr lang="en-US" noProof="0" dirty="0" err="1" smtClean="0"/>
              <a:t>nicht</a:t>
            </a:r>
            <a:r>
              <a:rPr lang="en-US" noProof="0" dirty="0" smtClean="0"/>
              <a:t> </a:t>
            </a:r>
            <a:r>
              <a:rPr lang="en-US" noProof="0" dirty="0" err="1" smtClean="0"/>
              <a:t>fett</a:t>
            </a:r>
            <a:endParaRPr lang="en-US" noProof="0" dirty="0" smtClean="0"/>
          </a:p>
        </p:txBody>
      </p:sp>
      <p:sp>
        <p:nvSpPr>
          <p:cNvPr id="25" name="Line 127"/>
          <p:cNvSpPr>
            <a:spLocks noChangeShapeType="1"/>
          </p:cNvSpPr>
          <p:nvPr userDrawn="1"/>
        </p:nvSpPr>
        <p:spPr bwMode="auto">
          <a:xfrm>
            <a:off x="-600" y="442333"/>
            <a:ext cx="9907200" cy="0"/>
          </a:xfrm>
          <a:prstGeom prst="line">
            <a:avLst/>
          </a:prstGeom>
          <a:noFill/>
          <a:ln w="19050">
            <a:solidFill>
              <a:schemeClr val="accent4"/>
            </a:solidFill>
            <a:round/>
            <a:headEnd/>
            <a:tailEnd/>
          </a:ln>
          <a:effectLst/>
        </p:spPr>
        <p:txBody>
          <a:bodyPr wrap="none" anchor="ctr"/>
          <a:lstStyle/>
          <a:p>
            <a:pPr>
              <a:defRPr/>
            </a:pPr>
            <a:endParaRPr lang="en-US" noProof="0" dirty="0">
              <a:solidFill>
                <a:srgbClr val="000000"/>
              </a:solidFill>
            </a:endParaRPr>
          </a:p>
        </p:txBody>
      </p:sp>
      <p:sp>
        <p:nvSpPr>
          <p:cNvPr id="12" name="TextBox 18"/>
          <p:cNvSpPr txBox="1"/>
          <p:nvPr userDrawn="1">
            <p:custDataLst>
              <p:tags r:id="rId1"/>
            </p:custDataLst>
          </p:nvPr>
        </p:nvSpPr>
        <p:spPr>
          <a:xfrm>
            <a:off x="7513477" y="5904071"/>
            <a:ext cx="1399742" cy="461280"/>
          </a:xfrm>
          <a:prstGeom prst="rect">
            <a:avLst/>
          </a:prstGeom>
          <a:ln algn="ctr"/>
        </p:spPr>
        <p:txBody>
          <a:bodyPr wrap="none" rtlCol="0" anchor="t">
            <a:spAutoFit/>
          </a:bodyPr>
          <a:lstStyle/>
          <a:p>
            <a:pPr algn="ctr" eaLnBrk="1" hangingPunct="1">
              <a:spcAft>
                <a:spcPct val="0"/>
              </a:spcAft>
            </a:pPr>
            <a:r>
              <a:rPr lang="en-US" sz="799" i="1" kern="0" noProof="0" dirty="0" smtClean="0">
                <a:solidFill>
                  <a:srgbClr val="6382AD">
                    <a:lumMod val="75000"/>
                  </a:srgbClr>
                </a:solidFill>
                <a:latin typeface="Calibri" panose="020F0502020204030204"/>
              </a:rPr>
              <a:t>System-cybernetic</a:t>
            </a:r>
            <a:br>
              <a:rPr lang="en-US" sz="799" i="1" kern="0" noProof="0" dirty="0" smtClean="0">
                <a:solidFill>
                  <a:srgbClr val="6382AD">
                    <a:lumMod val="75000"/>
                  </a:srgbClr>
                </a:solidFill>
                <a:latin typeface="Calibri" panose="020F0502020204030204"/>
              </a:rPr>
            </a:br>
            <a:r>
              <a:rPr lang="en-US" sz="799" i="1" kern="0" noProof="0" dirty="0" smtClean="0">
                <a:solidFill>
                  <a:srgbClr val="6382AD">
                    <a:lumMod val="75000"/>
                  </a:srgbClr>
                </a:solidFill>
                <a:latin typeface="Calibri" panose="020F0502020204030204"/>
              </a:rPr>
              <a:t>Malik ManagementSystems®</a:t>
            </a:r>
          </a:p>
          <a:p>
            <a:pPr algn="ctr" eaLnBrk="1" hangingPunct="1">
              <a:spcAft>
                <a:spcPct val="0"/>
              </a:spcAft>
            </a:pPr>
            <a:r>
              <a:rPr lang="en-US" sz="799" i="1" kern="0" noProof="0" dirty="0" smtClean="0">
                <a:solidFill>
                  <a:srgbClr val="6382AD">
                    <a:lumMod val="75000"/>
                  </a:srgbClr>
                </a:solidFill>
                <a:latin typeface="Calibri" panose="020F0502020204030204"/>
              </a:rPr>
              <a:t>for mastering complexity</a:t>
            </a:r>
          </a:p>
        </p:txBody>
      </p:sp>
      <p:pic>
        <p:nvPicPr>
          <p:cNvPr id="13" name="Grafik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223608" y="3874639"/>
            <a:ext cx="2340000" cy="2029432"/>
          </a:xfrm>
          <a:prstGeom prst="rect">
            <a:avLst/>
          </a:prstGeom>
        </p:spPr>
      </p:pic>
      <p:pic>
        <p:nvPicPr>
          <p:cNvPr id="14" name="Grafik 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499835" y="114915"/>
            <a:ext cx="774000" cy="227799"/>
          </a:xfrm>
          <a:prstGeom prst="rect">
            <a:avLst/>
          </a:prstGeom>
        </p:spPr>
      </p:pic>
      <p:sp>
        <p:nvSpPr>
          <p:cNvPr id="15" name="TextBox 14"/>
          <p:cNvSpPr txBox="1"/>
          <p:nvPr userDrawn="1">
            <p:custDataLst>
              <p:tags r:id="rId2"/>
            </p:custDataLst>
          </p:nvPr>
        </p:nvSpPr>
        <p:spPr>
          <a:xfrm>
            <a:off x="635979" y="4707770"/>
            <a:ext cx="5066695" cy="1889880"/>
          </a:xfrm>
          <a:prstGeom prst="rect">
            <a:avLst/>
          </a:prstGeom>
          <a:ln algn="ctr"/>
        </p:spPr>
        <p:txBody>
          <a:bodyPr wrap="none" lIns="0" bIns="0" rtlCol="0" anchor="b">
            <a:noAutofit/>
          </a:bodyPr>
          <a:lstStyle/>
          <a:p>
            <a:pPr eaLnBrk="1" hangingPunct="1">
              <a:lnSpc>
                <a:spcPct val="114000"/>
              </a:lnSpc>
              <a:spcBef>
                <a:spcPts val="0"/>
              </a:spcBef>
              <a:spcAft>
                <a:spcPts val="0"/>
              </a:spcAft>
            </a:pPr>
            <a:r>
              <a:rPr lang="de-CH" sz="1200" b="1" kern="0" dirty="0" err="1" smtClean="0">
                <a:solidFill>
                  <a:srgbClr val="000000"/>
                </a:solidFill>
                <a:latin typeface="Arial" panose="020B0604020202020204" pitchFamily="34" charset="0"/>
                <a:cs typeface="Arial" panose="020B0604020202020204" pitchFamily="34" charset="0"/>
              </a:rPr>
              <a:t>malik</a:t>
            </a:r>
            <a:r>
              <a:rPr lang="de-CH" sz="1200" b="1" kern="0" dirty="0" smtClean="0">
                <a:solidFill>
                  <a:srgbClr val="000000"/>
                </a:solidFill>
                <a:latin typeface="Arial" panose="020B0604020202020204" pitchFamily="34" charset="0"/>
                <a:cs typeface="Arial" panose="020B0604020202020204" pitchFamily="34" charset="0"/>
              </a:rPr>
              <a:t> international </a:t>
            </a:r>
            <a:r>
              <a:rPr lang="de-CH" sz="1200" b="1" kern="0" dirty="0" err="1" smtClean="0">
                <a:solidFill>
                  <a:srgbClr val="000000"/>
                </a:solidFill>
                <a:latin typeface="Arial" panose="020B0604020202020204" pitchFamily="34" charset="0"/>
                <a:cs typeface="Arial" panose="020B0604020202020204" pitchFamily="34" charset="0"/>
              </a:rPr>
              <a:t>ag</a:t>
            </a:r>
            <a:r>
              <a:rPr lang="de-CH" sz="1200" b="1" kern="0" dirty="0" smtClean="0">
                <a:solidFill>
                  <a:srgbClr val="000000"/>
                </a:solidFill>
                <a:latin typeface="Arial" panose="020B0604020202020204" pitchFamily="34" charset="0"/>
                <a:cs typeface="Arial" panose="020B0604020202020204" pitchFamily="34" charset="0"/>
              </a:rPr>
              <a:t/>
            </a:r>
            <a:br>
              <a:rPr lang="de-CH" sz="1200" b="1" kern="0" dirty="0" smtClean="0">
                <a:solidFill>
                  <a:srgbClr val="000000"/>
                </a:solidFill>
                <a:latin typeface="Arial" panose="020B0604020202020204" pitchFamily="34" charset="0"/>
                <a:cs typeface="Arial" panose="020B0604020202020204" pitchFamily="34" charset="0"/>
              </a:rPr>
            </a:br>
            <a:r>
              <a:rPr lang="de-CH" sz="1200" kern="0" dirty="0" err="1" smtClean="0">
                <a:solidFill>
                  <a:srgbClr val="000000"/>
                </a:solidFill>
                <a:latin typeface="Arial" panose="020B0604020202020204" pitchFamily="34" charset="0"/>
                <a:cs typeface="Arial" panose="020B0604020202020204" pitchFamily="34" charset="0"/>
              </a:rPr>
              <a:t>Geltenwilenstrasse</a:t>
            </a:r>
            <a:r>
              <a:rPr lang="de-CH" sz="1200" kern="0" dirty="0" smtClean="0">
                <a:solidFill>
                  <a:srgbClr val="000000"/>
                </a:solidFill>
                <a:latin typeface="Arial" panose="020B0604020202020204" pitchFamily="34" charset="0"/>
                <a:cs typeface="Arial" panose="020B0604020202020204" pitchFamily="34" charset="0"/>
              </a:rPr>
              <a:t> 16</a:t>
            </a:r>
            <a:br>
              <a:rPr lang="de-CH" sz="1200" kern="0" dirty="0" smtClean="0">
                <a:solidFill>
                  <a:srgbClr val="000000"/>
                </a:solidFill>
                <a:latin typeface="Arial" panose="020B0604020202020204" pitchFamily="34" charset="0"/>
                <a:cs typeface="Arial" panose="020B0604020202020204" pitchFamily="34" charset="0"/>
              </a:rPr>
            </a:br>
            <a:r>
              <a:rPr lang="de-CH" sz="1200" kern="0" dirty="0" smtClean="0">
                <a:solidFill>
                  <a:srgbClr val="000000"/>
                </a:solidFill>
                <a:latin typeface="Arial" panose="020B0604020202020204" pitchFamily="34" charset="0"/>
                <a:cs typeface="Arial" panose="020B0604020202020204" pitchFamily="34" charset="0"/>
              </a:rPr>
              <a:t>CH-9000 St. Gallen, </a:t>
            </a:r>
            <a:r>
              <a:rPr lang="de-CH" sz="1200" kern="0" dirty="0" err="1" smtClean="0">
                <a:solidFill>
                  <a:srgbClr val="000000"/>
                </a:solidFill>
                <a:latin typeface="Arial" panose="020B0604020202020204" pitchFamily="34" charset="0"/>
                <a:cs typeface="Arial" panose="020B0604020202020204" pitchFamily="34" charset="0"/>
              </a:rPr>
              <a:t>Switzerland</a:t>
            </a:r>
            <a:endParaRPr lang="de-CH" sz="1200" kern="0" dirty="0" smtClean="0">
              <a:solidFill>
                <a:srgbClr val="000000"/>
              </a:solidFill>
              <a:latin typeface="Arial" panose="020B0604020202020204" pitchFamily="34" charset="0"/>
              <a:cs typeface="Arial" panose="020B0604020202020204" pitchFamily="34" charset="0"/>
            </a:endParaRPr>
          </a:p>
          <a:p>
            <a:pPr eaLnBrk="1" hangingPunct="1">
              <a:lnSpc>
                <a:spcPct val="114000"/>
              </a:lnSpc>
              <a:spcBef>
                <a:spcPts val="0"/>
              </a:spcBef>
              <a:spcAft>
                <a:spcPts val="0"/>
              </a:spcAft>
            </a:pPr>
            <a:endParaRPr lang="de-CH" sz="1200" kern="0" dirty="0" smtClean="0">
              <a:solidFill>
                <a:srgbClr val="000000"/>
              </a:solidFill>
              <a:latin typeface="Arial" panose="020B0604020202020204" pitchFamily="34" charset="0"/>
              <a:cs typeface="Arial" panose="020B0604020202020204" pitchFamily="34" charset="0"/>
            </a:endParaRPr>
          </a:p>
          <a:p>
            <a:pPr eaLnBrk="1" hangingPunct="1">
              <a:lnSpc>
                <a:spcPct val="114000"/>
              </a:lnSpc>
              <a:spcBef>
                <a:spcPts val="0"/>
              </a:spcBef>
              <a:spcAft>
                <a:spcPts val="0"/>
              </a:spcAft>
            </a:pPr>
            <a:r>
              <a:rPr lang="de-CH" sz="1200" kern="0" dirty="0" smtClean="0">
                <a:solidFill>
                  <a:srgbClr val="000000"/>
                </a:solidFill>
                <a:latin typeface="Arial" panose="020B0604020202020204" pitchFamily="34" charset="0"/>
                <a:cs typeface="Arial" panose="020B0604020202020204" pitchFamily="34" charset="0"/>
              </a:rPr>
              <a:t>T +41 71 274 34 00</a:t>
            </a:r>
          </a:p>
          <a:p>
            <a:pPr eaLnBrk="1" hangingPunct="1">
              <a:lnSpc>
                <a:spcPct val="114000"/>
              </a:lnSpc>
              <a:spcBef>
                <a:spcPts val="0"/>
              </a:spcBef>
              <a:spcAft>
                <a:spcPts val="0"/>
              </a:spcAft>
            </a:pPr>
            <a:r>
              <a:rPr lang="de-CH" sz="1200" kern="0" dirty="0" smtClean="0">
                <a:solidFill>
                  <a:srgbClr val="000000"/>
                </a:solidFill>
                <a:latin typeface="Arial" panose="020B0604020202020204" pitchFamily="34" charset="0"/>
                <a:cs typeface="Arial" panose="020B0604020202020204" pitchFamily="34" charset="0"/>
              </a:rPr>
              <a:t/>
            </a:r>
            <a:br>
              <a:rPr lang="de-CH" sz="1200" kern="0" dirty="0" smtClean="0">
                <a:solidFill>
                  <a:srgbClr val="000000"/>
                </a:solidFill>
                <a:latin typeface="Arial" panose="020B0604020202020204" pitchFamily="34" charset="0"/>
                <a:cs typeface="Arial" panose="020B0604020202020204" pitchFamily="34" charset="0"/>
              </a:rPr>
            </a:br>
            <a:r>
              <a:rPr lang="de-CH" sz="1200" kern="0" dirty="0" smtClean="0">
                <a:solidFill>
                  <a:srgbClr val="000000"/>
                </a:solidFill>
                <a:latin typeface="Arial" panose="020B0604020202020204" pitchFamily="34" charset="0"/>
                <a:cs typeface="Arial" panose="020B0604020202020204" pitchFamily="34" charset="0"/>
              </a:rPr>
              <a:t>info@malik-management.com</a:t>
            </a:r>
            <a:br>
              <a:rPr lang="de-CH" sz="1200" kern="0" dirty="0" smtClean="0">
                <a:solidFill>
                  <a:srgbClr val="000000"/>
                </a:solidFill>
                <a:latin typeface="Arial" panose="020B0604020202020204" pitchFamily="34" charset="0"/>
                <a:cs typeface="Arial" panose="020B0604020202020204" pitchFamily="34" charset="0"/>
              </a:rPr>
            </a:br>
            <a:r>
              <a:rPr lang="de-CH" sz="1200" kern="0" dirty="0" smtClean="0">
                <a:solidFill>
                  <a:srgbClr val="000000"/>
                </a:solidFill>
                <a:latin typeface="Arial" panose="020B0604020202020204" pitchFamily="34" charset="0"/>
                <a:cs typeface="Arial" panose="020B0604020202020204" pitchFamily="34" charset="0"/>
              </a:rPr>
              <a:t>www.malik-management.com</a:t>
            </a:r>
          </a:p>
        </p:txBody>
      </p:sp>
      <p:sp>
        <p:nvSpPr>
          <p:cNvPr id="16" name="Malik Year"/>
          <p:cNvSpPr/>
          <p:nvPr userDrawn="1"/>
        </p:nvSpPr>
        <p:spPr bwMode="auto">
          <a:xfrm>
            <a:off x="8560425" y="480397"/>
            <a:ext cx="714375" cy="123111"/>
          </a:xfrm>
          <a:prstGeom prst="rect">
            <a:avLst/>
          </a:prstGeom>
          <a:solidFill>
            <a:schemeClr val="bg1"/>
          </a:solidFill>
          <a:ln w="127">
            <a:noFill/>
            <a:miter lim="800000"/>
            <a:headEnd/>
            <a:tailEnd/>
          </a:ln>
          <a:effectLst/>
        </p:spPr>
        <p:txBody>
          <a:bodyPr lIns="0" tIns="0" rIns="18000" bIns="0" anchor="ctr">
            <a:spAutoFit/>
          </a:bodyPr>
          <a:lstStyle/>
          <a:p>
            <a:pPr algn="r">
              <a:spcAft>
                <a:spcPct val="0"/>
              </a:spcAft>
              <a:tabLst>
                <a:tab pos="95249" algn="l"/>
              </a:tabLst>
            </a:pPr>
            <a:r>
              <a:rPr lang="en-US" sz="800" noProof="0" dirty="0" smtClean="0">
                <a:solidFill>
                  <a:srgbClr val="000000"/>
                </a:solidFill>
                <a:latin typeface="Arial" panose="020B0604020202020204" pitchFamily="34" charset="0"/>
                <a:cs typeface="Arial" panose="020B0604020202020204" pitchFamily="34" charset="0"/>
              </a:rPr>
              <a:t>© Malik </a:t>
            </a:r>
            <a:r>
              <a:rPr lang="en-US" sz="800" noProof="0" dirty="0" smtClean="0">
                <a:solidFill>
                  <a:srgbClr val="000000"/>
                </a:solidFill>
                <a:latin typeface="Arial" panose="020B0604020202020204" pitchFamily="34" charset="0"/>
                <a:cs typeface="Arial" panose="020B0604020202020204" pitchFamily="34" charset="0"/>
              </a:rPr>
              <a:t>2019</a:t>
            </a:r>
            <a:endParaRPr lang="en-US" sz="800" noProof="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64571229"/>
      </p:ext>
    </p:extLst>
  </p:cSld>
  <p:clrMapOvr>
    <a:masterClrMapping/>
  </p:clrMapOvr>
  <p:transition spd="slow"/>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full-page ELEMENT">
    <p:spTree>
      <p:nvGrpSpPr>
        <p:cNvPr id="1" name=""/>
        <p:cNvGrpSpPr/>
        <p:nvPr/>
      </p:nvGrpSpPr>
      <p:grpSpPr>
        <a:xfrm>
          <a:off x="0" y="0"/>
          <a:ext cx="0" cy="0"/>
          <a:chOff x="0" y="0"/>
          <a:chExt cx="0" cy="0"/>
        </a:xfrm>
      </p:grpSpPr>
      <p:sp>
        <p:nvSpPr>
          <p:cNvPr id="5" name="Content Placeholder 3"/>
          <p:cNvSpPr>
            <a:spLocks noGrp="1"/>
          </p:cNvSpPr>
          <p:nvPr>
            <p:ph sz="quarter" idx="13" hasCustomPrompt="1"/>
          </p:nvPr>
        </p:nvSpPr>
        <p:spPr>
          <a:xfrm>
            <a:off x="631825" y="1557342"/>
            <a:ext cx="8642350" cy="5040000"/>
          </a:xfrm>
          <a:prstGeom prst="rect">
            <a:avLst/>
          </a:prstGeom>
        </p:spPr>
        <p:txBody>
          <a:bodyPr lIns="0" tIns="0" rIns="0" bIns="0"/>
          <a:lstStyle>
            <a:lvl1pPr marL="355600" indent="-355600" eaLnBrk="1" hangingPunct="1">
              <a:lnSpc>
                <a:spcPct val="113000"/>
              </a:lnSpc>
              <a:buClr>
                <a:srgbClr val="000000"/>
              </a:buClr>
              <a:tabLst>
                <a:tab pos="719138" algn="l"/>
              </a:tabLst>
              <a:defRPr lang="en-US" sz="1200" b="0" kern="0" baseline="0" noProof="0">
                <a:solidFill>
                  <a:schemeClr val="tx1"/>
                </a:solidFill>
                <a:latin typeface="Arial" panose="020B0604020202020204" pitchFamily="34" charset="0"/>
                <a:ea typeface="+mn-ea"/>
                <a:cs typeface="Arial" panose="020B0604020202020204" pitchFamily="34" charset="0"/>
              </a:defRPr>
            </a:lvl1pPr>
            <a:lvl2pPr eaLnBrk="1" hangingPunct="1">
              <a:lnSpc>
                <a:spcPct val="113000"/>
              </a:lnSpc>
              <a:buClr>
                <a:srgbClr val="000000"/>
              </a:buClr>
              <a:defRPr lang="en-US" sz="1200" b="0" kern="0" baseline="0" noProof="0" dirty="0" smtClean="0">
                <a:solidFill>
                  <a:schemeClr val="tx1"/>
                </a:solidFill>
                <a:latin typeface="Arial" panose="020B0604020202020204" pitchFamily="34" charset="0"/>
                <a:ea typeface="+mn-ea"/>
                <a:cs typeface="Arial" panose="020B0604020202020204" pitchFamily="34" charset="0"/>
              </a:defRPr>
            </a:lvl2pPr>
            <a:lvl3pPr eaLnBrk="1" hangingPunct="1">
              <a:lnSpc>
                <a:spcPct val="113000"/>
              </a:lnSpc>
              <a:buClr>
                <a:srgbClr val="000000"/>
              </a:buClr>
              <a:defRPr lang="en-US" sz="1200" b="0" kern="0" baseline="0" noProof="0" dirty="0" smtClean="0">
                <a:solidFill>
                  <a:schemeClr val="tx1"/>
                </a:solidFill>
                <a:latin typeface="Arial" panose="020B0604020202020204" pitchFamily="34" charset="0"/>
                <a:ea typeface="+mn-ea"/>
                <a:cs typeface="Arial" panose="020B0604020202020204" pitchFamily="34" charset="0"/>
              </a:defRPr>
            </a:lvl3pPr>
            <a:lvl4pPr eaLnBrk="1" hangingPunct="1">
              <a:lnSpc>
                <a:spcPct val="113000"/>
              </a:lnSpc>
              <a:buClr>
                <a:srgbClr val="000000"/>
              </a:buClr>
              <a:defRPr lang="en-US" sz="1200" b="0" kern="0" baseline="0" noProof="0" dirty="0" smtClean="0">
                <a:solidFill>
                  <a:schemeClr val="tx1"/>
                </a:solidFill>
                <a:latin typeface="Arial" panose="020B0604020202020204" pitchFamily="34" charset="0"/>
                <a:ea typeface="+mn-ea"/>
                <a:cs typeface="Arial" panose="020B0604020202020204" pitchFamily="34" charset="0"/>
              </a:defRPr>
            </a:lvl4pPr>
          </a:lstStyle>
          <a:p>
            <a:pPr eaLnBrk="1" hangingPunct="1">
              <a:buClr>
                <a:srgbClr val="000000"/>
              </a:buClr>
              <a:defRPr/>
            </a:pPr>
            <a:r>
              <a:rPr lang="en-US" dirty="0" smtClean="0"/>
              <a:t>Arial 12pt</a:t>
            </a:r>
          </a:p>
          <a:p>
            <a:pPr eaLnBrk="1" hangingPunct="1">
              <a:buClr>
                <a:srgbClr val="000000"/>
              </a:buClr>
              <a:defRPr/>
            </a:pPr>
            <a:r>
              <a:rPr lang="en-US" dirty="0" smtClean="0"/>
              <a:t>1. Second Level text with numbers</a:t>
            </a:r>
            <a:br>
              <a:rPr lang="en-US" dirty="0" smtClean="0"/>
            </a:br>
            <a:r>
              <a:rPr lang="en-US" dirty="0" smtClean="0"/>
              <a:t>a. Third level text with alphabet</a:t>
            </a:r>
            <a:br>
              <a:rPr lang="en-US" dirty="0" smtClean="0"/>
            </a:br>
            <a:r>
              <a:rPr lang="en-US" dirty="0" smtClean="0"/>
              <a:t>	</a:t>
            </a:r>
            <a:r>
              <a:rPr lang="en-US" dirty="0" err="1" smtClean="0"/>
              <a:t>i</a:t>
            </a:r>
            <a:r>
              <a:rPr lang="en-US" dirty="0" smtClean="0"/>
              <a:t>. Fourth level text with roman numbers</a:t>
            </a:r>
          </a:p>
        </p:txBody>
      </p:sp>
      <p:sp>
        <p:nvSpPr>
          <p:cNvPr id="8" name="Text Placeholder 10"/>
          <p:cNvSpPr>
            <a:spLocks noGrp="1"/>
          </p:cNvSpPr>
          <p:nvPr>
            <p:ph type="body" sz="quarter" idx="10" hasCustomPrompt="1"/>
          </p:nvPr>
        </p:nvSpPr>
        <p:spPr>
          <a:xfrm>
            <a:off x="631824" y="6624000"/>
            <a:ext cx="8642351" cy="140400"/>
          </a:xfrm>
          <a:prstGeom prst="rect">
            <a:avLst/>
          </a:prstGeom>
        </p:spPr>
        <p:txBody>
          <a:bodyPr vert="horz" lIns="0" tIns="0" rIns="0" bIns="0" rtlCol="0" anchor="b">
            <a:noAutofit/>
          </a:bodyPr>
          <a:lstStyle>
            <a:lvl1pPr>
              <a:defRPr lang="de-CH" sz="800" noProof="0" dirty="0" smtClean="0"/>
            </a:lvl1pPr>
          </a:lstStyle>
          <a:p>
            <a:pPr lvl="0">
              <a:spcAft>
                <a:spcPts val="0"/>
              </a:spcAft>
            </a:pPr>
            <a:r>
              <a:rPr lang="en-US" noProof="0" dirty="0" smtClean="0"/>
              <a:t>Footer / Document title</a:t>
            </a:r>
          </a:p>
        </p:txBody>
      </p:sp>
      <p:sp>
        <p:nvSpPr>
          <p:cNvPr id="6" name="Titel 1"/>
          <p:cNvSpPr>
            <a:spLocks noGrp="1"/>
          </p:cNvSpPr>
          <p:nvPr>
            <p:ph type="title" hasCustomPrompt="1"/>
          </p:nvPr>
        </p:nvSpPr>
        <p:spPr>
          <a:xfrm>
            <a:off x="631825" y="765175"/>
            <a:ext cx="8642350" cy="611188"/>
          </a:xfrm>
        </p:spPr>
        <p:txBody>
          <a:bodyPr/>
          <a:lstStyle>
            <a:lvl1pPr>
              <a:defRPr baseline="0"/>
            </a:lvl1pPr>
          </a:lstStyle>
          <a:p>
            <a:r>
              <a:rPr lang="en-US" noProof="0" dirty="0" smtClean="0"/>
              <a:t>Title: </a:t>
            </a:r>
            <a:r>
              <a:rPr lang="en-US" dirty="0" smtClean="0"/>
              <a:t>Arial 20</a:t>
            </a:r>
            <a:r>
              <a:rPr lang="en-US" noProof="0" dirty="0" smtClean="0"/>
              <a:t> </a:t>
            </a:r>
            <a:r>
              <a:rPr lang="en-US" noProof="0" dirty="0" err="1" smtClean="0"/>
              <a:t>pt</a:t>
            </a:r>
            <a:r>
              <a:rPr lang="en-US" noProof="0" dirty="0" smtClean="0"/>
              <a:t>, sentence case, bold with a maximum of 2 lines</a:t>
            </a:r>
            <a:endParaRPr lang="en-US" noProof="0" dirty="0"/>
          </a:p>
        </p:txBody>
      </p:sp>
    </p:spTree>
    <p:extLst>
      <p:ext uri="{BB962C8B-B14F-4D97-AF65-F5344CB8AC3E}">
        <p14:creationId xmlns:p14="http://schemas.microsoft.com/office/powerpoint/2010/main" val="1317403242"/>
      </p:ext>
    </p:extLst>
  </p:cSld>
  <p:clrMapOvr>
    <a:masterClrMapping/>
  </p:clrMapOvr>
  <p:transition spd="slow"/>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1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082605"/>
      </p:ext>
    </p:extLst>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Repor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1800"/>
            </a:lvl1pPr>
          </a:lstStyle>
          <a:p>
            <a:r>
              <a:rPr lang="de-CH" noProof="0" dirty="0" smtClean="0"/>
              <a:t>Titel</a:t>
            </a:r>
            <a:br>
              <a:rPr lang="de-CH" noProof="0" dirty="0" smtClean="0"/>
            </a:br>
            <a:r>
              <a:rPr lang="de-CH" noProof="0" dirty="0" smtClean="0"/>
              <a:t>Arial 18 </a:t>
            </a:r>
            <a:r>
              <a:rPr lang="de-CH" noProof="0" dirty="0" err="1" smtClean="0"/>
              <a:t>pt</a:t>
            </a:r>
            <a:r>
              <a:rPr lang="de-CH" noProof="0" dirty="0" smtClean="0"/>
              <a:t>, fett, maximal 2 Zeilen</a:t>
            </a:r>
            <a:endParaRPr lang="de-DE" noProof="0" dirty="0"/>
          </a:p>
        </p:txBody>
      </p:sp>
      <p:sp>
        <p:nvSpPr>
          <p:cNvPr id="5" name="Inhaltsplatzhalter 5"/>
          <p:cNvSpPr>
            <a:spLocks noGrp="1"/>
          </p:cNvSpPr>
          <p:nvPr>
            <p:ph sz="quarter" idx="12" hasCustomPrompt="1"/>
          </p:nvPr>
        </p:nvSpPr>
        <p:spPr>
          <a:xfrm>
            <a:off x="1803000" y="1557338"/>
            <a:ext cx="6300000" cy="5040000"/>
          </a:xfrm>
        </p:spPr>
        <p:txBody>
          <a:bodyPr>
            <a:normAutofit/>
          </a:bodyPr>
          <a:lstStyle>
            <a:lvl1pPr marL="0" marR="0" indent="0" algn="l" defTabSz="914395" rtl="0" eaLnBrk="1" fontAlgn="base" latinLnBrk="0" hangingPunct="1">
              <a:lnSpc>
                <a:spcPct val="100000"/>
              </a:lnSpc>
              <a:spcBef>
                <a:spcPct val="0"/>
              </a:spcBef>
              <a:spcAft>
                <a:spcPts val="600"/>
              </a:spcAft>
              <a:buClr>
                <a:srgbClr val="000000"/>
              </a:buClr>
              <a:buSzTx/>
              <a:tabLst/>
              <a:defRPr sz="1100"/>
            </a:lvl1pPr>
            <a:lvl2pPr marL="215900" indent="-215900" eaLnBrk="1" hangingPunct="1">
              <a:buClr>
                <a:srgbClr val="000000"/>
              </a:buClr>
              <a:defRPr sz="1100"/>
            </a:lvl2pPr>
            <a:lvl3pPr marL="431800" indent="-215900" eaLnBrk="1" hangingPunct="1">
              <a:buClr>
                <a:srgbClr val="000000"/>
              </a:buClr>
              <a:defRPr sz="1100"/>
            </a:lvl3pPr>
            <a:lvl4pPr marL="647700" indent="-215900" eaLnBrk="1" hangingPunct="1">
              <a:buClr>
                <a:srgbClr val="000000"/>
              </a:buClr>
              <a:defRPr sz="1100"/>
            </a:lvl4pPr>
          </a:lstStyle>
          <a:p>
            <a:pPr marL="0" marR="0" lvl="0" indent="0" algn="l" defTabSz="914395" rtl="0" eaLnBrk="1" fontAlgn="base" latinLnBrk="0" hangingPunct="1">
              <a:lnSpc>
                <a:spcPct val="100000"/>
              </a:lnSpc>
              <a:spcBef>
                <a:spcPct val="0"/>
              </a:spcBef>
              <a:spcAft>
                <a:spcPts val="600"/>
              </a:spcAft>
              <a:buClr>
                <a:srgbClr val="000000"/>
              </a:buClr>
              <a:buSzTx/>
              <a:tabLst/>
              <a:defRPr/>
            </a:pPr>
            <a:r>
              <a:rPr kumimoji="0" lang="en-US" sz="1200" b="0" i="0" u="none" strike="noStrike" kern="0" cap="none" spc="0" normalizeH="0" baseline="0" noProof="0" dirty="0" smtClean="0">
                <a:ln>
                  <a:noFill/>
                </a:ln>
                <a:solidFill>
                  <a:srgbClr val="000000"/>
                </a:solidFill>
                <a:effectLst/>
                <a:uLnTx/>
                <a:uFillTx/>
                <a:latin typeface="+mn-lt"/>
              </a:rPr>
              <a:t>*Arial 12-14pt. (minimum 10)*</a:t>
            </a:r>
          </a:p>
        </p:txBody>
      </p:sp>
      <p:sp>
        <p:nvSpPr>
          <p:cNvPr id="6" name="Text Placeholder 10"/>
          <p:cNvSpPr>
            <a:spLocks noGrp="1"/>
          </p:cNvSpPr>
          <p:nvPr>
            <p:ph type="body" sz="quarter" idx="10" hasCustomPrompt="1"/>
          </p:nvPr>
        </p:nvSpPr>
        <p:spPr>
          <a:xfrm>
            <a:off x="1803000" y="6639694"/>
            <a:ext cx="6300000" cy="143629"/>
          </a:xfrm>
          <a:prstGeom prst="rect">
            <a:avLst/>
          </a:prstGeom>
        </p:spPr>
        <p:txBody>
          <a:bodyPr vert="horz" lIns="0" tIns="0" rIns="0" bIns="0" rtlCol="0" anchor="t">
            <a:spAutoFit/>
          </a:bodyPr>
          <a:lstStyle>
            <a:lvl1pPr>
              <a:defRPr lang="en-GB" sz="900" noProof="0" dirty="0"/>
            </a:lvl1pPr>
          </a:lstStyle>
          <a:p>
            <a:pPr lvl="0"/>
            <a:r>
              <a:rPr lang="de-CH" noProof="0" dirty="0" smtClean="0"/>
              <a:t>Fussnote / Dokumenttitel</a:t>
            </a:r>
          </a:p>
        </p:txBody>
      </p:sp>
    </p:spTree>
    <p:extLst>
      <p:ext uri="{BB962C8B-B14F-4D97-AF65-F5344CB8AC3E}">
        <p14:creationId xmlns:p14="http://schemas.microsoft.com/office/powerpoint/2010/main" val="866850718"/>
      </p:ext>
    </p:extLst>
  </p:cSld>
  <p:clrMapOvr>
    <a:masterClrMapping/>
  </p:clrMapOvr>
  <p:transition spd="slow"/>
  <p:timing>
    <p:tnLst>
      <p:par>
        <p:cTn id="1" dur="indefinite" restart="never" nodeType="tmRoot"/>
      </p:par>
    </p:tnLst>
  </p:timing>
  <p:extLst mod="1">
    <p:ext uri="{DCECCB84-F9BA-43D5-87BE-67443E8EF086}">
      <p15:sldGuideLst xmlns:p15="http://schemas.microsoft.com/office/powerpoint/2012/main">
        <p15:guide id="1" orient="horz" pos="125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4" name="Rectangle 109"/>
          <p:cNvSpPr>
            <a:spLocks noGrp="1" noChangeArrowheads="1"/>
          </p:cNvSpPr>
          <p:nvPr>
            <p:ph type="title"/>
            <p:custDataLst>
              <p:tags r:id="rId1"/>
            </p:custDataLst>
          </p:nvPr>
        </p:nvSpPr>
        <p:spPr bwMode="auto">
          <a:xfrm>
            <a:off x="468000" y="749030"/>
            <a:ext cx="9000000" cy="68399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p>
            <a:pPr lvl="0"/>
            <a:r>
              <a:rPr lang="de-DE" noProof="0" smtClean="0"/>
              <a:t>Titelmasterformat durch Klicken bearbeiten</a:t>
            </a:r>
            <a:endParaRPr lang="en-US" noProof="0" smtClean="0"/>
          </a:p>
        </p:txBody>
      </p:sp>
      <p:sp>
        <p:nvSpPr>
          <p:cNvPr id="5" name="Text Placeholder 15"/>
          <p:cNvSpPr>
            <a:spLocks noGrp="1"/>
          </p:cNvSpPr>
          <p:nvPr>
            <p:ph idx="1"/>
            <p:custDataLst>
              <p:tags r:id="rId2"/>
            </p:custDataLst>
          </p:nvPr>
        </p:nvSpPr>
        <p:spPr>
          <a:xfrm>
            <a:off x="468000" y="1605063"/>
            <a:ext cx="9000000" cy="4934154"/>
          </a:xfrm>
          <a:prstGeom prst="rect">
            <a:avLst/>
          </a:prstGeom>
        </p:spPr>
        <p:txBody>
          <a:bodyPr vert="horz" lIns="0" tIns="0" rIns="0" bIns="0" rtlCol="0">
            <a:noAutofit/>
          </a:bodyPr>
          <a:lstStyle/>
          <a:p>
            <a:pPr marL="0" marR="0" lvl="0" indent="0" algn="l" defTabSz="844083" rtl="0" eaLnBrk="1" fontAlgn="base" latinLnBrk="0" hangingPunct="1">
              <a:lnSpc>
                <a:spcPct val="100000"/>
              </a:lnSpc>
              <a:spcBef>
                <a:spcPct val="0"/>
              </a:spcBef>
              <a:spcAft>
                <a:spcPct val="20000"/>
              </a:spcAft>
              <a:buClr>
                <a:srgbClr val="000000"/>
              </a:buClr>
              <a:buSzTx/>
              <a:buFontTx/>
              <a:buNone/>
              <a:tabLst/>
              <a:defRPr/>
            </a:pPr>
            <a:r>
              <a:rPr kumimoji="0" lang="de-DE" sz="1477" b="0" i="0" u="none" strike="noStrike" kern="0" cap="none" spc="0" normalizeH="0" baseline="0" noProof="0" smtClean="0">
                <a:ln>
                  <a:noFill/>
                </a:ln>
                <a:solidFill>
                  <a:srgbClr val="000000"/>
                </a:solidFill>
                <a:effectLst/>
                <a:uLnTx/>
                <a:uFillTx/>
                <a:latin typeface="+mn-lt"/>
                <a:ea typeface="+mn-ea"/>
                <a:cs typeface="+mn-cs"/>
              </a:rPr>
              <a:t>Formatvorlagen des Textmasters bearbeiten</a:t>
            </a:r>
          </a:p>
          <a:p>
            <a:pPr marL="0" marR="0" lvl="1" indent="0" algn="l" defTabSz="844083" rtl="0" eaLnBrk="1" fontAlgn="base" latinLnBrk="0" hangingPunct="1">
              <a:lnSpc>
                <a:spcPct val="100000"/>
              </a:lnSpc>
              <a:spcBef>
                <a:spcPct val="0"/>
              </a:spcBef>
              <a:spcAft>
                <a:spcPct val="20000"/>
              </a:spcAft>
              <a:buClr>
                <a:srgbClr val="000000"/>
              </a:buClr>
              <a:buSzTx/>
              <a:buFontTx/>
              <a:buNone/>
              <a:tabLst/>
              <a:defRPr/>
            </a:pPr>
            <a:r>
              <a:rPr kumimoji="0" lang="de-DE" sz="1477" b="0" i="0" u="none" strike="noStrike" kern="0" cap="none" spc="0" normalizeH="0" baseline="0" noProof="0" smtClean="0">
                <a:ln>
                  <a:noFill/>
                </a:ln>
                <a:solidFill>
                  <a:srgbClr val="000000"/>
                </a:solidFill>
                <a:effectLst/>
                <a:uLnTx/>
                <a:uFillTx/>
                <a:latin typeface="+mn-lt"/>
                <a:ea typeface="+mn-ea"/>
                <a:cs typeface="+mn-cs"/>
              </a:rPr>
              <a:t>Zweite Ebene</a:t>
            </a:r>
          </a:p>
          <a:p>
            <a:pPr marL="0" marR="0" lvl="2" indent="0" algn="l" defTabSz="844083" rtl="0" eaLnBrk="1" fontAlgn="base" latinLnBrk="0" hangingPunct="1">
              <a:lnSpc>
                <a:spcPct val="100000"/>
              </a:lnSpc>
              <a:spcBef>
                <a:spcPct val="0"/>
              </a:spcBef>
              <a:spcAft>
                <a:spcPct val="20000"/>
              </a:spcAft>
              <a:buClr>
                <a:srgbClr val="000000"/>
              </a:buClr>
              <a:buSzTx/>
              <a:buFontTx/>
              <a:buNone/>
              <a:tabLst/>
              <a:defRPr/>
            </a:pPr>
            <a:r>
              <a:rPr kumimoji="0" lang="de-DE" sz="1477" b="0" i="0" u="none" strike="noStrike" kern="0" cap="none" spc="0" normalizeH="0" baseline="0" noProof="0" smtClean="0">
                <a:ln>
                  <a:noFill/>
                </a:ln>
                <a:solidFill>
                  <a:srgbClr val="000000"/>
                </a:solidFill>
                <a:effectLst/>
                <a:uLnTx/>
                <a:uFillTx/>
                <a:latin typeface="+mn-lt"/>
                <a:ea typeface="+mn-ea"/>
                <a:cs typeface="+mn-cs"/>
              </a:rPr>
              <a:t>Dritte Ebene</a:t>
            </a:r>
          </a:p>
          <a:p>
            <a:pPr marL="0" marR="0" lvl="3" indent="0" algn="l" defTabSz="844083" rtl="0" eaLnBrk="1" fontAlgn="base" latinLnBrk="0" hangingPunct="1">
              <a:lnSpc>
                <a:spcPct val="100000"/>
              </a:lnSpc>
              <a:spcBef>
                <a:spcPct val="0"/>
              </a:spcBef>
              <a:spcAft>
                <a:spcPct val="20000"/>
              </a:spcAft>
              <a:buClr>
                <a:srgbClr val="000000"/>
              </a:buClr>
              <a:buSzTx/>
              <a:buFontTx/>
              <a:buNone/>
              <a:tabLst/>
              <a:defRPr/>
            </a:pPr>
            <a:r>
              <a:rPr kumimoji="0" lang="de-DE" sz="1477" b="0" i="0" u="none" strike="noStrike" kern="0" cap="none" spc="0" normalizeH="0" baseline="0" noProof="0" smtClean="0">
                <a:ln>
                  <a:noFill/>
                </a:ln>
                <a:solidFill>
                  <a:srgbClr val="000000"/>
                </a:solidFill>
                <a:effectLst/>
                <a:uLnTx/>
                <a:uFillTx/>
                <a:latin typeface="+mn-lt"/>
                <a:ea typeface="+mn-ea"/>
                <a:cs typeface="+mn-cs"/>
              </a:rPr>
              <a:t>Vierte Ebene</a:t>
            </a:r>
          </a:p>
          <a:p>
            <a:pPr marL="0" marR="0" lvl="4" indent="0" algn="l" defTabSz="844083" rtl="0" eaLnBrk="1" fontAlgn="base" latinLnBrk="0" hangingPunct="1">
              <a:lnSpc>
                <a:spcPct val="100000"/>
              </a:lnSpc>
              <a:spcBef>
                <a:spcPct val="0"/>
              </a:spcBef>
              <a:spcAft>
                <a:spcPct val="20000"/>
              </a:spcAft>
              <a:buClr>
                <a:srgbClr val="000000"/>
              </a:buClr>
              <a:buSzTx/>
              <a:buFontTx/>
              <a:buNone/>
              <a:tabLst/>
              <a:defRPr/>
            </a:pPr>
            <a:r>
              <a:rPr kumimoji="0" lang="de-DE" sz="1477" b="0" i="0" u="none" strike="noStrike" kern="0" cap="none" spc="0" normalizeH="0" baseline="0" noProof="0" smtClean="0">
                <a:ln>
                  <a:noFill/>
                </a:ln>
                <a:solidFill>
                  <a:srgbClr val="000000"/>
                </a:solidFill>
                <a:effectLst/>
                <a:uLnTx/>
                <a:uFillTx/>
                <a:latin typeface="+mn-lt"/>
                <a:ea typeface="+mn-ea"/>
                <a:cs typeface="+mn-cs"/>
              </a:rPr>
              <a:t>Fünfte Ebene</a:t>
            </a:r>
            <a:endParaRPr lang="en-US" kern="0" noProof="0" smtClean="0">
              <a:latin typeface="+mn-lt"/>
            </a:endParaRPr>
          </a:p>
        </p:txBody>
      </p:sp>
    </p:spTree>
    <p:extLst>
      <p:ext uri="{BB962C8B-B14F-4D97-AF65-F5344CB8AC3E}">
        <p14:creationId xmlns:p14="http://schemas.microsoft.com/office/powerpoint/2010/main" val="1471480243"/>
      </p:ext>
    </p:extLst>
  </p:cSld>
  <p:clrMapOvr>
    <a:masterClrMapping/>
  </p:clrMapOvr>
  <p:transition spd="med">
    <p:zoom/>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LARGE ELEMENT and Text">
    <p:spTree>
      <p:nvGrpSpPr>
        <p:cNvPr id="1" name=""/>
        <p:cNvGrpSpPr/>
        <p:nvPr/>
      </p:nvGrpSpPr>
      <p:grpSpPr>
        <a:xfrm>
          <a:off x="0" y="0"/>
          <a:ext cx="0" cy="0"/>
          <a:chOff x="0" y="0"/>
          <a:chExt cx="0" cy="0"/>
        </a:xfrm>
      </p:grpSpPr>
      <p:sp>
        <p:nvSpPr>
          <p:cNvPr id="4" name="Inhaltsplatzhalter 3"/>
          <p:cNvSpPr>
            <a:spLocks noGrp="1"/>
          </p:cNvSpPr>
          <p:nvPr>
            <p:ph sz="quarter" idx="17" hasCustomPrompt="1"/>
          </p:nvPr>
        </p:nvSpPr>
        <p:spPr>
          <a:xfrm>
            <a:off x="5773361" y="1557338"/>
            <a:ext cx="3499200" cy="5040000"/>
          </a:xfrm>
          <a:prstGeom prst="rect">
            <a:avLst/>
          </a:prstGeom>
        </p:spPr>
        <p:txBody>
          <a:bodyPr wrap="square" lIns="0" tIns="0" rIns="0" bIns="0"/>
          <a:lstStyle>
            <a:lvl1pPr marL="0" marR="0" indent="0" algn="l" defTabSz="914395" rtl="0" eaLnBrk="1" fontAlgn="base" latinLnBrk="0" hangingPunct="1">
              <a:lnSpc>
                <a:spcPct val="100000"/>
              </a:lnSpc>
              <a:spcBef>
                <a:spcPct val="0"/>
              </a:spcBef>
              <a:spcAft>
                <a:spcPts val="600"/>
              </a:spcAft>
              <a:buClr>
                <a:srgbClr val="000000"/>
              </a:buClr>
              <a:buSzTx/>
              <a:buFont typeface="+mj-lt"/>
              <a:buNone/>
              <a:tabLst/>
              <a:defRPr kumimoji="0" lang="en-US" sz="1200" b="0" i="0" u="none" strike="noStrike" kern="0" cap="none" spc="0" normalizeH="0" baseline="0" noProof="0">
                <a:ln>
                  <a:noFill/>
                </a:ln>
                <a:solidFill>
                  <a:srgbClr val="000000"/>
                </a:solidFill>
                <a:effectLst/>
                <a:uLnTx/>
                <a:uFillTx/>
              </a:defRPr>
            </a:lvl1pPr>
            <a:lvl2pPr eaLnBrk="1" hangingPunct="1">
              <a:lnSpc>
                <a:spcPct val="113000"/>
              </a:lnSpc>
              <a:buClr>
                <a:srgbClr val="000000"/>
              </a:buClr>
              <a:defRPr lang="en-US" kern="0" noProof="0"/>
            </a:lvl2pPr>
            <a:lvl3pPr eaLnBrk="1" hangingPunct="1">
              <a:lnSpc>
                <a:spcPct val="113000"/>
              </a:lnSpc>
              <a:buClr>
                <a:srgbClr val="000000"/>
              </a:buClr>
              <a:defRPr lang="en-US" kern="0" noProof="0"/>
            </a:lvl3pPr>
            <a:lvl4pPr eaLnBrk="1" hangingPunct="1">
              <a:lnSpc>
                <a:spcPct val="113000"/>
              </a:lnSpc>
              <a:buClr>
                <a:srgbClr val="000000"/>
              </a:buClr>
              <a:defRPr lang="en-US" kern="0" noProof="0"/>
            </a:lvl4pPr>
          </a:lstStyle>
          <a:p>
            <a:pPr marL="0" marR="0" lvl="0" indent="0" algn="l" defTabSz="914395" rtl="0" eaLnBrk="1" fontAlgn="base" latinLnBrk="0" hangingPunct="1">
              <a:lnSpc>
                <a:spcPct val="100000"/>
              </a:lnSpc>
              <a:spcBef>
                <a:spcPct val="0"/>
              </a:spcBef>
              <a:spcAft>
                <a:spcPts val="600"/>
              </a:spcAft>
              <a:buClr>
                <a:srgbClr val="000000"/>
              </a:buClr>
              <a:buSzTx/>
              <a:tabLst/>
              <a:defRPr/>
            </a:pPr>
            <a:r>
              <a:rPr kumimoji="0" lang="en-US" sz="1200" b="0" i="0" u="none" strike="noStrike" kern="0" cap="none" spc="0" normalizeH="0" baseline="0" noProof="0" dirty="0" smtClean="0">
                <a:ln>
                  <a:noFill/>
                </a:ln>
                <a:solidFill>
                  <a:srgbClr val="000000"/>
                </a:solidFill>
                <a:effectLst/>
                <a:uLnTx/>
                <a:uFillTx/>
                <a:latin typeface="+mn-lt"/>
              </a:rPr>
              <a:t>*Arial 12-14pt. (minimum 10)*</a:t>
            </a:r>
          </a:p>
          <a:p>
            <a:pPr eaLnBrk="1" hangingPunct="1">
              <a:buClr>
                <a:srgbClr val="000000"/>
              </a:buClr>
              <a:defRPr/>
            </a:pPr>
            <a:endParaRPr lang="de-CH" kern="0" noProof="0" dirty="0" smtClean="0">
              <a:latin typeface="+mn-lt"/>
            </a:endParaRPr>
          </a:p>
        </p:txBody>
      </p:sp>
      <p:sp>
        <p:nvSpPr>
          <p:cNvPr id="6" name="Inhaltsplatzhalter 3"/>
          <p:cNvSpPr>
            <a:spLocks noGrp="1"/>
          </p:cNvSpPr>
          <p:nvPr>
            <p:ph sz="quarter" idx="19" hasCustomPrompt="1"/>
          </p:nvPr>
        </p:nvSpPr>
        <p:spPr>
          <a:xfrm>
            <a:off x="633000" y="1557338"/>
            <a:ext cx="4932000" cy="5040000"/>
          </a:xfrm>
          <a:prstGeom prst="rect">
            <a:avLst/>
          </a:prstGeom>
        </p:spPr>
        <p:txBody>
          <a:bodyPr wrap="square" lIns="0" tIns="0" rIns="0" bIns="0"/>
          <a:lstStyle>
            <a:lvl1pPr marL="0" marR="0" indent="0" algn="l" defTabSz="914395" rtl="0" eaLnBrk="1" fontAlgn="base" latinLnBrk="0" hangingPunct="1">
              <a:lnSpc>
                <a:spcPct val="100000"/>
              </a:lnSpc>
              <a:spcBef>
                <a:spcPct val="0"/>
              </a:spcBef>
              <a:spcAft>
                <a:spcPts val="600"/>
              </a:spcAft>
              <a:buClr>
                <a:srgbClr val="000000"/>
              </a:buClr>
              <a:buSzTx/>
              <a:tabLst/>
              <a:defRPr lang="en-US" kern="0" noProof="0"/>
            </a:lvl1pPr>
            <a:lvl2pPr eaLnBrk="1" hangingPunct="1">
              <a:lnSpc>
                <a:spcPct val="113000"/>
              </a:lnSpc>
              <a:buClr>
                <a:srgbClr val="000000"/>
              </a:buClr>
              <a:defRPr sz="1200"/>
            </a:lvl2pPr>
            <a:lvl3pPr eaLnBrk="1" hangingPunct="1">
              <a:lnSpc>
                <a:spcPct val="113000"/>
              </a:lnSpc>
              <a:buClr>
                <a:srgbClr val="000000"/>
              </a:buClr>
              <a:defRPr sz="1200"/>
            </a:lvl3pPr>
            <a:lvl4pPr eaLnBrk="1" hangingPunct="1">
              <a:lnSpc>
                <a:spcPct val="113000"/>
              </a:lnSpc>
              <a:buClr>
                <a:srgbClr val="000000"/>
              </a:buClr>
              <a:defRPr sz="1200"/>
            </a:lvl4pPr>
          </a:lstStyle>
          <a:p>
            <a:pPr marL="0" marR="0" lvl="0" indent="0" algn="l" defTabSz="914395" rtl="0" eaLnBrk="1" fontAlgn="base" latinLnBrk="0" hangingPunct="1">
              <a:lnSpc>
                <a:spcPct val="100000"/>
              </a:lnSpc>
              <a:spcBef>
                <a:spcPct val="0"/>
              </a:spcBef>
              <a:spcAft>
                <a:spcPts val="600"/>
              </a:spcAft>
              <a:buClr>
                <a:srgbClr val="000000"/>
              </a:buClr>
              <a:buSzTx/>
              <a:tabLst/>
              <a:defRPr/>
            </a:pPr>
            <a:r>
              <a:rPr kumimoji="0" lang="en-US" sz="1200" b="0" i="0" u="none" strike="noStrike" kern="0" cap="none" spc="0" normalizeH="0" baseline="0" noProof="0" dirty="0" smtClean="0">
                <a:ln>
                  <a:noFill/>
                </a:ln>
                <a:solidFill>
                  <a:srgbClr val="000000"/>
                </a:solidFill>
                <a:effectLst/>
                <a:uLnTx/>
                <a:uFillTx/>
                <a:latin typeface="+mn-lt"/>
              </a:rPr>
              <a:t>*Arial 12-14pt. (minimum 10)*</a:t>
            </a:r>
          </a:p>
        </p:txBody>
      </p:sp>
      <p:sp>
        <p:nvSpPr>
          <p:cNvPr id="7" name="Titel 1"/>
          <p:cNvSpPr>
            <a:spLocks noGrp="1"/>
          </p:cNvSpPr>
          <p:nvPr>
            <p:ph type="title" hasCustomPrompt="1"/>
          </p:nvPr>
        </p:nvSpPr>
        <p:spPr>
          <a:xfrm>
            <a:off x="631825" y="774411"/>
            <a:ext cx="8642350" cy="611188"/>
          </a:xfrm>
        </p:spPr>
        <p:txBody>
          <a:bodyPr/>
          <a:lstStyle>
            <a:lvl1pPr>
              <a:defRPr baseline="0"/>
            </a:lvl1pPr>
          </a:lstStyle>
          <a:p>
            <a:r>
              <a:rPr lang="de-CH" noProof="0" dirty="0" smtClean="0"/>
              <a:t>Titel</a:t>
            </a:r>
            <a:br>
              <a:rPr lang="de-CH" noProof="0" dirty="0" smtClean="0"/>
            </a:br>
            <a:r>
              <a:rPr lang="de-CH" noProof="0" dirty="0" smtClean="0"/>
              <a:t>Arial 18 </a:t>
            </a:r>
            <a:r>
              <a:rPr lang="de-CH" noProof="0" dirty="0" err="1" smtClean="0"/>
              <a:t>pt</a:t>
            </a:r>
            <a:r>
              <a:rPr lang="de-CH" noProof="0" dirty="0" smtClean="0"/>
              <a:t>, fett, maximal 2 Zeilen</a:t>
            </a:r>
            <a:endParaRPr lang="de-CH" noProof="0" dirty="0"/>
          </a:p>
        </p:txBody>
      </p:sp>
      <p:sp>
        <p:nvSpPr>
          <p:cNvPr id="9" name="Text Placeholder 10"/>
          <p:cNvSpPr>
            <a:spLocks noGrp="1"/>
          </p:cNvSpPr>
          <p:nvPr>
            <p:ph type="body" sz="quarter" idx="10" hasCustomPrompt="1"/>
          </p:nvPr>
        </p:nvSpPr>
        <p:spPr>
          <a:xfrm>
            <a:off x="631824" y="6632575"/>
            <a:ext cx="8642351" cy="156518"/>
          </a:xfrm>
          <a:prstGeom prst="rect">
            <a:avLst/>
          </a:prstGeom>
        </p:spPr>
        <p:txBody>
          <a:bodyPr vert="horz" lIns="0" tIns="0" rIns="0" bIns="0" rtlCol="0" anchor="t">
            <a:spAutoFit/>
          </a:bodyPr>
          <a:lstStyle>
            <a:lvl1pPr>
              <a:defRPr lang="de-CH" sz="900" noProof="0" dirty="0" smtClean="0"/>
            </a:lvl1pPr>
          </a:lstStyle>
          <a:p>
            <a:pPr lvl="0">
              <a:spcAft>
                <a:spcPts val="0"/>
              </a:spcAft>
            </a:pPr>
            <a:r>
              <a:rPr lang="de-CH" noProof="0" dirty="0" smtClean="0"/>
              <a:t>Fussnote / Dokumenttitel</a:t>
            </a:r>
          </a:p>
        </p:txBody>
      </p:sp>
    </p:spTree>
    <p:extLst>
      <p:ext uri="{BB962C8B-B14F-4D97-AF65-F5344CB8AC3E}">
        <p14:creationId xmlns:p14="http://schemas.microsoft.com/office/powerpoint/2010/main" val="3381460050"/>
      </p:ext>
    </p:extLst>
  </p:cSld>
  <p:clrMapOvr>
    <a:masterClrMapping/>
  </p:clrMapOvr>
  <p:transition spd="slow"/>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31825" y="774411"/>
            <a:ext cx="8642350" cy="611188"/>
          </a:xfrm>
        </p:spPr>
        <p:txBody>
          <a:bodyPr/>
          <a:lstStyle>
            <a:lvl1pPr>
              <a:defRPr baseline="0"/>
            </a:lvl1pPr>
          </a:lstStyle>
          <a:p>
            <a:r>
              <a:rPr lang="de-CH" noProof="0" dirty="0" smtClean="0"/>
              <a:t>Titel</a:t>
            </a:r>
            <a:br>
              <a:rPr lang="de-CH" noProof="0" dirty="0" smtClean="0"/>
            </a:br>
            <a:r>
              <a:rPr lang="de-CH" noProof="0" dirty="0" smtClean="0"/>
              <a:t>Arial 18 </a:t>
            </a:r>
            <a:r>
              <a:rPr lang="de-CH" noProof="0" dirty="0" err="1" smtClean="0"/>
              <a:t>pt</a:t>
            </a:r>
            <a:r>
              <a:rPr lang="de-CH" noProof="0" dirty="0" smtClean="0"/>
              <a:t>, fett, maximal 2 Zeilen</a:t>
            </a:r>
            <a:endParaRPr lang="de-CH" noProof="0" dirty="0"/>
          </a:p>
        </p:txBody>
      </p:sp>
      <p:sp>
        <p:nvSpPr>
          <p:cNvPr id="5" name="Picture Placeholder 4"/>
          <p:cNvSpPr>
            <a:spLocks noGrp="1"/>
          </p:cNvSpPr>
          <p:nvPr>
            <p:ph type="pic" sz="quarter" idx="11" hasCustomPrompt="1"/>
          </p:nvPr>
        </p:nvSpPr>
        <p:spPr>
          <a:xfrm>
            <a:off x="1350818" y="1558634"/>
            <a:ext cx="7204364" cy="4553527"/>
          </a:xfrm>
        </p:spPr>
        <p:txBody>
          <a:bodyPr/>
          <a:lstStyle>
            <a:lvl1pPr>
              <a:defRPr/>
            </a:lvl1pPr>
          </a:lstStyle>
          <a:p>
            <a:r>
              <a:rPr lang="de-CH" dirty="0" smtClean="0"/>
              <a:t>Bild</a:t>
            </a:r>
            <a:endParaRPr lang="de-DE" dirty="0"/>
          </a:p>
        </p:txBody>
      </p:sp>
      <p:sp>
        <p:nvSpPr>
          <p:cNvPr id="6" name="Text Placeholder 10"/>
          <p:cNvSpPr>
            <a:spLocks noGrp="1"/>
          </p:cNvSpPr>
          <p:nvPr>
            <p:ph type="body" sz="quarter" idx="10" hasCustomPrompt="1"/>
          </p:nvPr>
        </p:nvSpPr>
        <p:spPr>
          <a:xfrm>
            <a:off x="1350819" y="6632575"/>
            <a:ext cx="7204364" cy="156518"/>
          </a:xfrm>
          <a:prstGeom prst="rect">
            <a:avLst/>
          </a:prstGeom>
        </p:spPr>
        <p:txBody>
          <a:bodyPr vert="horz" wrap="square" lIns="0" tIns="0" rIns="0" bIns="0" rtlCol="0" anchor="t">
            <a:spAutoFit/>
          </a:bodyPr>
          <a:lstStyle>
            <a:lvl1pPr>
              <a:defRPr lang="de-CH" sz="900" noProof="0" dirty="0" smtClean="0"/>
            </a:lvl1pPr>
          </a:lstStyle>
          <a:p>
            <a:pPr lvl="0">
              <a:spcAft>
                <a:spcPts val="0"/>
              </a:spcAft>
            </a:pPr>
            <a:r>
              <a:rPr lang="de-CH" noProof="0" dirty="0" smtClean="0"/>
              <a:t>Fussnote / Dokumenttitel</a:t>
            </a:r>
          </a:p>
        </p:txBody>
      </p:sp>
    </p:spTree>
    <p:extLst>
      <p:ext uri="{BB962C8B-B14F-4D97-AF65-F5344CB8AC3E}">
        <p14:creationId xmlns:p14="http://schemas.microsoft.com/office/powerpoint/2010/main" val="2363596469"/>
      </p:ext>
    </p:extLst>
  </p:cSld>
  <p:clrMapOvr>
    <a:masterClrMapping/>
  </p:clrMapOvr>
  <p:transition spd="slow"/>
  <p:timing>
    <p:tnLst>
      <p:par>
        <p:cTn id="1" dur="indefinite" restart="never" nodeType="tmRoot"/>
      </p:par>
    </p:tnLst>
  </p:timing>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31825" y="765175"/>
            <a:ext cx="8642350" cy="611188"/>
          </a:xfrm>
        </p:spPr>
        <p:txBody>
          <a:bodyPr/>
          <a:lstStyle>
            <a:lvl1pPr>
              <a:defRPr baseline="0"/>
            </a:lvl1pPr>
          </a:lstStyle>
          <a:p>
            <a:r>
              <a:rPr lang="en-US" noProof="0" dirty="0" smtClean="0"/>
              <a:t>Title: Arial 20 </a:t>
            </a:r>
            <a:r>
              <a:rPr lang="en-US" noProof="0" dirty="0" err="1" smtClean="0"/>
              <a:t>pt</a:t>
            </a:r>
            <a:r>
              <a:rPr lang="en-US" noProof="0" dirty="0" smtClean="0"/>
              <a:t>, </a:t>
            </a:r>
            <a:r>
              <a:rPr lang="en-US" noProof="0" dirty="0" err="1" smtClean="0"/>
              <a:t>fett</a:t>
            </a:r>
            <a:r>
              <a:rPr lang="en-US" noProof="0" dirty="0" smtClean="0"/>
              <a:t>, maximal 2 </a:t>
            </a:r>
            <a:r>
              <a:rPr lang="en-US" noProof="0" dirty="0" err="1" smtClean="0"/>
              <a:t>Zeilen</a:t>
            </a:r>
            <a:endParaRPr lang="en-US" noProof="0" dirty="0"/>
          </a:p>
        </p:txBody>
      </p:sp>
      <p:sp>
        <p:nvSpPr>
          <p:cNvPr id="4" name="Text Placeholder 10"/>
          <p:cNvSpPr>
            <a:spLocks noGrp="1"/>
          </p:cNvSpPr>
          <p:nvPr>
            <p:ph type="body" sz="quarter" idx="10" hasCustomPrompt="1"/>
          </p:nvPr>
        </p:nvSpPr>
        <p:spPr>
          <a:xfrm>
            <a:off x="631824" y="6624000"/>
            <a:ext cx="8642351" cy="140400"/>
          </a:xfrm>
          <a:prstGeom prst="rect">
            <a:avLst/>
          </a:prstGeom>
        </p:spPr>
        <p:txBody>
          <a:bodyPr lIns="0" tIns="0" rIns="0" bIns="0" anchor="b">
            <a:noAutofit/>
          </a:bodyPr>
          <a:lstStyle>
            <a:lvl1pPr>
              <a:spcAft>
                <a:spcPts val="0"/>
              </a:spcAft>
              <a:defRPr sz="800"/>
            </a:lvl1pPr>
            <a:lvl2pPr>
              <a:defRPr sz="700"/>
            </a:lvl2pPr>
            <a:lvl3pPr>
              <a:defRPr sz="700"/>
            </a:lvl3pPr>
            <a:lvl4pPr>
              <a:defRPr sz="700"/>
            </a:lvl4pPr>
            <a:lvl5pPr>
              <a:defRPr sz="700"/>
            </a:lvl5pPr>
          </a:lstStyle>
          <a:p>
            <a:pPr lvl="0"/>
            <a:r>
              <a:rPr lang="de-CH" noProof="0" dirty="0" smtClean="0"/>
              <a:t>Fussnote / Dokumenttitel</a:t>
            </a:r>
          </a:p>
        </p:txBody>
      </p:sp>
    </p:spTree>
    <p:extLst>
      <p:ext uri="{BB962C8B-B14F-4D97-AF65-F5344CB8AC3E}">
        <p14:creationId xmlns:p14="http://schemas.microsoft.com/office/powerpoint/2010/main" val="3867547555"/>
      </p:ext>
    </p:extLst>
  </p:cSld>
  <p:clrMapOvr>
    <a:masterClrMapping/>
  </p:clrMapOvr>
  <p:transition spd="slow"/>
  <p:timing>
    <p:tnLst>
      <p:par>
        <p:cTn id="1" dur="indefinite" restart="never" nodeType="tmRoot"/>
      </p:par>
    </p:tnLst>
  </p:timing>
  <p:hf sldNum="0" hdr="0" dt="0"/>
  <p:extLst mod="1">
    <p:ext uri="{DCECCB84-F9BA-43D5-87BE-67443E8EF086}">
      <p15:sldGuideLst xmlns:p15="http://schemas.microsoft.com/office/powerpoint/2012/main">
        <p15:guide id="1" pos="1147">
          <p15:clr>
            <a:srgbClr val="FBAE40"/>
          </p15:clr>
        </p15:guide>
        <p15:guide id="2" pos="509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3" name="Text Placeholder 10"/>
          <p:cNvSpPr>
            <a:spLocks noGrp="1"/>
          </p:cNvSpPr>
          <p:nvPr>
            <p:ph type="body" sz="quarter" idx="10" hasCustomPrompt="1"/>
          </p:nvPr>
        </p:nvSpPr>
        <p:spPr>
          <a:xfrm>
            <a:off x="631824" y="6624000"/>
            <a:ext cx="8642351" cy="140400"/>
          </a:xfrm>
          <a:prstGeom prst="rect">
            <a:avLst/>
          </a:prstGeom>
        </p:spPr>
        <p:txBody>
          <a:bodyPr lIns="0" tIns="0" rIns="0" bIns="0" anchor="b">
            <a:noAutofit/>
          </a:bodyPr>
          <a:lstStyle>
            <a:lvl1pPr>
              <a:spcAft>
                <a:spcPts val="0"/>
              </a:spcAft>
              <a:defRPr sz="800"/>
            </a:lvl1pPr>
            <a:lvl2pPr>
              <a:defRPr sz="700"/>
            </a:lvl2pPr>
            <a:lvl3pPr>
              <a:defRPr sz="700"/>
            </a:lvl3pPr>
            <a:lvl4pPr>
              <a:defRPr sz="700"/>
            </a:lvl4pPr>
            <a:lvl5pPr>
              <a:defRPr sz="700"/>
            </a:lvl5pPr>
          </a:lstStyle>
          <a:p>
            <a:pPr lvl="0"/>
            <a:r>
              <a:rPr lang="de-CH" noProof="0" dirty="0" smtClean="0"/>
              <a:t>Fussnote / Dokumenttitel</a:t>
            </a:r>
          </a:p>
        </p:txBody>
      </p:sp>
    </p:spTree>
    <p:extLst>
      <p:ext uri="{BB962C8B-B14F-4D97-AF65-F5344CB8AC3E}">
        <p14:creationId xmlns:p14="http://schemas.microsoft.com/office/powerpoint/2010/main" val="2283878706"/>
      </p:ext>
    </p:extLst>
  </p:cSld>
  <p:clrMapOvr>
    <a:masterClrMapping/>
  </p:clrMapOvr>
  <p:transition spd="slow"/>
  <p:timing>
    <p:tnLst>
      <p:par>
        <p:cTn id="1" dur="indefinite" restart="never" nodeType="tmRoot"/>
      </p:par>
    </p:tnLst>
  </p:timing>
  <p:hf sldNum="0" hdr="0" dt="0"/>
  <p:extLst mod="1">
    <p:ext uri="{DCECCB84-F9BA-43D5-87BE-67443E8EF086}">
      <p15:sldGuideLst xmlns:p15="http://schemas.microsoft.com/office/powerpoint/2012/main">
        <p15:guide id="1" pos="1147">
          <p15:clr>
            <a:srgbClr val="FBAE40"/>
          </p15:clr>
        </p15:guide>
        <p15:guide id="2" pos="509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äsentation">
    <p:spTree>
      <p:nvGrpSpPr>
        <p:cNvPr id="1" name=""/>
        <p:cNvGrpSpPr/>
        <p:nvPr/>
      </p:nvGrpSpPr>
      <p:grpSpPr>
        <a:xfrm>
          <a:off x="0" y="0"/>
          <a:ext cx="0" cy="0"/>
          <a:chOff x="0" y="0"/>
          <a:chExt cx="0" cy="0"/>
        </a:xfrm>
      </p:grpSpPr>
      <p:sp>
        <p:nvSpPr>
          <p:cNvPr id="5" name="Content Placeholder 3"/>
          <p:cNvSpPr>
            <a:spLocks noGrp="1"/>
          </p:cNvSpPr>
          <p:nvPr>
            <p:ph sz="quarter" idx="13" hasCustomPrompt="1"/>
          </p:nvPr>
        </p:nvSpPr>
        <p:spPr>
          <a:xfrm>
            <a:off x="631825" y="1557342"/>
            <a:ext cx="8642350" cy="5040000"/>
          </a:xfrm>
          <a:prstGeom prst="rect">
            <a:avLst/>
          </a:prstGeom>
        </p:spPr>
        <p:txBody>
          <a:bodyPr lIns="0" tIns="0" rIns="0" bIns="0"/>
          <a:lstStyle>
            <a:lvl1pPr marL="355600" indent="-355600" eaLnBrk="1" hangingPunct="1">
              <a:lnSpc>
                <a:spcPct val="113000"/>
              </a:lnSpc>
              <a:buClr>
                <a:srgbClr val="000000"/>
              </a:buClr>
              <a:tabLst>
                <a:tab pos="719138" algn="l"/>
              </a:tabLst>
              <a:defRPr lang="en-US" sz="1200" b="0" kern="0" baseline="0" noProof="0">
                <a:solidFill>
                  <a:schemeClr val="tx1"/>
                </a:solidFill>
                <a:latin typeface="Arial" panose="020B0604020202020204" pitchFamily="34" charset="0"/>
                <a:ea typeface="+mn-ea"/>
                <a:cs typeface="Arial" panose="020B0604020202020204" pitchFamily="34" charset="0"/>
              </a:defRPr>
            </a:lvl1pPr>
            <a:lvl2pPr eaLnBrk="1" hangingPunct="1">
              <a:lnSpc>
                <a:spcPct val="113000"/>
              </a:lnSpc>
              <a:buClr>
                <a:srgbClr val="000000"/>
              </a:buClr>
              <a:defRPr lang="en-US" sz="1200" b="0" kern="0" baseline="0" noProof="0" dirty="0" smtClean="0">
                <a:solidFill>
                  <a:schemeClr val="tx1"/>
                </a:solidFill>
                <a:latin typeface="Arial" panose="020B0604020202020204" pitchFamily="34" charset="0"/>
                <a:ea typeface="+mn-ea"/>
                <a:cs typeface="Arial" panose="020B0604020202020204" pitchFamily="34" charset="0"/>
              </a:defRPr>
            </a:lvl2pPr>
            <a:lvl3pPr eaLnBrk="1" hangingPunct="1">
              <a:lnSpc>
                <a:spcPct val="113000"/>
              </a:lnSpc>
              <a:buClr>
                <a:srgbClr val="000000"/>
              </a:buClr>
              <a:defRPr lang="en-US" sz="1200" b="0" kern="0" baseline="0" noProof="0" dirty="0" smtClean="0">
                <a:solidFill>
                  <a:schemeClr val="tx1"/>
                </a:solidFill>
                <a:latin typeface="Arial" panose="020B0604020202020204" pitchFamily="34" charset="0"/>
                <a:ea typeface="+mn-ea"/>
                <a:cs typeface="Arial" panose="020B0604020202020204" pitchFamily="34" charset="0"/>
              </a:defRPr>
            </a:lvl3pPr>
            <a:lvl4pPr eaLnBrk="1" hangingPunct="1">
              <a:lnSpc>
                <a:spcPct val="113000"/>
              </a:lnSpc>
              <a:buClr>
                <a:srgbClr val="000000"/>
              </a:buClr>
              <a:defRPr lang="en-US" sz="1200" b="0" kern="0" baseline="0" noProof="0" dirty="0" smtClean="0">
                <a:solidFill>
                  <a:schemeClr val="tx1"/>
                </a:solidFill>
                <a:latin typeface="Arial" panose="020B0604020202020204" pitchFamily="34" charset="0"/>
                <a:ea typeface="+mn-ea"/>
                <a:cs typeface="Arial" panose="020B0604020202020204" pitchFamily="34" charset="0"/>
              </a:defRPr>
            </a:lvl4pPr>
          </a:lstStyle>
          <a:p>
            <a:pPr eaLnBrk="1" hangingPunct="1">
              <a:buClr>
                <a:srgbClr val="000000"/>
              </a:buClr>
              <a:defRPr/>
            </a:pPr>
            <a:r>
              <a:rPr lang="en-US" dirty="0" smtClean="0"/>
              <a:t>Text auf </a:t>
            </a:r>
            <a:r>
              <a:rPr lang="en-US" dirty="0" err="1" smtClean="0"/>
              <a:t>erster</a:t>
            </a:r>
            <a:r>
              <a:rPr lang="en-US" dirty="0" smtClean="0"/>
              <a:t> </a:t>
            </a:r>
            <a:r>
              <a:rPr lang="en-US" dirty="0" err="1" smtClean="0"/>
              <a:t>Ebene</a:t>
            </a:r>
            <a:r>
              <a:rPr lang="en-US" dirty="0" smtClean="0"/>
              <a:t> </a:t>
            </a:r>
            <a:r>
              <a:rPr lang="en-US" dirty="0" err="1" smtClean="0"/>
              <a:t>ohne</a:t>
            </a:r>
            <a:r>
              <a:rPr lang="en-US" dirty="0" smtClean="0"/>
              <a:t> </a:t>
            </a:r>
            <a:r>
              <a:rPr lang="en-US" dirty="0" err="1" smtClean="0"/>
              <a:t>Nummeriung</a:t>
            </a:r>
            <a:r>
              <a:rPr lang="en-US" dirty="0" smtClean="0"/>
              <a:t>: Arial 12pt</a:t>
            </a:r>
          </a:p>
          <a:p>
            <a:pPr eaLnBrk="1" hangingPunct="1">
              <a:buClr>
                <a:srgbClr val="000000"/>
              </a:buClr>
              <a:defRPr/>
            </a:pPr>
            <a:r>
              <a:rPr lang="en-US" dirty="0" smtClean="0"/>
              <a:t>1. Text auf </a:t>
            </a:r>
            <a:r>
              <a:rPr lang="en-US" dirty="0" err="1" smtClean="0"/>
              <a:t>zweiter</a:t>
            </a:r>
            <a:r>
              <a:rPr lang="en-US" dirty="0" smtClean="0"/>
              <a:t> </a:t>
            </a:r>
            <a:r>
              <a:rPr lang="en-US" dirty="0" err="1" smtClean="0"/>
              <a:t>Ebene</a:t>
            </a:r>
            <a:r>
              <a:rPr lang="en-US" dirty="0" smtClean="0"/>
              <a:t> </a:t>
            </a:r>
            <a:r>
              <a:rPr lang="en-US" dirty="0" err="1" smtClean="0"/>
              <a:t>mit</a:t>
            </a:r>
            <a:r>
              <a:rPr lang="en-US" dirty="0" smtClean="0"/>
              <a:t> </a:t>
            </a:r>
            <a:r>
              <a:rPr lang="en-US" dirty="0" err="1" smtClean="0"/>
              <a:t>Nummerierung</a:t>
            </a:r>
            <a:r>
              <a:rPr lang="en-US" dirty="0" smtClean="0"/>
              <a:t> </a:t>
            </a:r>
            <a:br>
              <a:rPr lang="en-US" dirty="0" smtClean="0"/>
            </a:br>
            <a:r>
              <a:rPr lang="en-US" dirty="0" smtClean="0"/>
              <a:t>a. Text auf </a:t>
            </a:r>
            <a:r>
              <a:rPr lang="en-US" dirty="0" err="1" smtClean="0"/>
              <a:t>dritter</a:t>
            </a:r>
            <a:r>
              <a:rPr lang="en-US" dirty="0" smtClean="0"/>
              <a:t> </a:t>
            </a:r>
            <a:r>
              <a:rPr lang="en-US" dirty="0" err="1" smtClean="0"/>
              <a:t>Ebene</a:t>
            </a:r>
            <a:r>
              <a:rPr lang="en-US" dirty="0" smtClean="0"/>
              <a:t> </a:t>
            </a:r>
            <a:r>
              <a:rPr lang="en-US" dirty="0" err="1" smtClean="0"/>
              <a:t>mit</a:t>
            </a:r>
            <a:r>
              <a:rPr lang="en-US" dirty="0" smtClean="0"/>
              <a:t> </a:t>
            </a:r>
            <a:r>
              <a:rPr lang="en-US" dirty="0" err="1" smtClean="0"/>
              <a:t>alphaetischer</a:t>
            </a:r>
            <a:r>
              <a:rPr lang="en-US" dirty="0" smtClean="0"/>
              <a:t> </a:t>
            </a:r>
            <a:r>
              <a:rPr lang="en-US" dirty="0" err="1" smtClean="0"/>
              <a:t>Nummerierung</a:t>
            </a:r>
            <a:r>
              <a:rPr lang="en-US" dirty="0" smtClean="0"/>
              <a:t/>
            </a:r>
            <a:br>
              <a:rPr lang="en-US" dirty="0" smtClean="0"/>
            </a:br>
            <a:r>
              <a:rPr lang="en-US" dirty="0" smtClean="0"/>
              <a:t>	</a:t>
            </a:r>
            <a:r>
              <a:rPr lang="en-US" dirty="0" err="1" smtClean="0"/>
              <a:t>i</a:t>
            </a:r>
            <a:r>
              <a:rPr lang="en-US" dirty="0" smtClean="0"/>
              <a:t>. Text auf </a:t>
            </a:r>
            <a:r>
              <a:rPr lang="en-US" dirty="0" err="1" smtClean="0"/>
              <a:t>vierter</a:t>
            </a:r>
            <a:r>
              <a:rPr lang="en-US" dirty="0" smtClean="0"/>
              <a:t> </a:t>
            </a:r>
            <a:r>
              <a:rPr lang="en-US" dirty="0" err="1" smtClean="0"/>
              <a:t>Ebene</a:t>
            </a:r>
            <a:r>
              <a:rPr lang="en-US" dirty="0" smtClean="0"/>
              <a:t> </a:t>
            </a:r>
            <a:r>
              <a:rPr lang="en-US" dirty="0" err="1" smtClean="0"/>
              <a:t>mit</a:t>
            </a:r>
            <a:r>
              <a:rPr lang="en-US" dirty="0" smtClean="0"/>
              <a:t> </a:t>
            </a:r>
            <a:r>
              <a:rPr lang="en-US" dirty="0" err="1" smtClean="0"/>
              <a:t>römischen</a:t>
            </a:r>
            <a:r>
              <a:rPr lang="en-US" dirty="0" smtClean="0"/>
              <a:t> </a:t>
            </a:r>
            <a:r>
              <a:rPr lang="en-US" dirty="0" err="1" smtClean="0"/>
              <a:t>Nummerierungen</a:t>
            </a:r>
            <a:endParaRPr lang="en-US" dirty="0" smtClean="0"/>
          </a:p>
        </p:txBody>
      </p:sp>
      <p:sp>
        <p:nvSpPr>
          <p:cNvPr id="6" name="Titel 1"/>
          <p:cNvSpPr>
            <a:spLocks noGrp="1"/>
          </p:cNvSpPr>
          <p:nvPr>
            <p:ph type="title" hasCustomPrompt="1"/>
          </p:nvPr>
        </p:nvSpPr>
        <p:spPr>
          <a:xfrm>
            <a:off x="631825" y="765175"/>
            <a:ext cx="8642350" cy="611188"/>
          </a:xfrm>
        </p:spPr>
        <p:txBody>
          <a:bodyPr/>
          <a:lstStyle>
            <a:lvl1pPr>
              <a:defRPr baseline="0"/>
            </a:lvl1pPr>
          </a:lstStyle>
          <a:p>
            <a:r>
              <a:rPr lang="en-US" noProof="0" dirty="0" smtClean="0"/>
              <a:t>Title: Arial 20 </a:t>
            </a:r>
            <a:r>
              <a:rPr lang="en-US" noProof="0" dirty="0" err="1" smtClean="0"/>
              <a:t>pt</a:t>
            </a:r>
            <a:r>
              <a:rPr lang="en-US" noProof="0" dirty="0" smtClean="0"/>
              <a:t>, </a:t>
            </a:r>
            <a:r>
              <a:rPr lang="en-US" noProof="0" dirty="0" err="1" smtClean="0"/>
              <a:t>fett</a:t>
            </a:r>
            <a:r>
              <a:rPr lang="en-US" noProof="0" dirty="0" smtClean="0"/>
              <a:t>, maximal 2 </a:t>
            </a:r>
            <a:r>
              <a:rPr lang="en-US" noProof="0" dirty="0" err="1" smtClean="0"/>
              <a:t>Zeilen</a:t>
            </a:r>
            <a:endParaRPr lang="en-US" noProof="0" dirty="0"/>
          </a:p>
        </p:txBody>
      </p:sp>
      <p:sp>
        <p:nvSpPr>
          <p:cNvPr id="7" name="Text Placeholder 10"/>
          <p:cNvSpPr>
            <a:spLocks noGrp="1"/>
          </p:cNvSpPr>
          <p:nvPr>
            <p:ph type="body" sz="quarter" idx="10" hasCustomPrompt="1"/>
          </p:nvPr>
        </p:nvSpPr>
        <p:spPr>
          <a:xfrm>
            <a:off x="631824" y="6624000"/>
            <a:ext cx="8642351" cy="140400"/>
          </a:xfrm>
          <a:prstGeom prst="rect">
            <a:avLst/>
          </a:prstGeom>
        </p:spPr>
        <p:txBody>
          <a:bodyPr lIns="0" tIns="0" rIns="0" bIns="0" anchor="b">
            <a:noAutofit/>
          </a:bodyPr>
          <a:lstStyle>
            <a:lvl1pPr>
              <a:spcAft>
                <a:spcPts val="0"/>
              </a:spcAft>
              <a:defRPr sz="800"/>
            </a:lvl1pPr>
            <a:lvl2pPr>
              <a:defRPr sz="700"/>
            </a:lvl2pPr>
            <a:lvl3pPr>
              <a:defRPr sz="700"/>
            </a:lvl3pPr>
            <a:lvl4pPr>
              <a:defRPr sz="700"/>
            </a:lvl4pPr>
            <a:lvl5pPr>
              <a:defRPr sz="700"/>
            </a:lvl5pPr>
          </a:lstStyle>
          <a:p>
            <a:pPr lvl="0"/>
            <a:r>
              <a:rPr lang="de-CH" noProof="0" dirty="0" smtClean="0"/>
              <a:t>Fussnote / Dokumenttitel</a:t>
            </a:r>
          </a:p>
        </p:txBody>
      </p:sp>
    </p:spTree>
    <p:extLst>
      <p:ext uri="{BB962C8B-B14F-4D97-AF65-F5344CB8AC3E}">
        <p14:creationId xmlns:p14="http://schemas.microsoft.com/office/powerpoint/2010/main" val="3353577072"/>
      </p:ext>
    </p:extLst>
  </p:cSld>
  <p:clrMapOvr>
    <a:masterClrMapping/>
  </p:clrMapOvr>
  <p:transition spd="slow"/>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ericht">
    <p:spTree>
      <p:nvGrpSpPr>
        <p:cNvPr id="1" name=""/>
        <p:cNvGrpSpPr/>
        <p:nvPr/>
      </p:nvGrpSpPr>
      <p:grpSpPr>
        <a:xfrm>
          <a:off x="0" y="0"/>
          <a:ext cx="0" cy="0"/>
          <a:chOff x="0" y="0"/>
          <a:chExt cx="0" cy="0"/>
        </a:xfrm>
      </p:grpSpPr>
      <p:sp>
        <p:nvSpPr>
          <p:cNvPr id="6" name="Inhaltsplatzhalter 5"/>
          <p:cNvSpPr>
            <a:spLocks noGrp="1"/>
          </p:cNvSpPr>
          <p:nvPr>
            <p:ph sz="quarter" idx="12" hasCustomPrompt="1"/>
          </p:nvPr>
        </p:nvSpPr>
        <p:spPr>
          <a:xfrm>
            <a:off x="1821000" y="1557338"/>
            <a:ext cx="6264000" cy="5040000"/>
          </a:xfrm>
          <a:prstGeom prst="rect">
            <a:avLst/>
          </a:prstGeom>
        </p:spPr>
        <p:txBody>
          <a:bodyPr lIns="0" tIns="0" rIns="0" bIns="0"/>
          <a:lstStyle>
            <a:lvl1pPr marL="355600" indent="-355600" eaLnBrk="1" hangingPunct="1">
              <a:lnSpc>
                <a:spcPct val="113000"/>
              </a:lnSpc>
              <a:buClr>
                <a:srgbClr val="000000"/>
              </a:buClr>
              <a:tabLst>
                <a:tab pos="719138" algn="l"/>
              </a:tabLst>
              <a:defRPr sz="1100"/>
            </a:lvl1pPr>
            <a:lvl2pPr marL="215898" indent="-215898" eaLnBrk="1" hangingPunct="1">
              <a:lnSpc>
                <a:spcPct val="113000"/>
              </a:lnSpc>
              <a:buClr>
                <a:srgbClr val="000000"/>
              </a:buClr>
              <a:defRPr sz="1100"/>
            </a:lvl2pPr>
            <a:lvl3pPr marL="431798" indent="-215898" eaLnBrk="1" hangingPunct="1">
              <a:lnSpc>
                <a:spcPct val="113000"/>
              </a:lnSpc>
              <a:buClr>
                <a:srgbClr val="000000"/>
              </a:buClr>
              <a:defRPr sz="1100"/>
            </a:lvl3pPr>
            <a:lvl4pPr marL="647696" indent="-215898" eaLnBrk="1" hangingPunct="1">
              <a:lnSpc>
                <a:spcPct val="113000"/>
              </a:lnSpc>
              <a:buClr>
                <a:srgbClr val="000000"/>
              </a:buClr>
              <a:defRPr sz="1100"/>
            </a:lvl4pPr>
          </a:lstStyle>
          <a:p>
            <a:pPr eaLnBrk="1" hangingPunct="1">
              <a:buClr>
                <a:srgbClr val="000000"/>
              </a:buClr>
              <a:defRPr/>
            </a:pPr>
            <a:r>
              <a:rPr lang="en-US" dirty="0" smtClean="0"/>
              <a:t>Text auf </a:t>
            </a:r>
            <a:r>
              <a:rPr lang="en-US" dirty="0" err="1" smtClean="0"/>
              <a:t>erster</a:t>
            </a:r>
            <a:r>
              <a:rPr lang="en-US" dirty="0" smtClean="0"/>
              <a:t> </a:t>
            </a:r>
            <a:r>
              <a:rPr lang="en-US" dirty="0" err="1" smtClean="0"/>
              <a:t>Ebene</a:t>
            </a:r>
            <a:r>
              <a:rPr lang="en-US" dirty="0" smtClean="0"/>
              <a:t> </a:t>
            </a:r>
            <a:r>
              <a:rPr lang="en-US" dirty="0" err="1" smtClean="0"/>
              <a:t>ohne</a:t>
            </a:r>
            <a:r>
              <a:rPr lang="en-US" dirty="0" smtClean="0"/>
              <a:t> </a:t>
            </a:r>
            <a:r>
              <a:rPr lang="en-US" dirty="0" err="1" smtClean="0"/>
              <a:t>Nummeriung</a:t>
            </a:r>
            <a:r>
              <a:rPr lang="en-US" dirty="0" smtClean="0"/>
              <a:t>: Arial 11pt</a:t>
            </a:r>
          </a:p>
          <a:p>
            <a:pPr eaLnBrk="1" hangingPunct="1">
              <a:buClr>
                <a:srgbClr val="000000"/>
              </a:buClr>
              <a:defRPr/>
            </a:pPr>
            <a:r>
              <a:rPr lang="en-US" dirty="0" smtClean="0"/>
              <a:t>1. Text auf </a:t>
            </a:r>
            <a:r>
              <a:rPr lang="en-US" dirty="0" err="1" smtClean="0"/>
              <a:t>zweiter</a:t>
            </a:r>
            <a:r>
              <a:rPr lang="en-US" dirty="0" smtClean="0"/>
              <a:t> </a:t>
            </a:r>
            <a:r>
              <a:rPr lang="en-US" dirty="0" err="1" smtClean="0"/>
              <a:t>Ebene</a:t>
            </a:r>
            <a:r>
              <a:rPr lang="en-US" dirty="0" smtClean="0"/>
              <a:t> </a:t>
            </a:r>
            <a:r>
              <a:rPr lang="en-US" dirty="0" err="1" smtClean="0"/>
              <a:t>mit</a:t>
            </a:r>
            <a:r>
              <a:rPr lang="en-US" dirty="0" smtClean="0"/>
              <a:t> </a:t>
            </a:r>
            <a:r>
              <a:rPr lang="en-US" dirty="0" err="1" smtClean="0"/>
              <a:t>Nummerierung</a:t>
            </a:r>
            <a:r>
              <a:rPr lang="en-US" dirty="0" smtClean="0"/>
              <a:t> </a:t>
            </a:r>
            <a:br>
              <a:rPr lang="en-US" dirty="0" smtClean="0"/>
            </a:br>
            <a:r>
              <a:rPr lang="en-US" dirty="0" smtClean="0"/>
              <a:t>a. Text auf </a:t>
            </a:r>
            <a:r>
              <a:rPr lang="en-US" dirty="0" err="1" smtClean="0"/>
              <a:t>dritter</a:t>
            </a:r>
            <a:r>
              <a:rPr lang="en-US" dirty="0" smtClean="0"/>
              <a:t> </a:t>
            </a:r>
            <a:r>
              <a:rPr lang="en-US" dirty="0" err="1" smtClean="0"/>
              <a:t>Ebene</a:t>
            </a:r>
            <a:r>
              <a:rPr lang="en-US" dirty="0" smtClean="0"/>
              <a:t> </a:t>
            </a:r>
            <a:r>
              <a:rPr lang="en-US" dirty="0" err="1" smtClean="0"/>
              <a:t>mit</a:t>
            </a:r>
            <a:r>
              <a:rPr lang="en-US" dirty="0" smtClean="0"/>
              <a:t> </a:t>
            </a:r>
            <a:r>
              <a:rPr lang="en-US" dirty="0" err="1" smtClean="0"/>
              <a:t>alphaetischer</a:t>
            </a:r>
            <a:r>
              <a:rPr lang="en-US" dirty="0" smtClean="0"/>
              <a:t> </a:t>
            </a:r>
            <a:r>
              <a:rPr lang="en-US" dirty="0" err="1" smtClean="0"/>
              <a:t>Nummerierung</a:t>
            </a:r>
            <a:r>
              <a:rPr lang="en-US" dirty="0" smtClean="0"/>
              <a:t/>
            </a:r>
            <a:br>
              <a:rPr lang="en-US" dirty="0" smtClean="0"/>
            </a:br>
            <a:r>
              <a:rPr lang="en-US" dirty="0" smtClean="0"/>
              <a:t>	</a:t>
            </a:r>
            <a:r>
              <a:rPr lang="en-US" dirty="0" err="1" smtClean="0"/>
              <a:t>i</a:t>
            </a:r>
            <a:r>
              <a:rPr lang="en-US" dirty="0" smtClean="0"/>
              <a:t>. Text auf </a:t>
            </a:r>
            <a:r>
              <a:rPr lang="en-US" dirty="0" err="1" smtClean="0"/>
              <a:t>vierter</a:t>
            </a:r>
            <a:r>
              <a:rPr lang="en-US" dirty="0" smtClean="0"/>
              <a:t> </a:t>
            </a:r>
            <a:r>
              <a:rPr lang="en-US" dirty="0" err="1" smtClean="0"/>
              <a:t>Ebene</a:t>
            </a:r>
            <a:r>
              <a:rPr lang="en-US" dirty="0" smtClean="0"/>
              <a:t> </a:t>
            </a:r>
            <a:r>
              <a:rPr lang="en-US" dirty="0" err="1" smtClean="0"/>
              <a:t>mit</a:t>
            </a:r>
            <a:r>
              <a:rPr lang="en-US" dirty="0" smtClean="0"/>
              <a:t> </a:t>
            </a:r>
            <a:r>
              <a:rPr lang="en-US" dirty="0" err="1" smtClean="0"/>
              <a:t>römischen</a:t>
            </a:r>
            <a:r>
              <a:rPr lang="en-US" dirty="0" smtClean="0"/>
              <a:t> </a:t>
            </a:r>
            <a:r>
              <a:rPr lang="en-US" dirty="0" err="1" smtClean="0"/>
              <a:t>Nummerierungen</a:t>
            </a:r>
            <a:endParaRPr lang="en-US" dirty="0" smtClean="0"/>
          </a:p>
        </p:txBody>
      </p:sp>
      <p:sp>
        <p:nvSpPr>
          <p:cNvPr id="5" name="Titel 1"/>
          <p:cNvSpPr>
            <a:spLocks noGrp="1"/>
          </p:cNvSpPr>
          <p:nvPr>
            <p:ph type="title" hasCustomPrompt="1"/>
          </p:nvPr>
        </p:nvSpPr>
        <p:spPr>
          <a:xfrm>
            <a:off x="631825" y="765175"/>
            <a:ext cx="8642350" cy="611188"/>
          </a:xfrm>
        </p:spPr>
        <p:txBody>
          <a:bodyPr/>
          <a:lstStyle>
            <a:lvl1pPr>
              <a:defRPr baseline="0"/>
            </a:lvl1pPr>
          </a:lstStyle>
          <a:p>
            <a:r>
              <a:rPr lang="en-US" noProof="0" dirty="0" smtClean="0"/>
              <a:t>Title: Arial 20 </a:t>
            </a:r>
            <a:r>
              <a:rPr lang="en-US" noProof="0" dirty="0" err="1" smtClean="0"/>
              <a:t>pt</a:t>
            </a:r>
            <a:r>
              <a:rPr lang="en-US" noProof="0" dirty="0" smtClean="0"/>
              <a:t>, </a:t>
            </a:r>
            <a:r>
              <a:rPr lang="en-US" noProof="0" dirty="0" err="1" smtClean="0"/>
              <a:t>fett</a:t>
            </a:r>
            <a:r>
              <a:rPr lang="en-US" noProof="0" dirty="0" smtClean="0"/>
              <a:t>, maximal 2 </a:t>
            </a:r>
            <a:r>
              <a:rPr lang="en-US" noProof="0" dirty="0" err="1" smtClean="0"/>
              <a:t>Zeilen</a:t>
            </a:r>
            <a:endParaRPr lang="en-US" noProof="0" dirty="0"/>
          </a:p>
        </p:txBody>
      </p:sp>
      <p:sp>
        <p:nvSpPr>
          <p:cNvPr id="7" name="Text Placeholder 10"/>
          <p:cNvSpPr>
            <a:spLocks noGrp="1"/>
          </p:cNvSpPr>
          <p:nvPr>
            <p:ph type="body" sz="quarter" idx="10" hasCustomPrompt="1"/>
          </p:nvPr>
        </p:nvSpPr>
        <p:spPr>
          <a:xfrm>
            <a:off x="631824" y="6624000"/>
            <a:ext cx="8642351" cy="140400"/>
          </a:xfrm>
          <a:prstGeom prst="rect">
            <a:avLst/>
          </a:prstGeom>
        </p:spPr>
        <p:txBody>
          <a:bodyPr lIns="0" tIns="0" rIns="0" bIns="0" anchor="b">
            <a:noAutofit/>
          </a:bodyPr>
          <a:lstStyle>
            <a:lvl1pPr>
              <a:spcAft>
                <a:spcPts val="0"/>
              </a:spcAft>
              <a:defRPr sz="800"/>
            </a:lvl1pPr>
            <a:lvl2pPr>
              <a:defRPr sz="700"/>
            </a:lvl2pPr>
            <a:lvl3pPr>
              <a:defRPr sz="700"/>
            </a:lvl3pPr>
            <a:lvl4pPr>
              <a:defRPr sz="700"/>
            </a:lvl4pPr>
            <a:lvl5pPr>
              <a:defRPr sz="700"/>
            </a:lvl5pPr>
          </a:lstStyle>
          <a:p>
            <a:pPr lvl="0"/>
            <a:r>
              <a:rPr lang="de-CH" noProof="0" dirty="0" smtClean="0"/>
              <a:t>Fussnote / Dokumenttitel</a:t>
            </a:r>
          </a:p>
        </p:txBody>
      </p:sp>
    </p:spTree>
    <p:extLst>
      <p:ext uri="{BB962C8B-B14F-4D97-AF65-F5344CB8AC3E}">
        <p14:creationId xmlns:p14="http://schemas.microsoft.com/office/powerpoint/2010/main" val="2808483759"/>
      </p:ext>
    </p:extLst>
  </p:cSld>
  <p:clrMapOvr>
    <a:masterClrMapping/>
  </p:clrMapOvr>
  <p:transition spd="slow"/>
  <p:timing>
    <p:tnLst>
      <p:par>
        <p:cTn id="1" dur="indefinite" restart="never" nodeType="tmRoot"/>
      </p:par>
    </p:tnLst>
  </p:timing>
  <p:extLst mod="1">
    <p:ext uri="{DCECCB84-F9BA-43D5-87BE-67443E8EF086}">
      <p15:sldGuideLst xmlns:p15="http://schemas.microsoft.com/office/powerpoint/2012/main">
        <p15:guide id="1" orient="horz" pos="1253">
          <p15:clr>
            <a:srgbClr val="FBAE40"/>
          </p15:clr>
        </p15:guide>
        <p15:guide id="2" pos="1147">
          <p15:clr>
            <a:srgbClr val="FBAE40"/>
          </p15:clr>
        </p15:guide>
        <p15:guide id="3" pos="510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ld mit Text 1">
    <p:spTree>
      <p:nvGrpSpPr>
        <p:cNvPr id="1" name=""/>
        <p:cNvGrpSpPr/>
        <p:nvPr/>
      </p:nvGrpSpPr>
      <p:grpSpPr>
        <a:xfrm>
          <a:off x="0" y="0"/>
          <a:ext cx="0" cy="0"/>
          <a:chOff x="0" y="0"/>
          <a:chExt cx="0" cy="0"/>
        </a:xfrm>
      </p:grpSpPr>
      <p:sp>
        <p:nvSpPr>
          <p:cNvPr id="4" name="Inhaltsplatzhalter 3"/>
          <p:cNvSpPr>
            <a:spLocks noGrp="1"/>
          </p:cNvSpPr>
          <p:nvPr>
            <p:ph sz="quarter" idx="17" hasCustomPrompt="1"/>
          </p:nvPr>
        </p:nvSpPr>
        <p:spPr>
          <a:xfrm>
            <a:off x="5773361" y="1557338"/>
            <a:ext cx="3499200" cy="5040000"/>
          </a:xfrm>
          <a:prstGeom prst="rect">
            <a:avLst/>
          </a:prstGeom>
        </p:spPr>
        <p:txBody>
          <a:bodyPr wrap="square" lIns="0" tIns="0" rIns="0" bIns="0"/>
          <a:lstStyle>
            <a:lvl1pPr marL="355600" indent="-355600" eaLnBrk="1" hangingPunct="1">
              <a:lnSpc>
                <a:spcPct val="113000"/>
              </a:lnSpc>
              <a:buClr>
                <a:srgbClr val="000000"/>
              </a:buClr>
              <a:buFont typeface="+mj-lt"/>
              <a:buNone/>
              <a:tabLst>
                <a:tab pos="719138" algn="l"/>
              </a:tabLst>
              <a:defRPr sz="1200" baseline="0">
                <a:latin typeface="Arial" panose="020B0604020202020204" pitchFamily="34" charset="0"/>
                <a:cs typeface="Arial" panose="020B0604020202020204" pitchFamily="34" charset="0"/>
              </a:defRPr>
            </a:lvl1pPr>
            <a:lvl2pPr eaLnBrk="1" hangingPunct="1">
              <a:lnSpc>
                <a:spcPct val="113000"/>
              </a:lnSpc>
              <a:buClr>
                <a:srgbClr val="000000"/>
              </a:buClr>
              <a:defRPr lang="en-US" kern="0" noProof="0"/>
            </a:lvl2pPr>
            <a:lvl3pPr eaLnBrk="1" hangingPunct="1">
              <a:lnSpc>
                <a:spcPct val="113000"/>
              </a:lnSpc>
              <a:buClr>
                <a:srgbClr val="000000"/>
              </a:buClr>
              <a:defRPr lang="en-US" kern="0" noProof="0"/>
            </a:lvl3pPr>
            <a:lvl4pPr eaLnBrk="1" hangingPunct="1">
              <a:lnSpc>
                <a:spcPct val="113000"/>
              </a:lnSpc>
              <a:buClr>
                <a:srgbClr val="000000"/>
              </a:buClr>
              <a:defRPr lang="en-US" kern="0" noProof="0"/>
            </a:lvl4pPr>
          </a:lstStyle>
          <a:p>
            <a:pPr eaLnBrk="1" hangingPunct="1">
              <a:buClr>
                <a:srgbClr val="000000"/>
              </a:buClr>
              <a:defRPr/>
            </a:pPr>
            <a:r>
              <a:rPr lang="en-US" dirty="0" smtClean="0"/>
              <a:t>Arial 12pt</a:t>
            </a:r>
          </a:p>
          <a:p>
            <a:pPr eaLnBrk="1" hangingPunct="1">
              <a:buClr>
                <a:srgbClr val="000000"/>
              </a:buClr>
              <a:defRPr/>
            </a:pPr>
            <a:r>
              <a:rPr lang="en-US" dirty="0" smtClean="0"/>
              <a:t>1. </a:t>
            </a:r>
            <a:r>
              <a:rPr lang="en-US" dirty="0" err="1" smtClean="0"/>
              <a:t>Zweite</a:t>
            </a:r>
            <a:r>
              <a:rPr lang="en-US" dirty="0" smtClean="0"/>
              <a:t> </a:t>
            </a:r>
            <a:r>
              <a:rPr lang="en-US" dirty="0" err="1" smtClean="0"/>
              <a:t>Ebene</a:t>
            </a:r>
            <a:r>
              <a:rPr lang="en-US" dirty="0" smtClean="0"/>
              <a:t> </a:t>
            </a:r>
            <a:r>
              <a:rPr lang="en-US" dirty="0" err="1" smtClean="0"/>
              <a:t>mit</a:t>
            </a:r>
            <a:r>
              <a:rPr lang="en-US" dirty="0" smtClean="0"/>
              <a:t> </a:t>
            </a:r>
            <a:r>
              <a:rPr lang="en-US" dirty="0" err="1" smtClean="0"/>
              <a:t>Nummern</a:t>
            </a:r>
            <a:endParaRPr lang="en-US" dirty="0" smtClean="0"/>
          </a:p>
          <a:p>
            <a:pPr eaLnBrk="1" hangingPunct="1">
              <a:buClr>
                <a:srgbClr val="000000"/>
              </a:buClr>
              <a:defRPr/>
            </a:pPr>
            <a:r>
              <a:rPr lang="en-US" dirty="0" smtClean="0"/>
              <a:t>	a. </a:t>
            </a:r>
            <a:r>
              <a:rPr lang="en-US" dirty="0" err="1" smtClean="0"/>
              <a:t>Dritte</a:t>
            </a:r>
            <a:r>
              <a:rPr lang="en-US" dirty="0" smtClean="0"/>
              <a:t> </a:t>
            </a:r>
            <a:r>
              <a:rPr lang="en-US" dirty="0" err="1" smtClean="0"/>
              <a:t>Ebene</a:t>
            </a:r>
            <a:r>
              <a:rPr lang="en-US" dirty="0" smtClean="0"/>
              <a:t> </a:t>
            </a:r>
            <a:r>
              <a:rPr lang="en-US" dirty="0" err="1" smtClean="0"/>
              <a:t>mit</a:t>
            </a:r>
            <a:r>
              <a:rPr lang="en-US" dirty="0" smtClean="0"/>
              <a:t> </a:t>
            </a:r>
            <a:r>
              <a:rPr lang="en-US" dirty="0" err="1" smtClean="0"/>
              <a:t>alphabetischen</a:t>
            </a:r>
            <a:r>
              <a:rPr lang="en-US" dirty="0" smtClean="0"/>
              <a:t> </a:t>
            </a:r>
            <a:r>
              <a:rPr lang="en-US" dirty="0" err="1" smtClean="0"/>
              <a:t>Nummern</a:t>
            </a:r>
            <a:r>
              <a:rPr lang="en-US" dirty="0" smtClean="0"/>
              <a:t/>
            </a:r>
            <a:br>
              <a:rPr lang="en-US" dirty="0" smtClean="0"/>
            </a:br>
            <a:r>
              <a:rPr lang="en-US" dirty="0" smtClean="0"/>
              <a:t>	</a:t>
            </a:r>
            <a:r>
              <a:rPr lang="en-US" dirty="0" err="1" smtClean="0"/>
              <a:t>i</a:t>
            </a:r>
            <a:r>
              <a:rPr lang="en-US" dirty="0" smtClean="0"/>
              <a:t>. </a:t>
            </a:r>
            <a:r>
              <a:rPr lang="en-US" dirty="0" err="1" smtClean="0"/>
              <a:t>Vierte</a:t>
            </a:r>
            <a:r>
              <a:rPr lang="en-US" dirty="0" smtClean="0"/>
              <a:t> </a:t>
            </a:r>
            <a:r>
              <a:rPr lang="en-US" dirty="0" err="1" smtClean="0"/>
              <a:t>Ebene</a:t>
            </a:r>
            <a:r>
              <a:rPr lang="en-US" dirty="0" smtClean="0"/>
              <a:t> </a:t>
            </a:r>
            <a:r>
              <a:rPr lang="en-US" dirty="0" err="1" smtClean="0"/>
              <a:t>mit</a:t>
            </a:r>
            <a:r>
              <a:rPr lang="en-US" dirty="0" smtClean="0"/>
              <a:t> </a:t>
            </a:r>
            <a:r>
              <a:rPr lang="en-US" dirty="0" err="1" smtClean="0"/>
              <a:t>römischen</a:t>
            </a:r>
            <a:r>
              <a:rPr lang="en-US" dirty="0" smtClean="0"/>
              <a:t> </a:t>
            </a:r>
            <a:r>
              <a:rPr lang="en-US" dirty="0" err="1" smtClean="0"/>
              <a:t>Nummern</a:t>
            </a:r>
            <a:endParaRPr lang="en-US" dirty="0" smtClean="0"/>
          </a:p>
          <a:p>
            <a:pPr eaLnBrk="1" hangingPunct="1">
              <a:buClr>
                <a:srgbClr val="000000"/>
              </a:buClr>
              <a:defRPr/>
            </a:pPr>
            <a:endParaRPr lang="en-US" kern="0" noProof="0" dirty="0" smtClean="0">
              <a:latin typeface="+mn-lt"/>
            </a:endParaRPr>
          </a:p>
        </p:txBody>
      </p:sp>
      <p:sp>
        <p:nvSpPr>
          <p:cNvPr id="6" name="Inhaltsplatzhalter 3"/>
          <p:cNvSpPr>
            <a:spLocks noGrp="1"/>
          </p:cNvSpPr>
          <p:nvPr>
            <p:ph sz="quarter" idx="19" hasCustomPrompt="1"/>
          </p:nvPr>
        </p:nvSpPr>
        <p:spPr>
          <a:xfrm>
            <a:off x="633000" y="1557338"/>
            <a:ext cx="4932000" cy="5040000"/>
          </a:xfrm>
          <a:prstGeom prst="rect">
            <a:avLst/>
          </a:prstGeom>
        </p:spPr>
        <p:txBody>
          <a:bodyPr wrap="square" lIns="0" tIns="0" rIns="0" bIns="0"/>
          <a:lstStyle>
            <a:lvl1pPr eaLnBrk="1" hangingPunct="1">
              <a:lnSpc>
                <a:spcPct val="113000"/>
              </a:lnSpc>
              <a:buClr>
                <a:srgbClr val="000000"/>
              </a:buClr>
              <a:defRPr lang="en-US" kern="0" noProof="0"/>
            </a:lvl1pPr>
            <a:lvl2pPr eaLnBrk="1" hangingPunct="1">
              <a:lnSpc>
                <a:spcPct val="113000"/>
              </a:lnSpc>
              <a:buClr>
                <a:srgbClr val="000000"/>
              </a:buClr>
              <a:defRPr sz="1200"/>
            </a:lvl2pPr>
            <a:lvl3pPr eaLnBrk="1" hangingPunct="1">
              <a:lnSpc>
                <a:spcPct val="113000"/>
              </a:lnSpc>
              <a:buClr>
                <a:srgbClr val="000000"/>
              </a:buClr>
              <a:defRPr sz="1200"/>
            </a:lvl3pPr>
            <a:lvl4pPr eaLnBrk="1" hangingPunct="1">
              <a:lnSpc>
                <a:spcPct val="113000"/>
              </a:lnSpc>
              <a:buClr>
                <a:srgbClr val="000000"/>
              </a:buClr>
              <a:defRPr sz="1200"/>
            </a:lvl4pPr>
          </a:lstStyle>
          <a:p>
            <a:pPr eaLnBrk="1" hangingPunct="1">
              <a:buClr>
                <a:srgbClr val="000000"/>
              </a:buClr>
              <a:defRPr/>
            </a:pPr>
            <a:r>
              <a:rPr lang="en-US" kern="0" noProof="0" dirty="0" err="1" smtClean="0">
                <a:latin typeface="Arial" panose="020B0604020202020204" pitchFamily="34" charset="0"/>
                <a:cs typeface="Arial" panose="020B0604020202020204" pitchFamily="34" charset="0"/>
              </a:rPr>
              <a:t>Bild</a:t>
            </a:r>
            <a:r>
              <a:rPr lang="en-US" kern="0" noProof="0" dirty="0" smtClean="0">
                <a:latin typeface="Arial" panose="020B0604020202020204" pitchFamily="34" charset="0"/>
                <a:cs typeface="Arial" panose="020B0604020202020204" pitchFamily="34" charset="0"/>
              </a:rPr>
              <a:t> / </a:t>
            </a:r>
            <a:r>
              <a:rPr lang="en-US" kern="0" noProof="0" dirty="0" err="1" smtClean="0">
                <a:latin typeface="Arial" panose="020B0604020202020204" pitchFamily="34" charset="0"/>
                <a:cs typeface="Arial" panose="020B0604020202020204" pitchFamily="34" charset="0"/>
              </a:rPr>
              <a:t>Diagramm</a:t>
            </a:r>
            <a:r>
              <a:rPr lang="en-US" kern="0" noProof="0" dirty="0" smtClean="0">
                <a:latin typeface="Arial" panose="020B0604020202020204" pitchFamily="34" charset="0"/>
                <a:cs typeface="Arial" panose="020B0604020202020204" pitchFamily="34" charset="0"/>
              </a:rPr>
              <a:t> / </a:t>
            </a:r>
            <a:r>
              <a:rPr lang="en-US" kern="0" noProof="0" dirty="0" err="1" smtClean="0">
                <a:latin typeface="Arial" panose="020B0604020202020204" pitchFamily="34" charset="0"/>
                <a:cs typeface="Arial" panose="020B0604020202020204" pitchFamily="34" charset="0"/>
              </a:rPr>
              <a:t>Tabelle</a:t>
            </a:r>
            <a:endParaRPr lang="en-US" kern="0" noProof="0" dirty="0" smtClean="0">
              <a:latin typeface="+mn-lt"/>
            </a:endParaRPr>
          </a:p>
        </p:txBody>
      </p:sp>
      <p:sp>
        <p:nvSpPr>
          <p:cNvPr id="7" name="Titel 1"/>
          <p:cNvSpPr>
            <a:spLocks noGrp="1"/>
          </p:cNvSpPr>
          <p:nvPr>
            <p:ph type="title" hasCustomPrompt="1"/>
          </p:nvPr>
        </p:nvSpPr>
        <p:spPr>
          <a:xfrm>
            <a:off x="631825" y="765175"/>
            <a:ext cx="8642350" cy="611188"/>
          </a:xfrm>
        </p:spPr>
        <p:txBody>
          <a:bodyPr/>
          <a:lstStyle>
            <a:lvl1pPr>
              <a:defRPr baseline="0"/>
            </a:lvl1pPr>
          </a:lstStyle>
          <a:p>
            <a:r>
              <a:rPr lang="en-US" noProof="0" dirty="0" smtClean="0"/>
              <a:t>Title: Arial 20 </a:t>
            </a:r>
            <a:r>
              <a:rPr lang="en-US" noProof="0" dirty="0" err="1" smtClean="0"/>
              <a:t>pt</a:t>
            </a:r>
            <a:r>
              <a:rPr lang="en-US" noProof="0" dirty="0" smtClean="0"/>
              <a:t>, </a:t>
            </a:r>
            <a:r>
              <a:rPr lang="en-US" noProof="0" dirty="0" err="1" smtClean="0"/>
              <a:t>fett</a:t>
            </a:r>
            <a:r>
              <a:rPr lang="en-US" noProof="0" dirty="0" smtClean="0"/>
              <a:t>, maximal 2 </a:t>
            </a:r>
            <a:r>
              <a:rPr lang="en-US" noProof="0" dirty="0" err="1" smtClean="0"/>
              <a:t>Zeilen</a:t>
            </a:r>
            <a:endParaRPr lang="en-US" noProof="0" dirty="0"/>
          </a:p>
        </p:txBody>
      </p:sp>
      <p:sp>
        <p:nvSpPr>
          <p:cNvPr id="8" name="Text Placeholder 10"/>
          <p:cNvSpPr>
            <a:spLocks noGrp="1"/>
          </p:cNvSpPr>
          <p:nvPr>
            <p:ph type="body" sz="quarter" idx="10" hasCustomPrompt="1"/>
          </p:nvPr>
        </p:nvSpPr>
        <p:spPr>
          <a:xfrm>
            <a:off x="631824" y="6624000"/>
            <a:ext cx="8642351" cy="140400"/>
          </a:xfrm>
          <a:prstGeom prst="rect">
            <a:avLst/>
          </a:prstGeom>
        </p:spPr>
        <p:txBody>
          <a:bodyPr lIns="0" tIns="0" rIns="0" bIns="0" anchor="b">
            <a:noAutofit/>
          </a:bodyPr>
          <a:lstStyle>
            <a:lvl1pPr>
              <a:spcAft>
                <a:spcPts val="0"/>
              </a:spcAft>
              <a:defRPr sz="800"/>
            </a:lvl1pPr>
            <a:lvl2pPr>
              <a:defRPr sz="700"/>
            </a:lvl2pPr>
            <a:lvl3pPr>
              <a:defRPr sz="700"/>
            </a:lvl3pPr>
            <a:lvl4pPr>
              <a:defRPr sz="700"/>
            </a:lvl4pPr>
            <a:lvl5pPr>
              <a:defRPr sz="700"/>
            </a:lvl5pPr>
          </a:lstStyle>
          <a:p>
            <a:pPr lvl="0"/>
            <a:r>
              <a:rPr lang="de-CH" noProof="0" dirty="0" smtClean="0"/>
              <a:t>Fussnote / Dokumenttitel</a:t>
            </a:r>
          </a:p>
        </p:txBody>
      </p:sp>
    </p:spTree>
    <p:extLst>
      <p:ext uri="{BB962C8B-B14F-4D97-AF65-F5344CB8AC3E}">
        <p14:creationId xmlns:p14="http://schemas.microsoft.com/office/powerpoint/2010/main" val="2386122770"/>
      </p:ext>
    </p:extLst>
  </p:cSld>
  <p:clrMapOvr>
    <a:masterClrMapping/>
  </p:clrMapOvr>
  <p:transition spd="slow"/>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ild mit Text 2">
    <p:spTree>
      <p:nvGrpSpPr>
        <p:cNvPr id="1" name=""/>
        <p:cNvGrpSpPr/>
        <p:nvPr/>
      </p:nvGrpSpPr>
      <p:grpSpPr>
        <a:xfrm>
          <a:off x="0" y="0"/>
          <a:ext cx="0" cy="0"/>
          <a:chOff x="0" y="0"/>
          <a:chExt cx="0" cy="0"/>
        </a:xfrm>
      </p:grpSpPr>
      <p:sp>
        <p:nvSpPr>
          <p:cNvPr id="4" name="Inhaltsplatzhalter 3"/>
          <p:cNvSpPr>
            <a:spLocks noGrp="1"/>
          </p:cNvSpPr>
          <p:nvPr>
            <p:ph sz="quarter" idx="17" hasCustomPrompt="1"/>
          </p:nvPr>
        </p:nvSpPr>
        <p:spPr>
          <a:xfrm>
            <a:off x="3970021" y="1557338"/>
            <a:ext cx="5302541" cy="5040000"/>
          </a:xfrm>
          <a:prstGeom prst="rect">
            <a:avLst/>
          </a:prstGeom>
        </p:spPr>
        <p:txBody>
          <a:bodyPr lIns="0" tIns="0" rIns="0" bIns="0"/>
          <a:lstStyle>
            <a:lvl1pPr marL="355600" indent="-355600" eaLnBrk="1" hangingPunct="1">
              <a:lnSpc>
                <a:spcPct val="113000"/>
              </a:lnSpc>
              <a:buClr>
                <a:srgbClr val="000000"/>
              </a:buClr>
              <a:tabLst>
                <a:tab pos="719138" algn="l"/>
              </a:tabLst>
              <a:defRPr sz="1200" baseline="0"/>
            </a:lvl1pPr>
            <a:lvl2pPr eaLnBrk="1" hangingPunct="1">
              <a:lnSpc>
                <a:spcPct val="113000"/>
              </a:lnSpc>
              <a:buClr>
                <a:srgbClr val="000000"/>
              </a:buClr>
              <a:defRPr sz="1200"/>
            </a:lvl2pPr>
            <a:lvl3pPr eaLnBrk="1" hangingPunct="1">
              <a:lnSpc>
                <a:spcPct val="113000"/>
              </a:lnSpc>
              <a:buClr>
                <a:srgbClr val="000000"/>
              </a:buClr>
              <a:defRPr sz="1200"/>
            </a:lvl3pPr>
            <a:lvl4pPr eaLnBrk="1" hangingPunct="1">
              <a:lnSpc>
                <a:spcPct val="113000"/>
              </a:lnSpc>
              <a:buClr>
                <a:srgbClr val="000000"/>
              </a:buClr>
              <a:defRPr sz="1200"/>
            </a:lvl4pPr>
          </a:lstStyle>
          <a:p>
            <a:pPr eaLnBrk="1" hangingPunct="1">
              <a:buClr>
                <a:srgbClr val="000000"/>
              </a:buClr>
              <a:defRPr/>
            </a:pPr>
            <a:r>
              <a:rPr lang="en-US" dirty="0" smtClean="0"/>
              <a:t>Arial 12pt</a:t>
            </a:r>
          </a:p>
          <a:p>
            <a:pPr eaLnBrk="1" hangingPunct="1">
              <a:buClr>
                <a:srgbClr val="000000"/>
              </a:buClr>
              <a:defRPr/>
            </a:pPr>
            <a:r>
              <a:rPr lang="en-US" dirty="0" smtClean="0"/>
              <a:t>1. </a:t>
            </a:r>
            <a:r>
              <a:rPr lang="en-US" dirty="0" err="1" smtClean="0"/>
              <a:t>Zweite</a:t>
            </a:r>
            <a:r>
              <a:rPr lang="en-US" dirty="0" smtClean="0"/>
              <a:t> </a:t>
            </a:r>
            <a:r>
              <a:rPr lang="en-US" dirty="0" err="1" smtClean="0"/>
              <a:t>Ebene</a:t>
            </a:r>
            <a:r>
              <a:rPr lang="en-US" dirty="0" smtClean="0"/>
              <a:t> </a:t>
            </a:r>
            <a:r>
              <a:rPr lang="en-US" dirty="0" err="1" smtClean="0"/>
              <a:t>mit</a:t>
            </a:r>
            <a:r>
              <a:rPr lang="en-US" dirty="0" smtClean="0"/>
              <a:t> </a:t>
            </a:r>
            <a:r>
              <a:rPr lang="en-US" dirty="0" err="1" smtClean="0"/>
              <a:t>Nummern</a:t>
            </a:r>
            <a:endParaRPr lang="en-US" dirty="0" smtClean="0"/>
          </a:p>
          <a:p>
            <a:pPr eaLnBrk="1" hangingPunct="1">
              <a:buClr>
                <a:srgbClr val="000000"/>
              </a:buClr>
              <a:defRPr/>
            </a:pPr>
            <a:r>
              <a:rPr lang="en-US" dirty="0" smtClean="0"/>
              <a:t>	a. </a:t>
            </a:r>
            <a:r>
              <a:rPr lang="en-US" dirty="0" err="1" smtClean="0"/>
              <a:t>Dritte</a:t>
            </a:r>
            <a:r>
              <a:rPr lang="en-US" dirty="0" smtClean="0"/>
              <a:t> </a:t>
            </a:r>
            <a:r>
              <a:rPr lang="en-US" dirty="0" err="1" smtClean="0"/>
              <a:t>Ebene</a:t>
            </a:r>
            <a:r>
              <a:rPr lang="en-US" dirty="0" smtClean="0"/>
              <a:t> </a:t>
            </a:r>
            <a:r>
              <a:rPr lang="en-US" dirty="0" err="1" smtClean="0"/>
              <a:t>mit</a:t>
            </a:r>
            <a:r>
              <a:rPr lang="en-US" dirty="0" smtClean="0"/>
              <a:t> </a:t>
            </a:r>
            <a:r>
              <a:rPr lang="en-US" dirty="0" err="1" smtClean="0"/>
              <a:t>alphabetischen</a:t>
            </a:r>
            <a:r>
              <a:rPr lang="en-US" dirty="0" smtClean="0"/>
              <a:t> </a:t>
            </a:r>
            <a:r>
              <a:rPr lang="en-US" dirty="0" err="1" smtClean="0"/>
              <a:t>Nummern</a:t>
            </a:r>
            <a:r>
              <a:rPr lang="en-US" dirty="0" smtClean="0"/>
              <a:t/>
            </a:r>
            <a:br>
              <a:rPr lang="en-US" dirty="0" smtClean="0"/>
            </a:br>
            <a:r>
              <a:rPr lang="en-US" dirty="0" smtClean="0"/>
              <a:t>	</a:t>
            </a:r>
            <a:r>
              <a:rPr lang="en-US" dirty="0" err="1" smtClean="0"/>
              <a:t>i</a:t>
            </a:r>
            <a:r>
              <a:rPr lang="en-US" dirty="0" smtClean="0"/>
              <a:t>. </a:t>
            </a:r>
            <a:r>
              <a:rPr lang="en-US" dirty="0" err="1" smtClean="0"/>
              <a:t>Vierte</a:t>
            </a:r>
            <a:r>
              <a:rPr lang="en-US" dirty="0" smtClean="0"/>
              <a:t> </a:t>
            </a:r>
            <a:r>
              <a:rPr lang="en-US" dirty="0" err="1" smtClean="0"/>
              <a:t>Ebene</a:t>
            </a:r>
            <a:r>
              <a:rPr lang="en-US" dirty="0" smtClean="0"/>
              <a:t> </a:t>
            </a:r>
            <a:r>
              <a:rPr lang="en-US" dirty="0" err="1" smtClean="0"/>
              <a:t>mit</a:t>
            </a:r>
            <a:r>
              <a:rPr lang="en-US" dirty="0" smtClean="0"/>
              <a:t> </a:t>
            </a:r>
            <a:r>
              <a:rPr lang="en-US" dirty="0" err="1" smtClean="0"/>
              <a:t>römischen</a:t>
            </a:r>
            <a:r>
              <a:rPr lang="en-US" dirty="0" smtClean="0"/>
              <a:t> </a:t>
            </a:r>
            <a:r>
              <a:rPr lang="en-US" dirty="0" err="1" smtClean="0"/>
              <a:t>Nummern</a:t>
            </a:r>
            <a:endParaRPr lang="en-US" dirty="0" smtClean="0"/>
          </a:p>
        </p:txBody>
      </p:sp>
      <p:sp>
        <p:nvSpPr>
          <p:cNvPr id="6" name="Inhaltsplatzhalter 3"/>
          <p:cNvSpPr>
            <a:spLocks noGrp="1"/>
          </p:cNvSpPr>
          <p:nvPr>
            <p:ph sz="quarter" idx="19" hasCustomPrompt="1"/>
          </p:nvPr>
        </p:nvSpPr>
        <p:spPr>
          <a:xfrm>
            <a:off x="633000" y="1557338"/>
            <a:ext cx="3132000" cy="5040000"/>
          </a:xfrm>
          <a:prstGeom prst="rect">
            <a:avLst/>
          </a:prstGeom>
        </p:spPr>
        <p:txBody>
          <a:bodyPr lIns="0" tIns="0" rIns="0" bIns="0"/>
          <a:lstStyle>
            <a:lvl1pPr eaLnBrk="1" hangingPunct="1">
              <a:lnSpc>
                <a:spcPct val="113000"/>
              </a:lnSpc>
              <a:buClr>
                <a:srgbClr val="000000"/>
              </a:buClr>
              <a:defRPr lang="en-US" kern="0" noProof="0"/>
            </a:lvl1pPr>
            <a:lvl2pPr eaLnBrk="1" hangingPunct="1">
              <a:lnSpc>
                <a:spcPct val="113000"/>
              </a:lnSpc>
              <a:buClr>
                <a:srgbClr val="000000"/>
              </a:buClr>
              <a:defRPr sz="1200"/>
            </a:lvl2pPr>
            <a:lvl3pPr eaLnBrk="1" hangingPunct="1">
              <a:lnSpc>
                <a:spcPct val="113000"/>
              </a:lnSpc>
              <a:buClr>
                <a:srgbClr val="000000"/>
              </a:buClr>
              <a:defRPr sz="1200"/>
            </a:lvl3pPr>
            <a:lvl4pPr eaLnBrk="1" hangingPunct="1">
              <a:lnSpc>
                <a:spcPct val="113000"/>
              </a:lnSpc>
              <a:buClr>
                <a:srgbClr val="000000"/>
              </a:buClr>
              <a:defRPr sz="1200"/>
            </a:lvl4pPr>
          </a:lstStyle>
          <a:p>
            <a:pPr eaLnBrk="1" hangingPunct="1">
              <a:buClr>
                <a:srgbClr val="000000"/>
              </a:buClr>
              <a:defRPr/>
            </a:pPr>
            <a:r>
              <a:rPr lang="en-US" kern="0" noProof="0" dirty="0" err="1" smtClean="0">
                <a:latin typeface="Arial" panose="020B0604020202020204" pitchFamily="34" charset="0"/>
                <a:cs typeface="Arial" panose="020B0604020202020204" pitchFamily="34" charset="0"/>
              </a:rPr>
              <a:t>Bild</a:t>
            </a:r>
            <a:r>
              <a:rPr lang="en-US" kern="0" noProof="0" dirty="0" smtClean="0">
                <a:latin typeface="Arial" panose="020B0604020202020204" pitchFamily="34" charset="0"/>
                <a:cs typeface="Arial" panose="020B0604020202020204" pitchFamily="34" charset="0"/>
              </a:rPr>
              <a:t> / </a:t>
            </a:r>
            <a:r>
              <a:rPr lang="en-US" kern="0" noProof="0" dirty="0" err="1" smtClean="0">
                <a:latin typeface="Arial" panose="020B0604020202020204" pitchFamily="34" charset="0"/>
                <a:cs typeface="Arial" panose="020B0604020202020204" pitchFamily="34" charset="0"/>
              </a:rPr>
              <a:t>Diagramm</a:t>
            </a:r>
            <a:r>
              <a:rPr lang="en-US" kern="0" noProof="0" dirty="0" smtClean="0">
                <a:latin typeface="Arial" panose="020B0604020202020204" pitchFamily="34" charset="0"/>
                <a:cs typeface="Arial" panose="020B0604020202020204" pitchFamily="34" charset="0"/>
              </a:rPr>
              <a:t> / </a:t>
            </a:r>
            <a:r>
              <a:rPr lang="en-US" kern="0" noProof="0" dirty="0" err="1" smtClean="0">
                <a:latin typeface="Arial" panose="020B0604020202020204" pitchFamily="34" charset="0"/>
                <a:cs typeface="Arial" panose="020B0604020202020204" pitchFamily="34" charset="0"/>
              </a:rPr>
              <a:t>Tabelle</a:t>
            </a:r>
            <a:endParaRPr lang="en-US" kern="0" noProof="0" dirty="0" smtClean="0">
              <a:latin typeface="+mn-lt"/>
            </a:endParaRPr>
          </a:p>
        </p:txBody>
      </p:sp>
      <p:sp>
        <p:nvSpPr>
          <p:cNvPr id="7" name="Titel 1"/>
          <p:cNvSpPr>
            <a:spLocks noGrp="1"/>
          </p:cNvSpPr>
          <p:nvPr>
            <p:ph type="title" hasCustomPrompt="1"/>
          </p:nvPr>
        </p:nvSpPr>
        <p:spPr>
          <a:xfrm>
            <a:off x="631825" y="765175"/>
            <a:ext cx="8642350" cy="611188"/>
          </a:xfrm>
        </p:spPr>
        <p:txBody>
          <a:bodyPr/>
          <a:lstStyle>
            <a:lvl1pPr>
              <a:defRPr baseline="0"/>
            </a:lvl1pPr>
          </a:lstStyle>
          <a:p>
            <a:r>
              <a:rPr lang="en-US" noProof="0" dirty="0" smtClean="0"/>
              <a:t>Title: Arial 20 </a:t>
            </a:r>
            <a:r>
              <a:rPr lang="en-US" noProof="0" dirty="0" err="1" smtClean="0"/>
              <a:t>pt</a:t>
            </a:r>
            <a:r>
              <a:rPr lang="en-US" noProof="0" dirty="0" smtClean="0"/>
              <a:t>, </a:t>
            </a:r>
            <a:r>
              <a:rPr lang="en-US" noProof="0" dirty="0" err="1" smtClean="0"/>
              <a:t>fett</a:t>
            </a:r>
            <a:r>
              <a:rPr lang="en-US" noProof="0" dirty="0" smtClean="0"/>
              <a:t>, maximal 2 </a:t>
            </a:r>
            <a:r>
              <a:rPr lang="en-US" noProof="0" dirty="0" err="1" smtClean="0"/>
              <a:t>Zeilen</a:t>
            </a:r>
            <a:endParaRPr lang="en-US" noProof="0" dirty="0"/>
          </a:p>
        </p:txBody>
      </p:sp>
      <p:sp>
        <p:nvSpPr>
          <p:cNvPr id="8" name="Text Placeholder 10"/>
          <p:cNvSpPr>
            <a:spLocks noGrp="1"/>
          </p:cNvSpPr>
          <p:nvPr>
            <p:ph type="body" sz="quarter" idx="10" hasCustomPrompt="1"/>
          </p:nvPr>
        </p:nvSpPr>
        <p:spPr>
          <a:xfrm>
            <a:off x="631824" y="6624000"/>
            <a:ext cx="8642351" cy="140400"/>
          </a:xfrm>
          <a:prstGeom prst="rect">
            <a:avLst/>
          </a:prstGeom>
        </p:spPr>
        <p:txBody>
          <a:bodyPr lIns="0" tIns="0" rIns="0" bIns="0" anchor="b">
            <a:noAutofit/>
          </a:bodyPr>
          <a:lstStyle>
            <a:lvl1pPr>
              <a:spcAft>
                <a:spcPts val="0"/>
              </a:spcAft>
              <a:defRPr sz="800"/>
            </a:lvl1pPr>
            <a:lvl2pPr>
              <a:defRPr sz="700"/>
            </a:lvl2pPr>
            <a:lvl3pPr>
              <a:defRPr sz="700"/>
            </a:lvl3pPr>
            <a:lvl4pPr>
              <a:defRPr sz="700"/>
            </a:lvl4pPr>
            <a:lvl5pPr>
              <a:defRPr sz="700"/>
            </a:lvl5pPr>
          </a:lstStyle>
          <a:p>
            <a:pPr lvl="0"/>
            <a:r>
              <a:rPr lang="de-CH" noProof="0" dirty="0" smtClean="0"/>
              <a:t>Fussnote / Dokumenttitel</a:t>
            </a:r>
          </a:p>
        </p:txBody>
      </p:sp>
    </p:spTree>
    <p:extLst>
      <p:ext uri="{BB962C8B-B14F-4D97-AF65-F5344CB8AC3E}">
        <p14:creationId xmlns:p14="http://schemas.microsoft.com/office/powerpoint/2010/main" val="1635348023"/>
      </p:ext>
    </p:extLst>
  </p:cSld>
  <p:clrMapOvr>
    <a:masterClrMapping/>
  </p:clrMapOvr>
  <p:transition spd="slow"/>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Text Blöcke">
    <p:spTree>
      <p:nvGrpSpPr>
        <p:cNvPr id="1" name=""/>
        <p:cNvGrpSpPr/>
        <p:nvPr/>
      </p:nvGrpSpPr>
      <p:grpSpPr>
        <a:xfrm>
          <a:off x="0" y="0"/>
          <a:ext cx="0" cy="0"/>
          <a:chOff x="0" y="0"/>
          <a:chExt cx="0" cy="0"/>
        </a:xfrm>
      </p:grpSpPr>
      <p:sp>
        <p:nvSpPr>
          <p:cNvPr id="5" name="Inhaltsplatzhalter 4"/>
          <p:cNvSpPr>
            <a:spLocks noGrp="1"/>
          </p:cNvSpPr>
          <p:nvPr>
            <p:ph sz="quarter" idx="13" hasCustomPrompt="1"/>
          </p:nvPr>
        </p:nvSpPr>
        <p:spPr>
          <a:xfrm>
            <a:off x="5062175" y="1567944"/>
            <a:ext cx="4212000" cy="5029706"/>
          </a:xfrm>
          <a:prstGeom prst="rect">
            <a:avLst/>
          </a:prstGeom>
        </p:spPr>
        <p:txBody>
          <a:bodyPr lIns="0" tIns="0" rIns="0" bIns="0"/>
          <a:lstStyle>
            <a:lvl1pPr marL="355600" indent="-355600" eaLnBrk="1" hangingPunct="1">
              <a:lnSpc>
                <a:spcPct val="113000"/>
              </a:lnSpc>
              <a:buClr>
                <a:srgbClr val="000000"/>
              </a:buClr>
              <a:tabLst>
                <a:tab pos="719138" algn="l"/>
                <a:tab pos="1252538" algn="l"/>
              </a:tabLst>
              <a:defRPr sz="1200" baseline="0"/>
            </a:lvl1pPr>
            <a:lvl2pPr eaLnBrk="1" hangingPunct="1">
              <a:lnSpc>
                <a:spcPct val="113000"/>
              </a:lnSpc>
              <a:buClr>
                <a:srgbClr val="000000"/>
              </a:buClr>
              <a:defRPr sz="1200"/>
            </a:lvl2pPr>
            <a:lvl3pPr eaLnBrk="1" hangingPunct="1">
              <a:lnSpc>
                <a:spcPct val="113000"/>
              </a:lnSpc>
              <a:buClr>
                <a:srgbClr val="000000"/>
              </a:buClr>
              <a:defRPr sz="1200"/>
            </a:lvl3pPr>
            <a:lvl4pPr eaLnBrk="1" hangingPunct="1">
              <a:lnSpc>
                <a:spcPct val="113000"/>
              </a:lnSpc>
              <a:buClr>
                <a:srgbClr val="000000"/>
              </a:buClr>
              <a:defRPr sz="1200"/>
            </a:lvl4pPr>
          </a:lstStyle>
          <a:p>
            <a:pPr eaLnBrk="1" hangingPunct="1">
              <a:buClr>
                <a:srgbClr val="000000"/>
              </a:buClr>
              <a:defRPr/>
            </a:pPr>
            <a:r>
              <a:rPr lang="en-US" dirty="0" smtClean="0"/>
              <a:t>Arial 12pt</a:t>
            </a:r>
          </a:p>
          <a:p>
            <a:pPr eaLnBrk="1" hangingPunct="1">
              <a:buClr>
                <a:srgbClr val="000000"/>
              </a:buClr>
              <a:defRPr/>
            </a:pPr>
            <a:r>
              <a:rPr lang="en-US" dirty="0" smtClean="0"/>
              <a:t>1. </a:t>
            </a:r>
            <a:r>
              <a:rPr lang="en-US" dirty="0" err="1" smtClean="0"/>
              <a:t>Zweite</a:t>
            </a:r>
            <a:r>
              <a:rPr lang="en-US" dirty="0" smtClean="0"/>
              <a:t> </a:t>
            </a:r>
            <a:r>
              <a:rPr lang="en-US" dirty="0" err="1" smtClean="0"/>
              <a:t>Ebene</a:t>
            </a:r>
            <a:r>
              <a:rPr lang="en-US" dirty="0" smtClean="0"/>
              <a:t> </a:t>
            </a:r>
            <a:r>
              <a:rPr lang="en-US" dirty="0" err="1" smtClean="0"/>
              <a:t>mit</a:t>
            </a:r>
            <a:r>
              <a:rPr lang="en-US" dirty="0" smtClean="0"/>
              <a:t> </a:t>
            </a:r>
            <a:r>
              <a:rPr lang="en-US" dirty="0" err="1" smtClean="0"/>
              <a:t>Nummern</a:t>
            </a:r>
            <a:endParaRPr lang="en-US" dirty="0" smtClean="0"/>
          </a:p>
          <a:p>
            <a:pPr eaLnBrk="1" hangingPunct="1">
              <a:buClr>
                <a:srgbClr val="000000"/>
              </a:buClr>
              <a:defRPr/>
            </a:pPr>
            <a:r>
              <a:rPr lang="en-US" dirty="0" smtClean="0"/>
              <a:t>	a. </a:t>
            </a:r>
            <a:r>
              <a:rPr lang="en-US" dirty="0" err="1" smtClean="0"/>
              <a:t>Dritte</a:t>
            </a:r>
            <a:r>
              <a:rPr lang="en-US" dirty="0" smtClean="0"/>
              <a:t> </a:t>
            </a:r>
            <a:r>
              <a:rPr lang="en-US" dirty="0" err="1" smtClean="0"/>
              <a:t>Ebene</a:t>
            </a:r>
            <a:r>
              <a:rPr lang="en-US" dirty="0" smtClean="0"/>
              <a:t> </a:t>
            </a:r>
            <a:r>
              <a:rPr lang="en-US" dirty="0" err="1" smtClean="0"/>
              <a:t>mit</a:t>
            </a:r>
            <a:r>
              <a:rPr lang="en-US" dirty="0" smtClean="0"/>
              <a:t> </a:t>
            </a:r>
            <a:r>
              <a:rPr lang="en-US" dirty="0" err="1" smtClean="0"/>
              <a:t>alphabetischen</a:t>
            </a:r>
            <a:r>
              <a:rPr lang="en-US" dirty="0" smtClean="0"/>
              <a:t> </a:t>
            </a:r>
            <a:r>
              <a:rPr lang="en-US" dirty="0" err="1" smtClean="0"/>
              <a:t>Nummern</a:t>
            </a:r>
            <a:r>
              <a:rPr lang="en-US" dirty="0" smtClean="0"/>
              <a:t/>
            </a:r>
            <a:br>
              <a:rPr lang="en-US" dirty="0" smtClean="0"/>
            </a:br>
            <a:r>
              <a:rPr lang="en-US" dirty="0" smtClean="0"/>
              <a:t>	</a:t>
            </a:r>
            <a:r>
              <a:rPr lang="en-US" dirty="0" err="1" smtClean="0"/>
              <a:t>i</a:t>
            </a:r>
            <a:r>
              <a:rPr lang="en-US" dirty="0" smtClean="0"/>
              <a:t>. </a:t>
            </a:r>
            <a:r>
              <a:rPr lang="en-US" dirty="0" err="1" smtClean="0"/>
              <a:t>Vierte</a:t>
            </a:r>
            <a:r>
              <a:rPr lang="en-US" dirty="0" smtClean="0"/>
              <a:t> </a:t>
            </a:r>
            <a:r>
              <a:rPr lang="en-US" dirty="0" err="1" smtClean="0"/>
              <a:t>Ebene</a:t>
            </a:r>
            <a:r>
              <a:rPr lang="en-US" dirty="0" smtClean="0"/>
              <a:t> </a:t>
            </a:r>
            <a:r>
              <a:rPr lang="en-US" dirty="0" err="1" smtClean="0"/>
              <a:t>mit</a:t>
            </a:r>
            <a:r>
              <a:rPr lang="en-US" dirty="0" smtClean="0"/>
              <a:t> </a:t>
            </a:r>
            <a:r>
              <a:rPr lang="en-US" dirty="0" err="1" smtClean="0"/>
              <a:t>römischen</a:t>
            </a:r>
            <a:r>
              <a:rPr lang="en-US" dirty="0" smtClean="0"/>
              <a:t> </a:t>
            </a:r>
            <a:r>
              <a:rPr lang="en-US" dirty="0" err="1" smtClean="0"/>
              <a:t>Nummern</a:t>
            </a:r>
            <a:endParaRPr lang="en-US" dirty="0" smtClean="0"/>
          </a:p>
        </p:txBody>
      </p:sp>
      <p:sp>
        <p:nvSpPr>
          <p:cNvPr id="9" name="Inhaltsplatzhalter 8"/>
          <p:cNvSpPr>
            <a:spLocks noGrp="1"/>
          </p:cNvSpPr>
          <p:nvPr>
            <p:ph sz="quarter" idx="14" hasCustomPrompt="1"/>
          </p:nvPr>
        </p:nvSpPr>
        <p:spPr>
          <a:xfrm>
            <a:off x="631825" y="1567944"/>
            <a:ext cx="4212000" cy="5029706"/>
          </a:xfrm>
          <a:prstGeom prst="rect">
            <a:avLst/>
          </a:prstGeom>
        </p:spPr>
        <p:txBody>
          <a:bodyPr lIns="0" tIns="0" rIns="0" bIns="0"/>
          <a:lstStyle>
            <a:lvl1pPr marL="355600" indent="-355600" eaLnBrk="1" hangingPunct="1">
              <a:lnSpc>
                <a:spcPct val="113000"/>
              </a:lnSpc>
              <a:buClr>
                <a:srgbClr val="000000"/>
              </a:buClr>
              <a:tabLst>
                <a:tab pos="719138" algn="l"/>
              </a:tabLst>
              <a:defRPr sz="1200"/>
            </a:lvl1pPr>
            <a:lvl2pPr eaLnBrk="1" hangingPunct="1">
              <a:lnSpc>
                <a:spcPct val="113000"/>
              </a:lnSpc>
              <a:buClr>
                <a:srgbClr val="000000"/>
              </a:buClr>
              <a:defRPr sz="1200"/>
            </a:lvl2pPr>
            <a:lvl3pPr eaLnBrk="1" hangingPunct="1">
              <a:lnSpc>
                <a:spcPct val="113000"/>
              </a:lnSpc>
              <a:buClr>
                <a:srgbClr val="000000"/>
              </a:buClr>
              <a:defRPr sz="1200"/>
            </a:lvl3pPr>
            <a:lvl4pPr eaLnBrk="1" hangingPunct="1">
              <a:lnSpc>
                <a:spcPct val="113000"/>
              </a:lnSpc>
              <a:buClr>
                <a:srgbClr val="000000"/>
              </a:buClr>
              <a:defRPr sz="1200"/>
            </a:lvl4pPr>
          </a:lstStyle>
          <a:p>
            <a:pPr eaLnBrk="1" hangingPunct="1">
              <a:buClr>
                <a:srgbClr val="000000"/>
              </a:buClr>
              <a:defRPr/>
            </a:pPr>
            <a:r>
              <a:rPr lang="en-US" dirty="0" smtClean="0"/>
              <a:t>Arial 12pt</a:t>
            </a:r>
          </a:p>
          <a:p>
            <a:pPr eaLnBrk="1" hangingPunct="1">
              <a:buClr>
                <a:srgbClr val="000000"/>
              </a:buClr>
              <a:defRPr/>
            </a:pPr>
            <a:r>
              <a:rPr lang="en-US" dirty="0" smtClean="0"/>
              <a:t>1. </a:t>
            </a:r>
            <a:r>
              <a:rPr lang="en-US" dirty="0" err="1" smtClean="0"/>
              <a:t>Zweite</a:t>
            </a:r>
            <a:r>
              <a:rPr lang="en-US" dirty="0" smtClean="0"/>
              <a:t> </a:t>
            </a:r>
            <a:r>
              <a:rPr lang="en-US" dirty="0" err="1" smtClean="0"/>
              <a:t>Ebene</a:t>
            </a:r>
            <a:r>
              <a:rPr lang="en-US" dirty="0" smtClean="0"/>
              <a:t> </a:t>
            </a:r>
            <a:r>
              <a:rPr lang="en-US" dirty="0" err="1" smtClean="0"/>
              <a:t>mit</a:t>
            </a:r>
            <a:r>
              <a:rPr lang="en-US" dirty="0" smtClean="0"/>
              <a:t> </a:t>
            </a:r>
            <a:r>
              <a:rPr lang="en-US" dirty="0" err="1" smtClean="0"/>
              <a:t>Nummern</a:t>
            </a:r>
            <a:endParaRPr lang="en-US" dirty="0" smtClean="0"/>
          </a:p>
          <a:p>
            <a:pPr eaLnBrk="1" hangingPunct="1">
              <a:buClr>
                <a:srgbClr val="000000"/>
              </a:buClr>
              <a:defRPr/>
            </a:pPr>
            <a:r>
              <a:rPr lang="en-US" dirty="0" smtClean="0"/>
              <a:t>	a. </a:t>
            </a:r>
            <a:r>
              <a:rPr lang="en-US" dirty="0" err="1" smtClean="0"/>
              <a:t>Dritte</a:t>
            </a:r>
            <a:r>
              <a:rPr lang="en-US" dirty="0" smtClean="0"/>
              <a:t> </a:t>
            </a:r>
            <a:r>
              <a:rPr lang="en-US" dirty="0" err="1" smtClean="0"/>
              <a:t>Ebene</a:t>
            </a:r>
            <a:r>
              <a:rPr lang="en-US" dirty="0" smtClean="0"/>
              <a:t> </a:t>
            </a:r>
            <a:r>
              <a:rPr lang="en-US" dirty="0" err="1" smtClean="0"/>
              <a:t>mit</a:t>
            </a:r>
            <a:r>
              <a:rPr lang="en-US" dirty="0" smtClean="0"/>
              <a:t> </a:t>
            </a:r>
            <a:r>
              <a:rPr lang="en-US" dirty="0" err="1" smtClean="0"/>
              <a:t>alphabetischen</a:t>
            </a:r>
            <a:r>
              <a:rPr lang="en-US" dirty="0" smtClean="0"/>
              <a:t> </a:t>
            </a:r>
            <a:r>
              <a:rPr lang="en-US" dirty="0" err="1" smtClean="0"/>
              <a:t>Nummern</a:t>
            </a:r>
            <a:r>
              <a:rPr lang="en-US" dirty="0" smtClean="0"/>
              <a:t/>
            </a:r>
            <a:br>
              <a:rPr lang="en-US" dirty="0" smtClean="0"/>
            </a:br>
            <a:r>
              <a:rPr lang="en-US" dirty="0" smtClean="0"/>
              <a:t>	</a:t>
            </a:r>
            <a:r>
              <a:rPr lang="en-US" dirty="0" err="1" smtClean="0"/>
              <a:t>i</a:t>
            </a:r>
            <a:r>
              <a:rPr lang="en-US" dirty="0" smtClean="0"/>
              <a:t>. </a:t>
            </a:r>
            <a:r>
              <a:rPr lang="en-US" dirty="0" err="1" smtClean="0"/>
              <a:t>Vierte</a:t>
            </a:r>
            <a:r>
              <a:rPr lang="en-US" dirty="0" smtClean="0"/>
              <a:t> </a:t>
            </a:r>
            <a:r>
              <a:rPr lang="en-US" dirty="0" err="1" smtClean="0"/>
              <a:t>Ebene</a:t>
            </a:r>
            <a:r>
              <a:rPr lang="en-US" dirty="0" smtClean="0"/>
              <a:t> </a:t>
            </a:r>
            <a:r>
              <a:rPr lang="en-US" dirty="0" err="1" smtClean="0"/>
              <a:t>mit</a:t>
            </a:r>
            <a:r>
              <a:rPr lang="en-US" dirty="0" smtClean="0"/>
              <a:t> </a:t>
            </a:r>
            <a:r>
              <a:rPr lang="en-US" dirty="0" err="1" smtClean="0"/>
              <a:t>römischen</a:t>
            </a:r>
            <a:r>
              <a:rPr lang="en-US" dirty="0" smtClean="0"/>
              <a:t> </a:t>
            </a:r>
            <a:r>
              <a:rPr lang="en-US" dirty="0" err="1" smtClean="0"/>
              <a:t>Nummern</a:t>
            </a:r>
            <a:endParaRPr lang="en-US" dirty="0" smtClean="0"/>
          </a:p>
        </p:txBody>
      </p:sp>
      <p:sp>
        <p:nvSpPr>
          <p:cNvPr id="6" name="Titel 1"/>
          <p:cNvSpPr>
            <a:spLocks noGrp="1"/>
          </p:cNvSpPr>
          <p:nvPr>
            <p:ph type="title" hasCustomPrompt="1"/>
          </p:nvPr>
        </p:nvSpPr>
        <p:spPr>
          <a:xfrm>
            <a:off x="631825" y="765175"/>
            <a:ext cx="8642350" cy="611188"/>
          </a:xfrm>
        </p:spPr>
        <p:txBody>
          <a:bodyPr/>
          <a:lstStyle>
            <a:lvl1pPr>
              <a:defRPr baseline="0"/>
            </a:lvl1pPr>
          </a:lstStyle>
          <a:p>
            <a:r>
              <a:rPr lang="en-US" noProof="0" dirty="0" smtClean="0"/>
              <a:t>Title: Arial 20 </a:t>
            </a:r>
            <a:r>
              <a:rPr lang="en-US" noProof="0" dirty="0" err="1" smtClean="0"/>
              <a:t>pt</a:t>
            </a:r>
            <a:r>
              <a:rPr lang="en-US" noProof="0" dirty="0" smtClean="0"/>
              <a:t>, </a:t>
            </a:r>
            <a:r>
              <a:rPr lang="en-US" noProof="0" dirty="0" err="1" smtClean="0"/>
              <a:t>fett</a:t>
            </a:r>
            <a:r>
              <a:rPr lang="en-US" noProof="0" dirty="0" smtClean="0"/>
              <a:t>, maximal 2 </a:t>
            </a:r>
            <a:r>
              <a:rPr lang="en-US" noProof="0" dirty="0" err="1" smtClean="0"/>
              <a:t>Zeilen</a:t>
            </a:r>
            <a:endParaRPr lang="en-US" noProof="0" dirty="0"/>
          </a:p>
        </p:txBody>
      </p:sp>
      <p:sp>
        <p:nvSpPr>
          <p:cNvPr id="7" name="Text Placeholder 10"/>
          <p:cNvSpPr>
            <a:spLocks noGrp="1"/>
          </p:cNvSpPr>
          <p:nvPr>
            <p:ph type="body" sz="quarter" idx="10" hasCustomPrompt="1"/>
          </p:nvPr>
        </p:nvSpPr>
        <p:spPr>
          <a:xfrm>
            <a:off x="631824" y="6624000"/>
            <a:ext cx="8642351" cy="140400"/>
          </a:xfrm>
          <a:prstGeom prst="rect">
            <a:avLst/>
          </a:prstGeom>
        </p:spPr>
        <p:txBody>
          <a:bodyPr lIns="0" tIns="0" rIns="0" bIns="0" anchor="b">
            <a:noAutofit/>
          </a:bodyPr>
          <a:lstStyle>
            <a:lvl1pPr>
              <a:spcAft>
                <a:spcPts val="0"/>
              </a:spcAft>
              <a:defRPr sz="800"/>
            </a:lvl1pPr>
            <a:lvl2pPr>
              <a:defRPr sz="700"/>
            </a:lvl2pPr>
            <a:lvl3pPr>
              <a:defRPr sz="700"/>
            </a:lvl3pPr>
            <a:lvl4pPr>
              <a:defRPr sz="700"/>
            </a:lvl4pPr>
            <a:lvl5pPr>
              <a:defRPr sz="700"/>
            </a:lvl5pPr>
          </a:lstStyle>
          <a:p>
            <a:pPr lvl="0"/>
            <a:r>
              <a:rPr lang="de-CH" noProof="0" dirty="0" smtClean="0"/>
              <a:t>Fussnote / Dokumenttitel</a:t>
            </a:r>
          </a:p>
        </p:txBody>
      </p:sp>
    </p:spTree>
    <p:extLst>
      <p:ext uri="{BB962C8B-B14F-4D97-AF65-F5344CB8AC3E}">
        <p14:creationId xmlns:p14="http://schemas.microsoft.com/office/powerpoint/2010/main" val="1335151398"/>
      </p:ext>
    </p:extLst>
  </p:cSld>
  <p:clrMapOvr>
    <a:masterClrMapping/>
  </p:clrMapOvr>
  <p:transition spd="slow"/>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Zwischentitel">
    <p:spTree>
      <p:nvGrpSpPr>
        <p:cNvPr id="1" name=""/>
        <p:cNvGrpSpPr/>
        <p:nvPr/>
      </p:nvGrpSpPr>
      <p:grpSpPr>
        <a:xfrm>
          <a:off x="0" y="0"/>
          <a:ext cx="0" cy="0"/>
          <a:chOff x="0" y="0"/>
          <a:chExt cx="0" cy="0"/>
        </a:xfrm>
      </p:grpSpPr>
      <p:sp>
        <p:nvSpPr>
          <p:cNvPr id="7" name="Text Placeholder 10"/>
          <p:cNvSpPr>
            <a:spLocks noGrp="1"/>
          </p:cNvSpPr>
          <p:nvPr>
            <p:ph type="body" sz="quarter" idx="10" hasCustomPrompt="1"/>
            <p:custDataLst>
              <p:tags r:id="rId1"/>
            </p:custDataLst>
          </p:nvPr>
        </p:nvSpPr>
        <p:spPr>
          <a:xfrm>
            <a:off x="633600" y="3024000"/>
            <a:ext cx="8640000" cy="694800"/>
          </a:xfrm>
          <a:prstGeom prst="rect">
            <a:avLst/>
          </a:prstGeom>
        </p:spPr>
        <p:txBody>
          <a:bodyPr lIns="0"/>
          <a:lstStyle>
            <a:lvl1pPr marL="0" indent="0" algn="ctr">
              <a:lnSpc>
                <a:spcPct val="113000"/>
              </a:lnSpc>
              <a:spcAft>
                <a:spcPts val="600"/>
              </a:spcAft>
              <a:buNone/>
              <a:defRPr sz="1400" b="0" baseline="0">
                <a:solidFill>
                  <a:schemeClr val="tx1"/>
                </a:solidFill>
              </a:defRPr>
            </a:lvl1pPr>
          </a:lstStyle>
          <a:p>
            <a:pPr lvl="0"/>
            <a:r>
              <a:rPr lang="en-US" noProof="0" dirty="0" err="1" smtClean="0"/>
              <a:t>Untertitel</a:t>
            </a:r>
            <a:r>
              <a:rPr lang="en-US" noProof="0" dirty="0" smtClean="0"/>
              <a:t>: Arial 14pt, </a:t>
            </a:r>
            <a:r>
              <a:rPr lang="en-US" noProof="0" dirty="0" err="1" smtClean="0"/>
              <a:t>nicht</a:t>
            </a:r>
            <a:r>
              <a:rPr lang="en-US" noProof="0" dirty="0" smtClean="0"/>
              <a:t> </a:t>
            </a:r>
            <a:r>
              <a:rPr lang="en-US" noProof="0" dirty="0" err="1" smtClean="0"/>
              <a:t>fett</a:t>
            </a:r>
            <a:endParaRPr lang="en-US" noProof="0" dirty="0" smtClean="0"/>
          </a:p>
        </p:txBody>
      </p:sp>
      <p:sp>
        <p:nvSpPr>
          <p:cNvPr id="8" name="Title 18"/>
          <p:cNvSpPr>
            <a:spLocks noGrp="1"/>
          </p:cNvSpPr>
          <p:nvPr>
            <p:ph type="title" hasCustomPrompt="1"/>
            <p:custDataLst>
              <p:tags r:id="rId2"/>
            </p:custDataLst>
          </p:nvPr>
        </p:nvSpPr>
        <p:spPr>
          <a:xfrm>
            <a:off x="633600" y="2059200"/>
            <a:ext cx="8640000" cy="770400"/>
          </a:xfrm>
          <a:prstGeom prst="rect">
            <a:avLst/>
          </a:prstGeom>
        </p:spPr>
        <p:txBody>
          <a:bodyPr anchor="b"/>
          <a:lstStyle>
            <a:lvl1pPr>
              <a:lnSpc>
                <a:spcPct val="113000"/>
              </a:lnSpc>
              <a:spcAft>
                <a:spcPts val="0"/>
              </a:spcAft>
              <a:defRPr sz="1800" baseline="0">
                <a:solidFill>
                  <a:schemeClr val="tx1"/>
                </a:solidFill>
              </a:defRPr>
            </a:lvl1pPr>
          </a:lstStyle>
          <a:p>
            <a:r>
              <a:rPr lang="en-US" noProof="0" dirty="0" err="1" smtClean="0"/>
              <a:t>Titel</a:t>
            </a:r>
            <a:r>
              <a:rPr lang="en-US" noProof="0" dirty="0" smtClean="0"/>
              <a:t>: </a:t>
            </a:r>
            <a:r>
              <a:rPr lang="en-US" dirty="0" smtClean="0"/>
              <a:t>Arial </a:t>
            </a:r>
            <a:r>
              <a:rPr lang="en-US" noProof="0" dirty="0" smtClean="0"/>
              <a:t>18 </a:t>
            </a:r>
            <a:r>
              <a:rPr lang="en-US" noProof="0" dirty="0" err="1" smtClean="0"/>
              <a:t>pt</a:t>
            </a:r>
            <a:r>
              <a:rPr lang="en-US" noProof="0" dirty="0" smtClean="0"/>
              <a:t>, </a:t>
            </a:r>
            <a:r>
              <a:rPr lang="en-US" noProof="0" dirty="0" err="1" smtClean="0"/>
              <a:t>fett</a:t>
            </a:r>
            <a:endParaRPr lang="en-US" noProof="0" dirty="0"/>
          </a:p>
        </p:txBody>
      </p:sp>
      <p:sp>
        <p:nvSpPr>
          <p:cNvPr id="14" name="Line 127"/>
          <p:cNvSpPr>
            <a:spLocks noChangeShapeType="1"/>
          </p:cNvSpPr>
          <p:nvPr userDrawn="1"/>
        </p:nvSpPr>
        <p:spPr bwMode="auto">
          <a:xfrm>
            <a:off x="-600" y="442333"/>
            <a:ext cx="9907200" cy="0"/>
          </a:xfrm>
          <a:prstGeom prst="line">
            <a:avLst/>
          </a:prstGeom>
          <a:noFill/>
          <a:ln w="19050">
            <a:solidFill>
              <a:schemeClr val="accent4"/>
            </a:solidFill>
            <a:round/>
            <a:headEnd/>
            <a:tailEnd/>
          </a:ln>
          <a:effectLst/>
        </p:spPr>
        <p:txBody>
          <a:bodyPr wrap="none" anchor="ctr"/>
          <a:lstStyle/>
          <a:p>
            <a:pPr>
              <a:defRPr/>
            </a:pPr>
            <a:endParaRPr lang="en-US" dirty="0">
              <a:solidFill>
                <a:srgbClr val="000000"/>
              </a:solidFill>
            </a:endParaRPr>
          </a:p>
        </p:txBody>
      </p:sp>
      <p:pic>
        <p:nvPicPr>
          <p:cNvPr id="10" name="Grafik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499835" y="114915"/>
            <a:ext cx="774000" cy="227799"/>
          </a:xfrm>
          <a:prstGeom prst="rect">
            <a:avLst/>
          </a:prstGeom>
        </p:spPr>
      </p:pic>
      <p:sp>
        <p:nvSpPr>
          <p:cNvPr id="13" name="Text Box 114"/>
          <p:cNvSpPr txBox="1">
            <a:spLocks noChangeArrowheads="1"/>
          </p:cNvSpPr>
          <p:nvPr userDrawn="1">
            <p:custDataLst>
              <p:tags r:id="rId3"/>
            </p:custDataLst>
          </p:nvPr>
        </p:nvSpPr>
        <p:spPr bwMode="auto">
          <a:xfrm>
            <a:off x="9305029" y="6624000"/>
            <a:ext cx="458858" cy="140311"/>
          </a:xfrm>
          <a:prstGeom prst="rect">
            <a:avLst/>
          </a:prstGeom>
          <a:noFill/>
          <a:ln w="12700">
            <a:noFill/>
            <a:miter lim="800000"/>
            <a:headEnd/>
            <a:tailEnd/>
          </a:ln>
          <a:effectLst/>
        </p:spPr>
        <p:txBody>
          <a:bodyPr wrap="none" lIns="0" tIns="0" rIns="0" bIns="0" anchor="b" anchorCtr="0">
            <a:noAutofit/>
          </a:bodyPr>
          <a:lstStyle/>
          <a:p>
            <a:pPr>
              <a:spcAft>
                <a:spcPct val="0"/>
              </a:spcAft>
              <a:tabLst>
                <a:tab pos="95249" algn="l"/>
              </a:tabLst>
            </a:pPr>
            <a:r>
              <a:rPr lang="en-US" sz="700" dirty="0" err="1" smtClean="0">
                <a:solidFill>
                  <a:srgbClr val="000000"/>
                </a:solidFill>
                <a:latin typeface="Arial" panose="020B0604020202020204" pitchFamily="34" charset="0"/>
                <a:cs typeface="Arial" panose="020B0604020202020204" pitchFamily="34" charset="0"/>
              </a:rPr>
              <a:t>Seite</a:t>
            </a:r>
            <a:r>
              <a:rPr lang="en-US" sz="700" dirty="0" smtClean="0">
                <a:solidFill>
                  <a:srgbClr val="000000"/>
                </a:solidFill>
                <a:latin typeface="Arial" panose="020B0604020202020204" pitchFamily="34" charset="0"/>
                <a:cs typeface="Arial" panose="020B0604020202020204" pitchFamily="34" charset="0"/>
              </a:rPr>
              <a:t> </a:t>
            </a:r>
            <a:fld id="{F3FE6D16-D978-4CD7-AD58-EC27A530E682}" type="slidenum">
              <a:rPr lang="en-US" sz="700" smtClean="0">
                <a:solidFill>
                  <a:srgbClr val="000000"/>
                </a:solidFill>
                <a:latin typeface="Arial" panose="020B0604020202020204" pitchFamily="34" charset="0"/>
                <a:cs typeface="Arial" panose="020B0604020202020204" pitchFamily="34" charset="0"/>
              </a:rPr>
              <a:pPr>
                <a:spcAft>
                  <a:spcPct val="0"/>
                </a:spcAft>
                <a:tabLst>
                  <a:tab pos="95249" algn="l"/>
                </a:tabLst>
              </a:pPr>
              <a:t>‹Nr.›</a:t>
            </a:fld>
            <a:endParaRPr lang="en-US" sz="700" dirty="0">
              <a:solidFill>
                <a:srgbClr val="000000"/>
              </a:solidFill>
              <a:latin typeface="Arial" panose="020B0604020202020204" pitchFamily="34" charset="0"/>
              <a:cs typeface="Arial" panose="020B0604020202020204" pitchFamily="34" charset="0"/>
            </a:endParaRPr>
          </a:p>
        </p:txBody>
      </p:sp>
      <p:sp>
        <p:nvSpPr>
          <p:cNvPr id="9" name="Malik Year"/>
          <p:cNvSpPr/>
          <p:nvPr userDrawn="1"/>
        </p:nvSpPr>
        <p:spPr bwMode="auto">
          <a:xfrm>
            <a:off x="8560425" y="480397"/>
            <a:ext cx="714375" cy="123111"/>
          </a:xfrm>
          <a:prstGeom prst="rect">
            <a:avLst/>
          </a:prstGeom>
          <a:solidFill>
            <a:schemeClr val="bg1"/>
          </a:solidFill>
          <a:ln w="127">
            <a:noFill/>
            <a:miter lim="800000"/>
            <a:headEnd/>
            <a:tailEnd/>
          </a:ln>
          <a:effectLst/>
        </p:spPr>
        <p:txBody>
          <a:bodyPr lIns="0" tIns="0" rIns="18000" bIns="0" anchor="ctr">
            <a:spAutoFit/>
          </a:bodyPr>
          <a:lstStyle/>
          <a:p>
            <a:pPr algn="r">
              <a:spcAft>
                <a:spcPct val="0"/>
              </a:spcAft>
              <a:tabLst>
                <a:tab pos="95249" algn="l"/>
              </a:tabLst>
            </a:pPr>
            <a:r>
              <a:rPr lang="en-US" sz="800" noProof="0" dirty="0" smtClean="0">
                <a:solidFill>
                  <a:srgbClr val="000000"/>
                </a:solidFill>
                <a:latin typeface="Arial" panose="020B0604020202020204" pitchFamily="34" charset="0"/>
                <a:cs typeface="Arial" panose="020B0604020202020204" pitchFamily="34" charset="0"/>
              </a:rPr>
              <a:t>© Malik </a:t>
            </a:r>
            <a:r>
              <a:rPr lang="en-US" sz="800" noProof="0" dirty="0" smtClean="0">
                <a:solidFill>
                  <a:srgbClr val="000000"/>
                </a:solidFill>
                <a:latin typeface="Arial" panose="020B0604020202020204" pitchFamily="34" charset="0"/>
                <a:cs typeface="Arial" panose="020B0604020202020204" pitchFamily="34" charset="0"/>
              </a:rPr>
              <a:t>2019</a:t>
            </a:r>
            <a:endParaRPr lang="en-US" sz="800" noProof="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24713740"/>
      </p:ext>
    </p:extLst>
  </p:cSld>
  <p:clrMapOvr>
    <a:masterClrMapping/>
  </p:clrMapOvr>
  <p:transition spd="slow"/>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4" name="Rectangle 109"/>
          <p:cNvSpPr>
            <a:spLocks noGrp="1" noChangeArrowheads="1"/>
          </p:cNvSpPr>
          <p:nvPr>
            <p:ph type="title"/>
            <p:custDataLst>
              <p:tags r:id="rId18"/>
            </p:custDataLst>
          </p:nvPr>
        </p:nvSpPr>
        <p:spPr bwMode="auto">
          <a:xfrm>
            <a:off x="631825" y="766799"/>
            <a:ext cx="8642350" cy="609563"/>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p>
            <a:pPr lvl="0"/>
            <a:r>
              <a:rPr lang="en-US" noProof="0" dirty="0" smtClean="0"/>
              <a:t>Title: Arial 20 </a:t>
            </a:r>
            <a:r>
              <a:rPr lang="en-US" noProof="0" dirty="0" err="1" smtClean="0"/>
              <a:t>pt</a:t>
            </a:r>
            <a:r>
              <a:rPr lang="en-US" noProof="0" dirty="0" smtClean="0"/>
              <a:t>, </a:t>
            </a:r>
            <a:r>
              <a:rPr lang="en-US" noProof="0" dirty="0" err="1" smtClean="0"/>
              <a:t>fett</a:t>
            </a:r>
            <a:r>
              <a:rPr lang="en-US" noProof="0" dirty="0" smtClean="0"/>
              <a:t>, maximal 2 </a:t>
            </a:r>
            <a:r>
              <a:rPr lang="en-US" noProof="0" dirty="0" err="1" smtClean="0"/>
              <a:t>Zeilen</a:t>
            </a:r>
            <a:endParaRPr lang="en-US" noProof="0" dirty="0"/>
          </a:p>
        </p:txBody>
      </p:sp>
      <p:sp>
        <p:nvSpPr>
          <p:cNvPr id="27" name="Line 127"/>
          <p:cNvSpPr>
            <a:spLocks noChangeShapeType="1"/>
          </p:cNvSpPr>
          <p:nvPr userDrawn="1"/>
        </p:nvSpPr>
        <p:spPr bwMode="auto">
          <a:xfrm>
            <a:off x="-600" y="442333"/>
            <a:ext cx="9907200" cy="0"/>
          </a:xfrm>
          <a:prstGeom prst="line">
            <a:avLst/>
          </a:prstGeom>
          <a:noFill/>
          <a:ln w="19050">
            <a:solidFill>
              <a:schemeClr val="accent4"/>
            </a:solidFill>
            <a:round/>
            <a:headEnd/>
            <a:tailEnd/>
          </a:ln>
          <a:effectLst/>
        </p:spPr>
        <p:txBody>
          <a:bodyPr wrap="none" anchor="ctr"/>
          <a:lstStyle/>
          <a:p>
            <a:pPr>
              <a:defRPr/>
            </a:pPr>
            <a:endParaRPr lang="en-US" noProof="0" dirty="0">
              <a:solidFill>
                <a:srgbClr val="000000"/>
              </a:solidFill>
            </a:endParaRPr>
          </a:p>
        </p:txBody>
      </p:sp>
      <p:sp>
        <p:nvSpPr>
          <p:cNvPr id="2" name="Textplatzhalter 1"/>
          <p:cNvSpPr>
            <a:spLocks noGrp="1"/>
          </p:cNvSpPr>
          <p:nvPr>
            <p:ph type="body" idx="1"/>
          </p:nvPr>
        </p:nvSpPr>
        <p:spPr>
          <a:xfrm>
            <a:off x="631200" y="1564102"/>
            <a:ext cx="8643600" cy="5040000"/>
          </a:xfrm>
          <a:prstGeom prst="rect">
            <a:avLst/>
          </a:prstGeom>
        </p:spPr>
        <p:txBody>
          <a:bodyPr vert="horz" lIns="0" tIns="0" rIns="0" bIns="0" rtlCol="0">
            <a:noAutofit/>
          </a:bodyPr>
          <a:lstStyle/>
          <a:p>
            <a:pPr eaLnBrk="1" hangingPunct="1">
              <a:buClr>
                <a:srgbClr val="000000"/>
              </a:buClr>
              <a:defRPr/>
            </a:pPr>
            <a:r>
              <a:rPr lang="en-US" dirty="0" smtClean="0"/>
              <a:t>Text auf </a:t>
            </a:r>
            <a:r>
              <a:rPr lang="en-US" dirty="0" err="1" smtClean="0"/>
              <a:t>erster</a:t>
            </a:r>
            <a:r>
              <a:rPr lang="en-US" dirty="0" smtClean="0"/>
              <a:t> </a:t>
            </a:r>
            <a:r>
              <a:rPr lang="en-US" dirty="0" err="1" smtClean="0"/>
              <a:t>Ebene</a:t>
            </a:r>
            <a:r>
              <a:rPr lang="en-US" dirty="0" smtClean="0"/>
              <a:t> </a:t>
            </a:r>
            <a:r>
              <a:rPr lang="en-US" dirty="0" err="1" smtClean="0"/>
              <a:t>ohne</a:t>
            </a:r>
            <a:r>
              <a:rPr lang="en-US" dirty="0" smtClean="0"/>
              <a:t> </a:t>
            </a:r>
            <a:r>
              <a:rPr lang="en-US" dirty="0" err="1" smtClean="0"/>
              <a:t>Nummeriung</a:t>
            </a:r>
            <a:r>
              <a:rPr lang="en-US" dirty="0" smtClean="0"/>
              <a:t>: Arial 12pt</a:t>
            </a:r>
          </a:p>
          <a:p>
            <a:pPr eaLnBrk="1" hangingPunct="1">
              <a:buClr>
                <a:srgbClr val="000000"/>
              </a:buClr>
              <a:defRPr/>
            </a:pPr>
            <a:r>
              <a:rPr lang="en-US" dirty="0" smtClean="0"/>
              <a:t>1. Text auf </a:t>
            </a:r>
            <a:r>
              <a:rPr lang="en-US" dirty="0" err="1" smtClean="0"/>
              <a:t>zweiter</a:t>
            </a:r>
            <a:r>
              <a:rPr lang="en-US" dirty="0" smtClean="0"/>
              <a:t> </a:t>
            </a:r>
            <a:r>
              <a:rPr lang="en-US" dirty="0" err="1" smtClean="0"/>
              <a:t>Ebene</a:t>
            </a:r>
            <a:r>
              <a:rPr lang="en-US" dirty="0" smtClean="0"/>
              <a:t> </a:t>
            </a:r>
            <a:r>
              <a:rPr lang="en-US" dirty="0" err="1" smtClean="0"/>
              <a:t>mit</a:t>
            </a:r>
            <a:r>
              <a:rPr lang="en-US" dirty="0" smtClean="0"/>
              <a:t> </a:t>
            </a:r>
            <a:r>
              <a:rPr lang="en-US" dirty="0" err="1" smtClean="0"/>
              <a:t>Nummerierung</a:t>
            </a:r>
            <a:r>
              <a:rPr lang="en-US" dirty="0" smtClean="0"/>
              <a:t> </a:t>
            </a:r>
            <a:br>
              <a:rPr lang="en-US" dirty="0" smtClean="0"/>
            </a:br>
            <a:r>
              <a:rPr lang="en-US" dirty="0" smtClean="0"/>
              <a:t>a. Text auf </a:t>
            </a:r>
            <a:r>
              <a:rPr lang="en-US" dirty="0" err="1" smtClean="0"/>
              <a:t>dritter</a:t>
            </a:r>
            <a:r>
              <a:rPr lang="en-US" dirty="0" smtClean="0"/>
              <a:t> </a:t>
            </a:r>
            <a:r>
              <a:rPr lang="en-US" dirty="0" err="1" smtClean="0"/>
              <a:t>Ebene</a:t>
            </a:r>
            <a:r>
              <a:rPr lang="en-US" dirty="0" smtClean="0"/>
              <a:t> </a:t>
            </a:r>
            <a:r>
              <a:rPr lang="en-US" dirty="0" err="1" smtClean="0"/>
              <a:t>mit</a:t>
            </a:r>
            <a:r>
              <a:rPr lang="en-US" dirty="0" smtClean="0"/>
              <a:t> </a:t>
            </a:r>
            <a:r>
              <a:rPr lang="en-US" dirty="0" err="1" smtClean="0"/>
              <a:t>alphaetischer</a:t>
            </a:r>
            <a:r>
              <a:rPr lang="en-US" dirty="0" smtClean="0"/>
              <a:t> </a:t>
            </a:r>
            <a:r>
              <a:rPr lang="en-US" dirty="0" err="1" smtClean="0"/>
              <a:t>Nummerierung</a:t>
            </a:r>
            <a:r>
              <a:rPr lang="en-US" dirty="0" smtClean="0"/>
              <a:t/>
            </a:r>
            <a:br>
              <a:rPr lang="en-US" dirty="0" smtClean="0"/>
            </a:br>
            <a:r>
              <a:rPr lang="en-US" dirty="0" smtClean="0"/>
              <a:t>	</a:t>
            </a:r>
            <a:r>
              <a:rPr lang="en-US" dirty="0" err="1" smtClean="0"/>
              <a:t>i</a:t>
            </a:r>
            <a:r>
              <a:rPr lang="en-US" dirty="0" smtClean="0"/>
              <a:t>. Text auf </a:t>
            </a:r>
            <a:r>
              <a:rPr lang="en-US" dirty="0" err="1" smtClean="0"/>
              <a:t>vierter</a:t>
            </a:r>
            <a:r>
              <a:rPr lang="en-US" dirty="0" smtClean="0"/>
              <a:t> </a:t>
            </a:r>
            <a:r>
              <a:rPr lang="en-US" dirty="0" err="1" smtClean="0"/>
              <a:t>Ebene</a:t>
            </a:r>
            <a:r>
              <a:rPr lang="en-US" dirty="0" smtClean="0"/>
              <a:t> </a:t>
            </a:r>
            <a:r>
              <a:rPr lang="en-US" dirty="0" err="1" smtClean="0"/>
              <a:t>mit</a:t>
            </a:r>
            <a:r>
              <a:rPr lang="en-US" dirty="0" smtClean="0"/>
              <a:t> </a:t>
            </a:r>
            <a:r>
              <a:rPr lang="en-US" dirty="0" err="1" smtClean="0"/>
              <a:t>römischen</a:t>
            </a:r>
            <a:r>
              <a:rPr lang="en-US" dirty="0" smtClean="0"/>
              <a:t> </a:t>
            </a:r>
            <a:r>
              <a:rPr lang="en-US" dirty="0" err="1" smtClean="0"/>
              <a:t>Nummerierungen</a:t>
            </a:r>
            <a:endParaRPr lang="en-US" dirty="0" smtClean="0"/>
          </a:p>
        </p:txBody>
      </p:sp>
      <p:pic>
        <p:nvPicPr>
          <p:cNvPr id="10" name="Grafik 9"/>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8499835" y="114915"/>
            <a:ext cx="774000" cy="227799"/>
          </a:xfrm>
          <a:prstGeom prst="rect">
            <a:avLst/>
          </a:prstGeom>
        </p:spPr>
      </p:pic>
      <p:sp>
        <p:nvSpPr>
          <p:cNvPr id="13" name="Text Box 114"/>
          <p:cNvSpPr txBox="1">
            <a:spLocks noChangeArrowheads="1"/>
          </p:cNvSpPr>
          <p:nvPr userDrawn="1">
            <p:custDataLst>
              <p:tags r:id="rId19"/>
            </p:custDataLst>
          </p:nvPr>
        </p:nvSpPr>
        <p:spPr bwMode="auto">
          <a:xfrm>
            <a:off x="9305029" y="6624000"/>
            <a:ext cx="458858" cy="140311"/>
          </a:xfrm>
          <a:prstGeom prst="rect">
            <a:avLst/>
          </a:prstGeom>
          <a:noFill/>
          <a:ln w="12700">
            <a:noFill/>
            <a:miter lim="800000"/>
            <a:headEnd/>
            <a:tailEnd/>
          </a:ln>
          <a:effectLst/>
        </p:spPr>
        <p:txBody>
          <a:bodyPr wrap="none" lIns="0" tIns="0" rIns="0" bIns="0" anchor="b" anchorCtr="0">
            <a:noAutofit/>
          </a:bodyPr>
          <a:lstStyle/>
          <a:p>
            <a:pPr>
              <a:spcAft>
                <a:spcPct val="0"/>
              </a:spcAft>
              <a:tabLst>
                <a:tab pos="95249" algn="l"/>
              </a:tabLst>
            </a:pPr>
            <a:r>
              <a:rPr lang="en-US" sz="700" dirty="0" err="1" smtClean="0">
                <a:solidFill>
                  <a:srgbClr val="000000"/>
                </a:solidFill>
                <a:latin typeface="Arial" panose="020B0604020202020204" pitchFamily="34" charset="0"/>
                <a:cs typeface="Arial" panose="020B0604020202020204" pitchFamily="34" charset="0"/>
              </a:rPr>
              <a:t>Seite</a:t>
            </a:r>
            <a:r>
              <a:rPr lang="en-US" sz="700" dirty="0" smtClean="0">
                <a:solidFill>
                  <a:srgbClr val="000000"/>
                </a:solidFill>
                <a:latin typeface="Arial" panose="020B0604020202020204" pitchFamily="34" charset="0"/>
                <a:cs typeface="Arial" panose="020B0604020202020204" pitchFamily="34" charset="0"/>
              </a:rPr>
              <a:t> </a:t>
            </a:r>
            <a:fld id="{F3FE6D16-D978-4CD7-AD58-EC27A530E682}" type="slidenum">
              <a:rPr lang="en-US" sz="700" smtClean="0">
                <a:solidFill>
                  <a:srgbClr val="000000"/>
                </a:solidFill>
                <a:latin typeface="Arial" panose="020B0604020202020204" pitchFamily="34" charset="0"/>
                <a:cs typeface="Arial" panose="020B0604020202020204" pitchFamily="34" charset="0"/>
              </a:rPr>
              <a:pPr>
                <a:spcAft>
                  <a:spcPct val="0"/>
                </a:spcAft>
                <a:tabLst>
                  <a:tab pos="95249" algn="l"/>
                </a:tabLst>
              </a:pPr>
              <a:t>‹Nr.›</a:t>
            </a:fld>
            <a:endParaRPr lang="en-US" sz="700" dirty="0">
              <a:solidFill>
                <a:srgbClr val="000000"/>
              </a:solidFill>
              <a:latin typeface="Arial" panose="020B0604020202020204" pitchFamily="34" charset="0"/>
              <a:cs typeface="Arial" panose="020B0604020202020204" pitchFamily="34" charset="0"/>
            </a:endParaRPr>
          </a:p>
        </p:txBody>
      </p:sp>
      <p:sp>
        <p:nvSpPr>
          <p:cNvPr id="9" name="Malik Year"/>
          <p:cNvSpPr/>
          <p:nvPr userDrawn="1"/>
        </p:nvSpPr>
        <p:spPr bwMode="auto">
          <a:xfrm>
            <a:off x="8560425" y="480397"/>
            <a:ext cx="714375" cy="123111"/>
          </a:xfrm>
          <a:prstGeom prst="rect">
            <a:avLst/>
          </a:prstGeom>
          <a:solidFill>
            <a:schemeClr val="bg1"/>
          </a:solidFill>
          <a:ln w="127">
            <a:noFill/>
            <a:miter lim="800000"/>
            <a:headEnd/>
            <a:tailEnd/>
          </a:ln>
          <a:effectLst/>
        </p:spPr>
        <p:txBody>
          <a:bodyPr lIns="0" tIns="0" rIns="18000" bIns="0" anchor="ctr">
            <a:spAutoFit/>
          </a:bodyPr>
          <a:lstStyle/>
          <a:p>
            <a:pPr algn="r">
              <a:spcAft>
                <a:spcPct val="0"/>
              </a:spcAft>
              <a:tabLst>
                <a:tab pos="95249" algn="l"/>
              </a:tabLst>
            </a:pPr>
            <a:r>
              <a:rPr lang="en-US" sz="800" noProof="0" dirty="0" smtClean="0">
                <a:solidFill>
                  <a:srgbClr val="000000"/>
                </a:solidFill>
                <a:latin typeface="Arial" panose="020B0604020202020204" pitchFamily="34" charset="0"/>
                <a:cs typeface="Arial" panose="020B0604020202020204" pitchFamily="34" charset="0"/>
              </a:rPr>
              <a:t>© Malik </a:t>
            </a:r>
            <a:r>
              <a:rPr lang="en-US" sz="800" noProof="0" dirty="0" smtClean="0">
                <a:solidFill>
                  <a:srgbClr val="000000"/>
                </a:solidFill>
                <a:latin typeface="Arial" panose="020B0604020202020204" pitchFamily="34" charset="0"/>
                <a:cs typeface="Arial" panose="020B0604020202020204" pitchFamily="34" charset="0"/>
              </a:rPr>
              <a:t>2019</a:t>
            </a:r>
            <a:endParaRPr lang="en-US" sz="800" noProof="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77754124"/>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4035" r:id="rId11"/>
    <p:sldLayoutId id="2147484036" r:id="rId12"/>
    <p:sldLayoutId id="2147484037" r:id="rId13"/>
    <p:sldLayoutId id="2147484038" r:id="rId14"/>
    <p:sldLayoutId id="2147484039" r:id="rId15"/>
    <p:sldLayoutId id="2147484040" r:id="rId16"/>
  </p:sldLayoutIdLst>
  <p:transition spd="slow"/>
  <p:timing>
    <p:tnLst>
      <p:par>
        <p:cTn id="1" dur="indefinite" restart="never" nodeType="tmRoot"/>
      </p:par>
    </p:tnLst>
  </p:timing>
  <p:hf sldNum="0" hdr="0" dt="0"/>
  <p:txStyles>
    <p:titleStyle>
      <a:lvl1pPr algn="ctr" rtl="0" eaLnBrk="1" fontAlgn="base" hangingPunct="1">
        <a:lnSpc>
          <a:spcPct val="95000"/>
        </a:lnSpc>
        <a:spcBef>
          <a:spcPct val="0"/>
        </a:spcBef>
        <a:spcAft>
          <a:spcPct val="0"/>
        </a:spcAft>
        <a:defRPr sz="2000" b="1" baseline="0">
          <a:solidFill>
            <a:schemeClr val="tx1"/>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2000" b="1">
          <a:solidFill>
            <a:schemeClr val="tx1"/>
          </a:solidFill>
          <a:latin typeface="Arial" charset="0"/>
        </a:defRPr>
      </a:lvl2pPr>
      <a:lvl3pPr algn="l" rtl="0" eaLnBrk="1" fontAlgn="base" hangingPunct="1">
        <a:spcBef>
          <a:spcPct val="0"/>
        </a:spcBef>
        <a:spcAft>
          <a:spcPct val="0"/>
        </a:spcAft>
        <a:defRPr sz="2000" b="1">
          <a:solidFill>
            <a:schemeClr val="tx1"/>
          </a:solidFill>
          <a:latin typeface="Arial" charset="0"/>
        </a:defRPr>
      </a:lvl3pPr>
      <a:lvl4pPr algn="l" rtl="0" eaLnBrk="1" fontAlgn="base" hangingPunct="1">
        <a:spcBef>
          <a:spcPct val="0"/>
        </a:spcBef>
        <a:spcAft>
          <a:spcPct val="0"/>
        </a:spcAft>
        <a:defRPr sz="2000" b="1">
          <a:solidFill>
            <a:schemeClr val="tx1"/>
          </a:solidFill>
          <a:latin typeface="Arial" charset="0"/>
        </a:defRPr>
      </a:lvl4pPr>
      <a:lvl5pPr algn="l" rtl="0" eaLnBrk="1" fontAlgn="base" hangingPunct="1">
        <a:spcBef>
          <a:spcPct val="0"/>
        </a:spcBef>
        <a:spcAft>
          <a:spcPct val="0"/>
        </a:spcAft>
        <a:defRPr sz="2000" b="1">
          <a:solidFill>
            <a:schemeClr val="tx1"/>
          </a:solidFill>
          <a:latin typeface="Arial" charset="0"/>
        </a:defRPr>
      </a:lvl5pPr>
      <a:lvl6pPr marL="457197" algn="l" rtl="0" eaLnBrk="1" fontAlgn="base" hangingPunct="1">
        <a:spcBef>
          <a:spcPct val="0"/>
        </a:spcBef>
        <a:spcAft>
          <a:spcPct val="0"/>
        </a:spcAft>
        <a:defRPr sz="2000" b="1">
          <a:solidFill>
            <a:schemeClr val="tx1"/>
          </a:solidFill>
          <a:latin typeface="Arial" charset="0"/>
        </a:defRPr>
      </a:lvl6pPr>
      <a:lvl7pPr marL="914395" algn="l" rtl="0" eaLnBrk="1" fontAlgn="base" hangingPunct="1">
        <a:spcBef>
          <a:spcPct val="0"/>
        </a:spcBef>
        <a:spcAft>
          <a:spcPct val="0"/>
        </a:spcAft>
        <a:defRPr sz="2000" b="1">
          <a:solidFill>
            <a:schemeClr val="tx1"/>
          </a:solidFill>
          <a:latin typeface="Arial" charset="0"/>
        </a:defRPr>
      </a:lvl7pPr>
      <a:lvl8pPr marL="1371592" algn="l" rtl="0" eaLnBrk="1" fontAlgn="base" hangingPunct="1">
        <a:spcBef>
          <a:spcPct val="0"/>
        </a:spcBef>
        <a:spcAft>
          <a:spcPct val="0"/>
        </a:spcAft>
        <a:defRPr sz="2000" b="1">
          <a:solidFill>
            <a:schemeClr val="tx1"/>
          </a:solidFill>
          <a:latin typeface="Arial" charset="0"/>
        </a:defRPr>
      </a:lvl8pPr>
      <a:lvl9pPr marL="1828789" algn="l" rtl="0" eaLnBrk="1" fontAlgn="base" hangingPunct="1">
        <a:spcBef>
          <a:spcPct val="0"/>
        </a:spcBef>
        <a:spcAft>
          <a:spcPct val="0"/>
        </a:spcAft>
        <a:defRPr sz="2000" b="1">
          <a:solidFill>
            <a:schemeClr val="tx1"/>
          </a:solidFill>
          <a:latin typeface="Arial" charset="0"/>
        </a:defRPr>
      </a:lvl9pPr>
    </p:titleStyle>
    <p:bodyStyle>
      <a:lvl1pPr marL="355600" marR="0" indent="-355600" algn="l" defTabSz="914395" rtl="0" eaLnBrk="1" fontAlgn="base" latinLnBrk="0" hangingPunct="1">
        <a:lnSpc>
          <a:spcPct val="113000"/>
        </a:lnSpc>
        <a:spcBef>
          <a:spcPct val="0"/>
        </a:spcBef>
        <a:spcAft>
          <a:spcPts val="600"/>
        </a:spcAft>
        <a:buClr>
          <a:srgbClr val="000000"/>
        </a:buClr>
        <a:buSzTx/>
        <a:buFontTx/>
        <a:buNone/>
        <a:tabLst>
          <a:tab pos="719138" algn="l"/>
        </a:tabLst>
        <a:defRPr lang="de-DE" sz="1200" b="0" kern="0" baseline="0">
          <a:solidFill>
            <a:schemeClr val="tx1"/>
          </a:solidFill>
          <a:latin typeface="Arial" panose="020B0604020202020204" pitchFamily="34" charset="0"/>
          <a:ea typeface="+mn-ea"/>
          <a:cs typeface="Arial" panose="020B0604020202020204" pitchFamily="34" charset="0"/>
        </a:defRPr>
      </a:lvl1pPr>
      <a:lvl2pPr marL="215999" marR="0" indent="-215999" algn="l" defTabSz="914395" rtl="0" eaLnBrk="1" fontAlgn="base" latinLnBrk="0" hangingPunct="1">
        <a:lnSpc>
          <a:spcPct val="113000"/>
        </a:lnSpc>
        <a:spcBef>
          <a:spcPct val="0"/>
        </a:spcBef>
        <a:spcAft>
          <a:spcPts val="600"/>
        </a:spcAft>
        <a:buClr>
          <a:srgbClr val="000000"/>
        </a:buClr>
        <a:buSzTx/>
        <a:buFont typeface="+mj-lt"/>
        <a:buAutoNum type="arabicPeriod"/>
        <a:tabLst>
          <a:tab pos="361948" algn="l"/>
        </a:tabLst>
        <a:defRPr lang="de-DE" sz="1200" b="0" kern="0" baseline="0">
          <a:solidFill>
            <a:schemeClr val="tx1"/>
          </a:solidFill>
          <a:latin typeface="Arial" panose="020B0604020202020204" pitchFamily="34" charset="0"/>
          <a:cs typeface="Arial" panose="020B0604020202020204" pitchFamily="34" charset="0"/>
        </a:defRPr>
      </a:lvl2pPr>
      <a:lvl3pPr marL="431997" marR="0" indent="-215999" algn="l" defTabSz="888995" rtl="0" eaLnBrk="1" fontAlgn="base" latinLnBrk="0" hangingPunct="1">
        <a:lnSpc>
          <a:spcPct val="113000"/>
        </a:lnSpc>
        <a:spcBef>
          <a:spcPct val="0"/>
        </a:spcBef>
        <a:spcAft>
          <a:spcPts val="600"/>
        </a:spcAft>
        <a:buClr>
          <a:srgbClr val="000000"/>
        </a:buClr>
        <a:buSzTx/>
        <a:buFont typeface="+mj-lt"/>
        <a:buAutoNum type="alphaLcPeriod"/>
        <a:tabLst/>
        <a:defRPr lang="de-DE" sz="1200" b="0" kern="0" baseline="0">
          <a:solidFill>
            <a:schemeClr val="tx1"/>
          </a:solidFill>
          <a:latin typeface="Arial" panose="020B0604020202020204" pitchFamily="34" charset="0"/>
          <a:cs typeface="Arial" panose="020B0604020202020204" pitchFamily="34" charset="0"/>
        </a:defRPr>
      </a:lvl3pPr>
      <a:lvl4pPr marL="647996" marR="0" indent="-215999" algn="l" defTabSz="914400" rtl="0" eaLnBrk="1" fontAlgn="base" latinLnBrk="0" hangingPunct="1">
        <a:lnSpc>
          <a:spcPct val="113000"/>
        </a:lnSpc>
        <a:spcBef>
          <a:spcPct val="0"/>
        </a:spcBef>
        <a:spcAft>
          <a:spcPts val="600"/>
        </a:spcAft>
        <a:buClr>
          <a:srgbClr val="000000"/>
        </a:buClr>
        <a:buSzTx/>
        <a:buFont typeface="+mj-lt"/>
        <a:buAutoNum type="romanLcPeriod"/>
        <a:tabLst/>
        <a:defRPr lang="de-DE" sz="1200" b="0" kern="0" baseline="0">
          <a:solidFill>
            <a:schemeClr val="tx1"/>
          </a:solidFill>
          <a:latin typeface="Arial" panose="020B0604020202020204" pitchFamily="34" charset="0"/>
          <a:cs typeface="Arial" panose="020B0604020202020204" pitchFamily="34" charset="0"/>
        </a:defRPr>
      </a:lvl4pPr>
      <a:lvl5pPr marL="1346192" indent="-177799" algn="l" rtl="0" eaLnBrk="1" fontAlgn="base" hangingPunct="1">
        <a:spcBef>
          <a:spcPct val="0"/>
        </a:spcBef>
        <a:spcAft>
          <a:spcPct val="20000"/>
        </a:spcAft>
        <a:buClr>
          <a:schemeClr val="tx1"/>
        </a:buClr>
        <a:buChar char="-"/>
        <a:defRPr lang="de-DE" sz="1600" smtClean="0">
          <a:solidFill>
            <a:schemeClr val="tx1"/>
          </a:solidFill>
          <a:latin typeface="+mn-lt"/>
        </a:defRPr>
      </a:lvl5pPr>
      <a:lvl6pPr marL="1803390" indent="-177799" algn="l" rtl="0" eaLnBrk="1" fontAlgn="base" hangingPunct="1">
        <a:spcBef>
          <a:spcPct val="0"/>
        </a:spcBef>
        <a:spcAft>
          <a:spcPct val="20000"/>
        </a:spcAft>
        <a:buClr>
          <a:schemeClr val="tx1"/>
        </a:buClr>
        <a:buChar char="-"/>
        <a:defRPr sz="1600">
          <a:solidFill>
            <a:schemeClr val="tx1"/>
          </a:solidFill>
          <a:latin typeface="+mn-lt"/>
        </a:defRPr>
      </a:lvl6pPr>
      <a:lvl7pPr marL="2260587" indent="-177799" algn="l" rtl="0" eaLnBrk="1" fontAlgn="base" hangingPunct="1">
        <a:spcBef>
          <a:spcPct val="0"/>
        </a:spcBef>
        <a:spcAft>
          <a:spcPct val="20000"/>
        </a:spcAft>
        <a:buClr>
          <a:schemeClr val="tx1"/>
        </a:buClr>
        <a:buChar char="-"/>
        <a:defRPr sz="1600">
          <a:solidFill>
            <a:schemeClr val="tx1"/>
          </a:solidFill>
          <a:latin typeface="+mn-lt"/>
        </a:defRPr>
      </a:lvl7pPr>
      <a:lvl8pPr marL="2717784" indent="-177799" algn="l" rtl="0" eaLnBrk="1" fontAlgn="base" hangingPunct="1">
        <a:spcBef>
          <a:spcPct val="0"/>
        </a:spcBef>
        <a:spcAft>
          <a:spcPct val="20000"/>
        </a:spcAft>
        <a:buClr>
          <a:schemeClr val="tx1"/>
        </a:buClr>
        <a:buChar char="-"/>
        <a:defRPr sz="1600">
          <a:solidFill>
            <a:schemeClr val="tx1"/>
          </a:solidFill>
          <a:latin typeface="+mn-lt"/>
        </a:defRPr>
      </a:lvl8pPr>
      <a:lvl9pPr marL="3174982" indent="-177799" algn="l" rtl="0" eaLnBrk="1" fontAlgn="base" hangingPunct="1">
        <a:spcBef>
          <a:spcPct val="0"/>
        </a:spcBef>
        <a:spcAft>
          <a:spcPct val="20000"/>
        </a:spcAft>
        <a:buClr>
          <a:schemeClr val="tx1"/>
        </a:buClr>
        <a:buChar char="-"/>
        <a:defRPr sz="1600">
          <a:solidFill>
            <a:schemeClr val="tx1"/>
          </a:solidFill>
          <a:latin typeface="+mn-lt"/>
        </a:defRPr>
      </a:lvl9pPr>
    </p:bodyStyle>
    <p:otherStyle>
      <a:defPPr>
        <a:defRPr lang="de-DE"/>
      </a:defPPr>
      <a:lvl1pPr marL="0" algn="l" defTabSz="914395" rtl="0" eaLnBrk="1" latinLnBrk="0" hangingPunct="1">
        <a:defRPr sz="1800" kern="1200">
          <a:solidFill>
            <a:schemeClr val="tx1"/>
          </a:solidFill>
          <a:latin typeface="+mn-lt"/>
          <a:ea typeface="+mn-ea"/>
          <a:cs typeface="+mn-cs"/>
        </a:defRPr>
      </a:lvl1pPr>
      <a:lvl2pPr marL="457197"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4"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81">
          <p15:clr>
            <a:srgbClr val="F26B43"/>
          </p15:clr>
        </p15:guide>
        <p15:guide id="2" pos="398">
          <p15:clr>
            <a:srgbClr val="F26B43"/>
          </p15:clr>
        </p15:guide>
        <p15:guide id="3" pos="5842">
          <p15:clr>
            <a:srgbClr val="F26B43"/>
          </p15:clr>
        </p15:guide>
        <p15:guide id="4" orient="horz" pos="867">
          <p15:clr>
            <a:srgbClr val="F26B43"/>
          </p15:clr>
        </p15:guide>
        <p15:guide id="5" orient="horz" pos="482">
          <p15:clr>
            <a:srgbClr val="F26B43"/>
          </p15:clr>
        </p15:guide>
        <p15:guide id="6" orient="horz" pos="4156">
          <p15:clr>
            <a:srgbClr val="F26B43"/>
          </p15:clr>
        </p15:guide>
        <p15:guide id="7" pos="312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20.jpeg"/><Relationship Id="rId4" Type="http://schemas.openxmlformats.org/officeDocument/2006/relationships/image" Target="../media/image19.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slide" Target="slide18.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slide" Target="slide1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1.xml"/><Relationship Id="rId1" Type="http://schemas.openxmlformats.org/officeDocument/2006/relationships/tags" Target="../tags/tag15.xml"/><Relationship Id="rId4" Type="http://schemas.openxmlformats.org/officeDocument/2006/relationships/image" Target="../media/image4.jpeg"/></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16.xml"/><Relationship Id="rId5" Type="http://schemas.openxmlformats.org/officeDocument/2006/relationships/image" Target="../media/image23.png"/><Relationship Id="rId4" Type="http://schemas.openxmlformats.org/officeDocument/2006/relationships/image" Target="../media/image22.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3.xml"/><Relationship Id="rId4" Type="http://schemas.openxmlformats.org/officeDocument/2006/relationships/image" Target="../media/image26.jpeg"/></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23.png"/><Relationship Id="rId4" Type="http://schemas.openxmlformats.org/officeDocument/2006/relationships/image" Target="../media/image22.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14.xml"/><Relationship Id="rId7" Type="http://schemas.openxmlformats.org/officeDocument/2006/relationships/image" Target="../media/image34.gif"/><Relationship Id="rId2" Type="http://schemas.openxmlformats.org/officeDocument/2006/relationships/tags" Target="../tags/tag18.xml"/><Relationship Id="rId1" Type="http://schemas.openxmlformats.org/officeDocument/2006/relationships/vmlDrawing" Target="../drawings/vmlDrawing1.vml"/><Relationship Id="rId6" Type="http://schemas.openxmlformats.org/officeDocument/2006/relationships/image" Target="../media/image33.png"/><Relationship Id="rId5" Type="http://schemas.openxmlformats.org/officeDocument/2006/relationships/oleObject" Target="../embeddings/oleObject1.bin"/><Relationship Id="rId4" Type="http://schemas.openxmlformats.org/officeDocument/2006/relationships/notesSlide" Target="../notesSlides/notesSlide23.xml"/><Relationship Id="rId9" Type="http://schemas.openxmlformats.org/officeDocument/2006/relationships/image" Target="../media/image36.png"/></Relationships>
</file>

<file path=ppt/slides/_rels/slide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3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jpe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p:cNvSpPr>
            <a:spLocks noGrp="1"/>
          </p:cNvSpPr>
          <p:nvPr>
            <p:ph type="body" sz="quarter" idx="10"/>
          </p:nvPr>
        </p:nvSpPr>
        <p:spPr>
          <a:xfrm>
            <a:off x="633600" y="3080644"/>
            <a:ext cx="8640000" cy="1070570"/>
          </a:xfrm>
        </p:spPr>
        <p:txBody>
          <a:bodyPr/>
          <a:lstStyle/>
          <a:p>
            <a:pPr lvl="0"/>
            <a:r>
              <a:rPr lang="en-US" b="1" dirty="0" smtClean="0">
                <a:solidFill>
                  <a:srgbClr val="000000"/>
                </a:solidFill>
              </a:rPr>
              <a:t>Prof. Dr. Fredmund Malik</a:t>
            </a:r>
            <a:br>
              <a:rPr lang="en-US" b="1" dirty="0" smtClean="0">
                <a:solidFill>
                  <a:srgbClr val="000000"/>
                </a:solidFill>
              </a:rPr>
            </a:br>
            <a:r>
              <a:rPr lang="en-US" sz="1400" b="1" dirty="0" smtClean="0">
                <a:solidFill>
                  <a:srgbClr val="000000"/>
                </a:solidFill>
              </a:rPr>
              <a:t>Malik </a:t>
            </a:r>
            <a:r>
              <a:rPr lang="en-US" sz="1400" b="1" dirty="0" err="1" smtClean="0">
                <a:solidFill>
                  <a:srgbClr val="000000"/>
                </a:solidFill>
              </a:rPr>
              <a:t>Institut</a:t>
            </a:r>
            <a:r>
              <a:rPr lang="en-US" sz="1400" b="1" dirty="0" smtClean="0">
                <a:solidFill>
                  <a:srgbClr val="000000"/>
                </a:solidFill>
              </a:rPr>
              <a:t>, St. </a:t>
            </a:r>
            <a:r>
              <a:rPr lang="en-US" sz="1400" b="1" dirty="0" err="1" smtClean="0">
                <a:solidFill>
                  <a:srgbClr val="000000"/>
                </a:solidFill>
              </a:rPr>
              <a:t>Gallen</a:t>
            </a:r>
            <a:r>
              <a:rPr lang="en-US" sz="1400" b="1" dirty="0" smtClean="0">
                <a:solidFill>
                  <a:srgbClr val="000000"/>
                </a:solidFill>
              </a:rPr>
              <a:t>, Malik International AG </a:t>
            </a:r>
            <a:r>
              <a:rPr lang="en-US" sz="1400" b="1" dirty="0">
                <a:solidFill>
                  <a:srgbClr val="000000"/>
                </a:solidFill>
              </a:rPr>
              <a:t/>
            </a:r>
            <a:br>
              <a:rPr lang="en-US" sz="1400" b="1" dirty="0">
                <a:solidFill>
                  <a:srgbClr val="000000"/>
                </a:solidFill>
              </a:rPr>
            </a:br>
            <a:r>
              <a:rPr lang="en-US" sz="1400" b="1" dirty="0" smtClean="0">
                <a:solidFill>
                  <a:srgbClr val="000000"/>
                </a:solidFill>
              </a:rPr>
              <a:t>Management-</a:t>
            </a:r>
            <a:r>
              <a:rPr lang="en-US" sz="1400" b="1" dirty="0" err="1" smtClean="0">
                <a:solidFill>
                  <a:srgbClr val="000000"/>
                </a:solidFill>
              </a:rPr>
              <a:t>Lösungen</a:t>
            </a:r>
            <a:r>
              <a:rPr lang="en-US" sz="1400" b="1" dirty="0" smtClean="0">
                <a:solidFill>
                  <a:srgbClr val="000000"/>
                </a:solidFill>
              </a:rPr>
              <a:t> </a:t>
            </a:r>
            <a:r>
              <a:rPr lang="en-US" sz="1400" b="1" dirty="0">
                <a:solidFill>
                  <a:srgbClr val="000000"/>
                </a:solidFill>
              </a:rPr>
              <a:t> </a:t>
            </a:r>
            <a:r>
              <a:rPr lang="en-US" sz="1400" b="1" dirty="0" err="1" smtClean="0">
                <a:solidFill>
                  <a:srgbClr val="000000"/>
                </a:solidFill>
              </a:rPr>
              <a:t>für</a:t>
            </a:r>
            <a:r>
              <a:rPr lang="en-US" sz="1400" b="1" dirty="0" smtClean="0">
                <a:solidFill>
                  <a:srgbClr val="000000"/>
                </a:solidFill>
              </a:rPr>
              <a:t> </a:t>
            </a:r>
            <a:r>
              <a:rPr lang="en-US" sz="1400" b="1" dirty="0" err="1" smtClean="0">
                <a:solidFill>
                  <a:srgbClr val="000000"/>
                </a:solidFill>
              </a:rPr>
              <a:t>Ökosysteme</a:t>
            </a:r>
            <a:r>
              <a:rPr lang="en-US" sz="1400" b="1" dirty="0" smtClean="0">
                <a:solidFill>
                  <a:srgbClr val="000000"/>
                </a:solidFill>
              </a:rPr>
              <a:t>, </a:t>
            </a:r>
            <a:r>
              <a:rPr lang="en-US" sz="1400" b="1" dirty="0" err="1" smtClean="0">
                <a:solidFill>
                  <a:srgbClr val="000000"/>
                </a:solidFill>
              </a:rPr>
              <a:t>Komplexität</a:t>
            </a:r>
            <a:r>
              <a:rPr lang="en-US" sz="1400" b="1" dirty="0" smtClean="0">
                <a:solidFill>
                  <a:srgbClr val="000000"/>
                </a:solidFill>
              </a:rPr>
              <a:t> und </a:t>
            </a:r>
            <a:r>
              <a:rPr lang="en-US" sz="1400" b="1" dirty="0" err="1" smtClean="0">
                <a:solidFill>
                  <a:srgbClr val="000000"/>
                </a:solidFill>
              </a:rPr>
              <a:t>Vernetzung</a:t>
            </a:r>
            <a:r>
              <a:rPr lang="en-US" b="1" dirty="0" smtClean="0">
                <a:solidFill>
                  <a:srgbClr val="000000"/>
                </a:solidFill>
              </a:rPr>
              <a:t>  </a:t>
            </a:r>
          </a:p>
          <a:p>
            <a:pPr lvl="0"/>
            <a:r>
              <a:rPr lang="en-US" sz="1000" b="1" dirty="0" smtClean="0">
                <a:solidFill>
                  <a:srgbClr val="FF0000"/>
                </a:solidFill>
              </a:rPr>
              <a:t/>
            </a:r>
            <a:br>
              <a:rPr lang="en-US" sz="1000" b="1" dirty="0" smtClean="0">
                <a:solidFill>
                  <a:srgbClr val="FF0000"/>
                </a:solidFill>
              </a:rPr>
            </a:br>
            <a:r>
              <a:rPr lang="en-US" sz="1000" b="1" dirty="0" err="1" smtClean="0">
                <a:solidFill>
                  <a:srgbClr val="FF0000"/>
                </a:solidFill>
              </a:rPr>
              <a:t>Zur</a:t>
            </a:r>
            <a:r>
              <a:rPr lang="en-US" sz="1000" b="1" dirty="0" smtClean="0">
                <a:solidFill>
                  <a:srgbClr val="FF0000"/>
                </a:solidFill>
              </a:rPr>
              <a:t> </a:t>
            </a:r>
            <a:r>
              <a:rPr lang="en-US" sz="1000" b="1" dirty="0" err="1" smtClean="0">
                <a:solidFill>
                  <a:srgbClr val="FF0000"/>
                </a:solidFill>
              </a:rPr>
              <a:t>Verwendung</a:t>
            </a:r>
            <a:r>
              <a:rPr lang="en-US" sz="1000" b="1" dirty="0" smtClean="0">
                <a:solidFill>
                  <a:srgbClr val="FF0000"/>
                </a:solidFill>
              </a:rPr>
              <a:t> </a:t>
            </a:r>
            <a:r>
              <a:rPr lang="en-US" sz="1000" b="1" dirty="0" err="1" smtClean="0">
                <a:solidFill>
                  <a:srgbClr val="FF0000"/>
                </a:solidFill>
              </a:rPr>
              <a:t>freigeben</a:t>
            </a:r>
            <a:r>
              <a:rPr lang="en-US" sz="1000" b="1" dirty="0" smtClean="0">
                <a:solidFill>
                  <a:srgbClr val="FF0000"/>
                </a:solidFill>
              </a:rPr>
              <a:t> </a:t>
            </a:r>
            <a:r>
              <a:rPr lang="en-US" sz="1000" b="1" dirty="0" err="1" smtClean="0">
                <a:solidFill>
                  <a:srgbClr val="FF0000"/>
                </a:solidFill>
              </a:rPr>
              <a:t>für</a:t>
            </a:r>
            <a:r>
              <a:rPr lang="en-US" sz="1000" b="1" dirty="0" smtClean="0">
                <a:solidFill>
                  <a:srgbClr val="FF0000"/>
                </a:solidFill>
              </a:rPr>
              <a:t> die </a:t>
            </a:r>
            <a:r>
              <a:rPr lang="en-US" sz="1000" b="1" dirty="0" err="1" smtClean="0">
                <a:solidFill>
                  <a:srgbClr val="FF0000"/>
                </a:solidFill>
              </a:rPr>
              <a:t>Teilnehmerinnen</a:t>
            </a:r>
            <a:r>
              <a:rPr lang="en-US" sz="1000" b="1" dirty="0" smtClean="0">
                <a:solidFill>
                  <a:srgbClr val="FF0000"/>
                </a:solidFill>
              </a:rPr>
              <a:t> und </a:t>
            </a:r>
            <a:r>
              <a:rPr lang="en-US" sz="1000" b="1" dirty="0" err="1" smtClean="0">
                <a:solidFill>
                  <a:srgbClr val="FF0000"/>
                </a:solidFill>
              </a:rPr>
              <a:t>Teilnehmer</a:t>
            </a:r>
            <a:r>
              <a:rPr lang="en-US" sz="1000" b="1" dirty="0" smtClean="0">
                <a:solidFill>
                  <a:srgbClr val="FF0000"/>
                </a:solidFill>
              </a:rPr>
              <a:t> </a:t>
            </a:r>
            <a:br>
              <a:rPr lang="en-US" sz="1000" b="1" dirty="0" smtClean="0">
                <a:solidFill>
                  <a:srgbClr val="FF0000"/>
                </a:solidFill>
              </a:rPr>
            </a:br>
            <a:r>
              <a:rPr lang="en-US" sz="1000" b="1" dirty="0" err="1" smtClean="0">
                <a:solidFill>
                  <a:srgbClr val="FF0000"/>
                </a:solidFill>
              </a:rPr>
              <a:t>unter</a:t>
            </a:r>
            <a:r>
              <a:rPr lang="en-US" sz="1000" b="1" dirty="0" smtClean="0">
                <a:solidFill>
                  <a:srgbClr val="FF0000"/>
                </a:solidFill>
              </a:rPr>
              <a:t> </a:t>
            </a:r>
            <a:r>
              <a:rPr lang="en-US" sz="1000" b="1" dirty="0" err="1" smtClean="0">
                <a:solidFill>
                  <a:srgbClr val="FF0000"/>
                </a:solidFill>
              </a:rPr>
              <a:t>Einhaltung</a:t>
            </a:r>
            <a:r>
              <a:rPr lang="en-US" sz="1000" b="1" dirty="0" smtClean="0">
                <a:solidFill>
                  <a:srgbClr val="FF0000"/>
                </a:solidFill>
              </a:rPr>
              <a:t> </a:t>
            </a:r>
            <a:r>
              <a:rPr lang="en-US" sz="1000" b="1" dirty="0" err="1" smtClean="0">
                <a:solidFill>
                  <a:srgbClr val="FF0000"/>
                </a:solidFill>
              </a:rPr>
              <a:t>aller</a:t>
            </a:r>
            <a:r>
              <a:rPr lang="en-US" sz="1000" b="1" dirty="0" smtClean="0">
                <a:solidFill>
                  <a:srgbClr val="FF0000"/>
                </a:solidFill>
              </a:rPr>
              <a:t> </a:t>
            </a:r>
            <a:r>
              <a:rPr lang="en-US" sz="1000" b="1" dirty="0" err="1" smtClean="0">
                <a:solidFill>
                  <a:srgbClr val="FF0000"/>
                </a:solidFill>
              </a:rPr>
              <a:t>Autorenrechte</a:t>
            </a:r>
            <a:r>
              <a:rPr lang="en-US" sz="1000" b="1" dirty="0" smtClean="0">
                <a:solidFill>
                  <a:srgbClr val="FF0000"/>
                </a:solidFill>
              </a:rPr>
              <a:t>. </a:t>
            </a:r>
          </a:p>
          <a:p>
            <a:pPr lvl="0"/>
            <a:r>
              <a:rPr lang="en-US" sz="1000" b="1" dirty="0" smtClean="0">
                <a:solidFill>
                  <a:srgbClr val="FF0000"/>
                </a:solidFill>
              </a:rPr>
              <a:t>F. Malik </a:t>
            </a:r>
            <a:endParaRPr lang="en-US" sz="1200" b="1" dirty="0">
              <a:solidFill>
                <a:srgbClr val="FF0000"/>
              </a:solidFill>
            </a:endParaRPr>
          </a:p>
        </p:txBody>
      </p:sp>
      <p:sp>
        <p:nvSpPr>
          <p:cNvPr id="2" name="Titel 1"/>
          <p:cNvSpPr>
            <a:spLocks noGrp="1"/>
          </p:cNvSpPr>
          <p:nvPr>
            <p:ph type="title"/>
          </p:nvPr>
        </p:nvSpPr>
        <p:spPr>
          <a:xfrm>
            <a:off x="415115" y="1489652"/>
            <a:ext cx="8640000" cy="1521303"/>
          </a:xfrm>
        </p:spPr>
        <p:txBody>
          <a:bodyPr/>
          <a:lstStyle/>
          <a:p>
            <a:r>
              <a:rPr lang="en-US" dirty="0" smtClean="0"/>
              <a:t>“Die Grosse </a:t>
            </a:r>
            <a:r>
              <a:rPr lang="en-US" dirty="0" smtClean="0"/>
              <a:t>Transformation21”und </a:t>
            </a:r>
            <a:r>
              <a:rPr lang="en-US" dirty="0" smtClean="0"/>
              <a:t>der </a:t>
            </a:r>
            <a:r>
              <a:rPr lang="en-US" dirty="0" err="1" smtClean="0"/>
              <a:t>Klimawandel</a:t>
            </a:r>
            <a:r>
              <a:rPr lang="en-US" dirty="0" smtClean="0"/>
              <a:t> </a:t>
            </a:r>
            <a:br>
              <a:rPr lang="en-US" dirty="0" smtClean="0"/>
            </a:br>
            <a:r>
              <a:rPr lang="en-US" dirty="0" err="1" smtClean="0"/>
              <a:t>Herausforderungen</a:t>
            </a:r>
            <a:r>
              <a:rPr lang="en-US" dirty="0" smtClean="0"/>
              <a:t> und </a:t>
            </a:r>
            <a:r>
              <a:rPr lang="en-US" dirty="0" err="1" smtClean="0"/>
              <a:t>Lösungen</a:t>
            </a:r>
            <a:r>
              <a:rPr lang="en-US" dirty="0" smtClean="0"/>
              <a:t> </a:t>
            </a:r>
            <a:r>
              <a:rPr lang="en-US" dirty="0" smtClean="0"/>
              <a:t/>
            </a:r>
            <a:br>
              <a:rPr lang="en-US" dirty="0" smtClean="0"/>
            </a:br>
            <a:r>
              <a:rPr lang="en-US" dirty="0" smtClean="0"/>
              <a:t>25 </a:t>
            </a:r>
            <a:r>
              <a:rPr lang="en-US" dirty="0" err="1" smtClean="0"/>
              <a:t>Jahre</a:t>
            </a:r>
            <a:r>
              <a:rPr lang="en-US" dirty="0" smtClean="0"/>
              <a:t> REM </a:t>
            </a:r>
            <a:r>
              <a:rPr lang="en-US" dirty="0" err="1" smtClean="0"/>
              <a:t>e.V</a:t>
            </a:r>
            <a:r>
              <a:rPr lang="en-US" dirty="0" smtClean="0"/>
              <a:t>.</a:t>
            </a:r>
            <a:endParaRPr lang="en-US" dirty="0"/>
          </a:p>
        </p:txBody>
      </p:sp>
      <p:sp>
        <p:nvSpPr>
          <p:cNvPr id="4" name="Textfeld 3"/>
          <p:cNvSpPr txBox="1"/>
          <p:nvPr/>
        </p:nvSpPr>
        <p:spPr>
          <a:xfrm>
            <a:off x="633600" y="5145302"/>
            <a:ext cx="3079732" cy="965255"/>
          </a:xfrm>
          <a:prstGeom prst="rect">
            <a:avLst/>
          </a:prstGeom>
          <a:ln algn="ctr"/>
        </p:spPr>
        <p:txBody>
          <a:bodyPr wrap="square" lIns="36000" tIns="36000" rIns="36000" bIns="36000" rtlCol="0" anchor="t">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DE" sz="900" i="0" u="none" strike="noStrike" kern="0" cap="none" spc="0" normalizeH="0" baseline="0" noProof="0" dirty="0" smtClean="0">
                <a:ln>
                  <a:noFill/>
                </a:ln>
                <a:solidFill>
                  <a:schemeClr val="tx1"/>
                </a:solidFill>
                <a:effectLst/>
                <a:uLnTx/>
                <a:uFillTx/>
                <a:latin typeface="Arial" panose="020B0604020202020204" pitchFamily="34" charset="0"/>
                <a:ea typeface="+mj-ea"/>
                <a:cs typeface="Arial" panose="020B0604020202020204" pitchFamily="34" charset="0"/>
              </a:rPr>
              <a:t>Literatur:</a:t>
            </a:r>
          </a:p>
          <a:p>
            <a:pPr marL="0" marR="0" indent="0" algn="l" defTabSz="914400" rtl="0" eaLnBrk="1" fontAlgn="base" latinLnBrk="0" hangingPunct="1">
              <a:lnSpc>
                <a:spcPct val="100000"/>
              </a:lnSpc>
              <a:spcBef>
                <a:spcPct val="0"/>
              </a:spcBef>
              <a:spcAft>
                <a:spcPct val="0"/>
              </a:spcAft>
              <a:buClrTx/>
              <a:buSzTx/>
              <a:buFontTx/>
              <a:buNone/>
              <a:tabLst/>
            </a:pPr>
            <a:r>
              <a:rPr lang="de-DE" sz="900" kern="0" dirty="0" smtClean="0">
                <a:latin typeface="Arial" panose="020B0604020202020204" pitchFamily="34" charset="0"/>
                <a:ea typeface="+mj-ea"/>
                <a:cs typeface="Arial" panose="020B0604020202020204" pitchFamily="34" charset="0"/>
              </a:rPr>
              <a:t>Malik F. </a:t>
            </a:r>
            <a:r>
              <a:rPr kumimoji="0" lang="de-DE" sz="900" i="0" u="none" strike="noStrike" kern="0" cap="none" spc="0" normalizeH="0" baseline="0" noProof="0" dirty="0" smtClean="0">
                <a:ln>
                  <a:noFill/>
                </a:ln>
                <a:solidFill>
                  <a:schemeClr val="tx1"/>
                </a:solidFill>
                <a:effectLst/>
                <a:uLnTx/>
                <a:uFillTx/>
                <a:latin typeface="Arial" panose="020B0604020202020204" pitchFamily="34" charset="0"/>
                <a:ea typeface="+mj-ea"/>
                <a:cs typeface="Arial" panose="020B0604020202020204" pitchFamily="34" charset="0"/>
              </a:rPr>
              <a:t> </a:t>
            </a:r>
          </a:p>
          <a:p>
            <a:pPr marL="0" marR="0" indent="0" algn="l" defTabSz="914400" rtl="0" eaLnBrk="1" fontAlgn="base" latinLnBrk="0" hangingPunct="1">
              <a:lnSpc>
                <a:spcPct val="100000"/>
              </a:lnSpc>
              <a:spcBef>
                <a:spcPct val="0"/>
              </a:spcBef>
              <a:spcAft>
                <a:spcPct val="0"/>
              </a:spcAft>
              <a:buClrTx/>
              <a:buSzTx/>
              <a:buFontTx/>
              <a:buNone/>
              <a:tabLst/>
            </a:pPr>
            <a:r>
              <a:rPr kumimoji="0" lang="de-DE" sz="900" i="0" u="none" strike="noStrike" kern="0" cap="none" spc="0" normalizeH="0" baseline="0" noProof="0" dirty="0" smtClean="0">
                <a:ln>
                  <a:noFill/>
                </a:ln>
                <a:solidFill>
                  <a:schemeClr val="tx1"/>
                </a:solidFill>
                <a:effectLst/>
                <a:uLnTx/>
                <a:uFillTx/>
                <a:latin typeface="Arial" panose="020B0604020202020204" pitchFamily="34" charset="0"/>
                <a:ea typeface="+mj-ea"/>
                <a:cs typeface="Arial" panose="020B0604020202020204" pitchFamily="34" charset="0"/>
              </a:rPr>
              <a:t>Die</a:t>
            </a:r>
            <a:r>
              <a:rPr kumimoji="0" lang="de-DE" sz="900" i="0" u="none" strike="noStrike" kern="0" cap="none" spc="0" normalizeH="0" noProof="0" dirty="0" smtClean="0">
                <a:ln>
                  <a:noFill/>
                </a:ln>
                <a:solidFill>
                  <a:schemeClr val="tx1"/>
                </a:solidFill>
                <a:effectLst/>
                <a:uLnTx/>
                <a:uFillTx/>
                <a:latin typeface="Arial" panose="020B0604020202020204" pitchFamily="34" charset="0"/>
                <a:ea typeface="+mj-ea"/>
                <a:cs typeface="Arial" panose="020B0604020202020204" pitchFamily="34" charset="0"/>
              </a:rPr>
              <a:t> Strategie des Managements komplexer Systeme, Bern </a:t>
            </a:r>
          </a:p>
          <a:p>
            <a:pPr marL="0" marR="0" indent="0" algn="l" defTabSz="914400" rtl="0" eaLnBrk="1" fontAlgn="base" latinLnBrk="0" hangingPunct="1">
              <a:lnSpc>
                <a:spcPct val="100000"/>
              </a:lnSpc>
              <a:spcBef>
                <a:spcPct val="0"/>
              </a:spcBef>
              <a:spcAft>
                <a:spcPct val="0"/>
              </a:spcAft>
              <a:buClrTx/>
              <a:buSzTx/>
              <a:buFontTx/>
              <a:buNone/>
              <a:tabLst/>
            </a:pPr>
            <a:r>
              <a:rPr kumimoji="0" lang="de-DE" sz="900" i="0" u="none" strike="noStrike" kern="0" cap="none" spc="0" normalizeH="0" noProof="0" dirty="0" smtClean="0">
                <a:ln>
                  <a:noFill/>
                </a:ln>
                <a:solidFill>
                  <a:schemeClr val="tx1"/>
                </a:solidFill>
                <a:effectLst/>
                <a:uLnTx/>
                <a:uFillTx/>
                <a:latin typeface="Arial" panose="020B0604020202020204" pitchFamily="34" charset="0"/>
                <a:ea typeface="+mj-ea"/>
                <a:cs typeface="Arial" panose="020B0604020202020204" pitchFamily="34" charset="0"/>
              </a:rPr>
              <a:t>11. Auflage </a:t>
            </a:r>
            <a:r>
              <a:rPr kumimoji="0" lang="de-DE" sz="900" i="0" u="none" strike="noStrike" kern="0" cap="none" spc="0" normalizeH="0" noProof="0" dirty="0" smtClean="0">
                <a:ln>
                  <a:noFill/>
                </a:ln>
                <a:solidFill>
                  <a:schemeClr val="tx1"/>
                </a:solidFill>
                <a:effectLst/>
                <a:uLnTx/>
                <a:uFillTx/>
                <a:latin typeface="Arial" panose="020B0604020202020204" pitchFamily="34" charset="0"/>
                <a:ea typeface="+mj-ea"/>
                <a:cs typeface="Arial" panose="020B0604020202020204" pitchFamily="34" charset="0"/>
              </a:rPr>
              <a:t>2015</a:t>
            </a:r>
          </a:p>
          <a:p>
            <a:pPr marL="0" marR="0" indent="0" algn="l" defTabSz="914400" rtl="0" eaLnBrk="1" fontAlgn="base" latinLnBrk="0" hangingPunct="1">
              <a:lnSpc>
                <a:spcPct val="100000"/>
              </a:lnSpc>
              <a:spcBef>
                <a:spcPct val="0"/>
              </a:spcBef>
              <a:spcAft>
                <a:spcPct val="0"/>
              </a:spcAft>
              <a:buClrTx/>
              <a:buSzTx/>
              <a:buFontTx/>
              <a:buNone/>
              <a:tabLst/>
            </a:pPr>
            <a:endParaRPr lang="de-DE" sz="1100" kern="0" dirty="0" smtClean="0">
              <a:latin typeface="Arial" panose="020B0604020202020204" pitchFamily="34" charset="0"/>
              <a:ea typeface="+mj-ea"/>
              <a:cs typeface="Arial" panose="020B0604020202020204" pitchFamily="34"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de-DE" sz="1100" kern="0" dirty="0">
              <a:latin typeface="Arial" panose="020B0604020202020204" pitchFamily="34" charset="0"/>
              <a:ea typeface="+mj-ea"/>
              <a:cs typeface="Arial" panose="020B0604020202020204" pitchFamily="34" charset="0"/>
            </a:endParaRPr>
          </a:p>
        </p:txBody>
      </p:sp>
      <p:sp>
        <p:nvSpPr>
          <p:cNvPr id="7" name="Textplatzhalter 6"/>
          <p:cNvSpPr>
            <a:spLocks noGrp="1"/>
          </p:cNvSpPr>
          <p:nvPr>
            <p:ph type="body" sz="quarter" idx="11"/>
          </p:nvPr>
        </p:nvSpPr>
        <p:spPr/>
        <p:txBody>
          <a:bodyPr/>
          <a:lstStyle/>
          <a:p>
            <a:r>
              <a:rPr lang="de-DE" dirty="0"/>
              <a:t>Festsaal der Illenau Achern, 24.11.2019</a:t>
            </a:r>
          </a:p>
          <a:p>
            <a:endParaRPr lang="en-GB" dirty="0"/>
          </a:p>
        </p:txBody>
      </p:sp>
    </p:spTree>
    <p:extLst>
      <p:ext uri="{BB962C8B-B14F-4D97-AF65-F5344CB8AC3E}">
        <p14:creationId xmlns:p14="http://schemas.microsoft.com/office/powerpoint/2010/main" val="1266919337"/>
      </p:ext>
    </p:ext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7635" name="Grafik 2" descr="Auftakt Ecopolicyade Kieler Nachrichten 22.4.jpg"/>
          <p:cNvPicPr>
            <a:picLocks noChangeAspect="1"/>
          </p:cNvPicPr>
          <p:nvPr/>
        </p:nvPicPr>
        <p:blipFill>
          <a:blip r:embed="rId2" cstate="print"/>
          <a:srcRect l="2215" b="2467"/>
          <a:stretch>
            <a:fillRect/>
          </a:stretch>
        </p:blipFill>
        <p:spPr bwMode="auto">
          <a:xfrm>
            <a:off x="520700" y="1241425"/>
            <a:ext cx="8551863" cy="5210175"/>
          </a:xfrm>
          <a:prstGeom prst="rect">
            <a:avLst/>
          </a:prstGeom>
          <a:noFill/>
          <a:ln w="9525">
            <a:noFill/>
            <a:miter lim="800000"/>
            <a:headEnd/>
            <a:tailEnd/>
          </a:ln>
        </p:spPr>
      </p:pic>
      <p:sp>
        <p:nvSpPr>
          <p:cNvPr id="2" name="Titel 1"/>
          <p:cNvSpPr>
            <a:spLocks noGrp="1"/>
          </p:cNvSpPr>
          <p:nvPr>
            <p:ph type="title"/>
          </p:nvPr>
        </p:nvSpPr>
        <p:spPr/>
        <p:txBody>
          <a:bodyPr/>
          <a:lstStyle/>
          <a:p>
            <a:r>
              <a:rPr lang="de-CH" sz="1800" kern="1200" dirty="0" err="1">
                <a:latin typeface="Arial" charset="0"/>
              </a:rPr>
              <a:t>ecopolicyade</a:t>
            </a:r>
            <a:r>
              <a:rPr lang="en-US" sz="1800" dirty="0">
                <a:latin typeface="Arial" charset="0"/>
                <a:cs typeface="Arial" pitchFamily="34" charset="0"/>
              </a:rPr>
              <a:t>®</a:t>
            </a:r>
            <a:r>
              <a:rPr lang="de-CH" sz="1800" kern="1200" dirty="0">
                <a:latin typeface="Arial" charset="0"/>
              </a:rPr>
              <a:t> - </a:t>
            </a:r>
            <a:r>
              <a:rPr lang="de-CH" sz="1800" kern="1200" dirty="0" err="1">
                <a:latin typeface="Arial" charset="0"/>
              </a:rPr>
              <a:t>Students</a:t>
            </a:r>
            <a:r>
              <a:rPr lang="de-CH" sz="1800" kern="1200" dirty="0">
                <a:latin typeface="Arial" charset="0"/>
              </a:rPr>
              <a:t> </a:t>
            </a:r>
            <a:r>
              <a:rPr lang="de-CH" sz="1800" kern="1200" dirty="0" err="1">
                <a:latin typeface="Arial" charset="0"/>
              </a:rPr>
              <a:t>and</a:t>
            </a:r>
            <a:r>
              <a:rPr lang="de-CH" sz="1800" kern="1200" dirty="0">
                <a:latin typeface="Arial" charset="0"/>
              </a:rPr>
              <a:t> </a:t>
            </a:r>
            <a:r>
              <a:rPr lang="de-CH" sz="1800" kern="1200" dirty="0" err="1">
                <a:latin typeface="Arial" charset="0"/>
              </a:rPr>
              <a:t>Politicians</a:t>
            </a:r>
            <a:r>
              <a:rPr lang="de-CH" sz="1800" kern="1200" dirty="0">
                <a:latin typeface="Arial" charset="0"/>
              </a:rPr>
              <a:t> </a:t>
            </a:r>
            <a:r>
              <a:rPr lang="de-CH" sz="1800" kern="1200" dirty="0" err="1">
                <a:latin typeface="Arial" charset="0"/>
              </a:rPr>
              <a:t>inSchleswig</a:t>
            </a:r>
            <a:r>
              <a:rPr lang="de-CH" sz="1800" kern="1200" dirty="0">
                <a:latin typeface="Arial" charset="0"/>
              </a:rPr>
              <a:t>- Holstein 2008</a:t>
            </a:r>
            <a:br>
              <a:rPr lang="de-CH" sz="1800" kern="1200" dirty="0">
                <a:latin typeface="Arial" charset="0"/>
              </a:rPr>
            </a:br>
            <a:r>
              <a:rPr lang="de-CH" sz="1800" kern="1200" dirty="0">
                <a:latin typeface="Arial" charset="0"/>
              </a:rPr>
              <a:t>“</a:t>
            </a:r>
            <a:r>
              <a:rPr lang="de-CH" sz="1800" kern="1200" dirty="0" err="1">
                <a:latin typeface="Arial" charset="0"/>
              </a:rPr>
              <a:t>Statal</a:t>
            </a:r>
            <a:r>
              <a:rPr lang="de-CH" sz="1800" kern="1200" dirty="0">
                <a:latin typeface="Arial" charset="0"/>
              </a:rPr>
              <a:t> </a:t>
            </a:r>
            <a:r>
              <a:rPr lang="de-CH" sz="1800" kern="1200" dirty="0" err="1">
                <a:latin typeface="Arial" charset="0"/>
              </a:rPr>
              <a:t>Leaders</a:t>
            </a:r>
            <a:r>
              <a:rPr lang="de-CH" sz="1800" kern="1200" dirty="0">
                <a:latin typeface="Arial" charset="0"/>
              </a:rPr>
              <a:t> </a:t>
            </a:r>
            <a:r>
              <a:rPr lang="de-CH" sz="1800" kern="1200" dirty="0" err="1">
                <a:latin typeface="Arial" charset="0"/>
              </a:rPr>
              <a:t>with</a:t>
            </a:r>
            <a:r>
              <a:rPr lang="de-CH" sz="1800" kern="1200" dirty="0">
                <a:latin typeface="Arial" charset="0"/>
              </a:rPr>
              <a:t> Virtual Vision“</a:t>
            </a:r>
            <a:br>
              <a:rPr lang="de-CH" sz="1800" kern="1200" dirty="0">
                <a:latin typeface="Arial" charset="0"/>
              </a:rPr>
            </a:br>
            <a:endParaRPr lang="en-GB" dirty="0"/>
          </a:p>
        </p:txBody>
      </p:sp>
      <p:sp>
        <p:nvSpPr>
          <p:cNvPr id="3" name="Textplatzhalter 2"/>
          <p:cNvSpPr>
            <a:spLocks noGrp="1"/>
          </p:cNvSpPr>
          <p:nvPr>
            <p:ph type="body" sz="quarter" idx="10"/>
          </p:nvPr>
        </p:nvSpPr>
        <p:spPr/>
        <p:txBody>
          <a:bodyPr/>
          <a:lstStyle/>
          <a:p>
            <a:endParaRPr lang="en-GB" dirty="0"/>
          </a:p>
        </p:txBody>
      </p:sp>
    </p:spTree>
    <p:extLst>
      <p:ext uri="{BB962C8B-B14F-4D97-AF65-F5344CB8AC3E}">
        <p14:creationId xmlns:p14="http://schemas.microsoft.com/office/powerpoint/2010/main" val="1176930435"/>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76" descr="Pict1420_OEK_Wulff"/>
          <p:cNvPicPr>
            <a:picLocks noChangeAspect="1" noChangeArrowheads="1"/>
          </p:cNvPicPr>
          <p:nvPr/>
        </p:nvPicPr>
        <p:blipFill>
          <a:blip r:embed="rId2" cstate="print"/>
          <a:srcRect l="5141" r="8410"/>
          <a:stretch>
            <a:fillRect/>
          </a:stretch>
        </p:blipFill>
        <p:spPr bwMode="auto">
          <a:xfrm>
            <a:off x="0" y="457200"/>
            <a:ext cx="4150061" cy="6400799"/>
          </a:xfrm>
          <a:prstGeom prst="rect">
            <a:avLst/>
          </a:prstGeom>
          <a:noFill/>
          <a:ln w="9525">
            <a:noFill/>
            <a:miter lim="800000"/>
            <a:headEnd/>
            <a:tailEnd/>
          </a:ln>
        </p:spPr>
      </p:pic>
      <p:sp>
        <p:nvSpPr>
          <p:cNvPr id="3" name="Text Box 77"/>
          <p:cNvSpPr txBox="1">
            <a:spLocks noChangeArrowheads="1"/>
          </p:cNvSpPr>
          <p:nvPr/>
        </p:nvSpPr>
        <p:spPr bwMode="auto">
          <a:xfrm>
            <a:off x="4654718" y="3980332"/>
            <a:ext cx="4749260" cy="1477328"/>
          </a:xfrm>
          <a:prstGeom prst="rect">
            <a:avLst/>
          </a:prstGeom>
          <a:noFill/>
          <a:ln w="9525">
            <a:noFill/>
            <a:miter lim="800000"/>
            <a:headEnd/>
            <a:tailEnd/>
          </a:ln>
        </p:spPr>
        <p:txBody>
          <a:bodyPr wrap="square">
            <a:spAutoFit/>
          </a:bodyPr>
          <a:lstStyle/>
          <a:p>
            <a:pPr marL="0" marR="0" lvl="0" indent="0" algn="l" defTabSz="914400" rtl="0" eaLnBrk="0" fontAlgn="base" latinLnBrk="0" hangingPunct="0">
              <a:lnSpc>
                <a:spcPct val="100000"/>
              </a:lnSpc>
              <a:spcBef>
                <a:spcPct val="50000"/>
              </a:spcBef>
              <a:spcAft>
                <a:spcPct val="20000"/>
              </a:spcAft>
              <a:buClrTx/>
              <a:buSzTx/>
              <a:buFontTx/>
              <a:buNone/>
              <a:tabLst/>
              <a:defRPr/>
            </a:pPr>
            <a:r>
              <a:rPr kumimoji="0" lang="de-CH" sz="1800" b="1" i="0" u="none" strike="noStrike" kern="1200" cap="none" spc="0" normalizeH="0" baseline="0" noProof="0" dirty="0">
                <a:ln>
                  <a:noFill/>
                </a:ln>
                <a:solidFill>
                  <a:srgbClr val="000000"/>
                </a:solidFill>
                <a:effectLst/>
                <a:uLnTx/>
                <a:uFillTx/>
                <a:latin typeface="Arial" charset="0"/>
                <a:ea typeface="+mn-ea"/>
                <a:cs typeface="+mn-cs"/>
              </a:rPr>
              <a:t/>
            </a:r>
            <a:br>
              <a:rPr kumimoji="0" lang="de-CH" sz="1800" b="1" i="0" u="none" strike="noStrike" kern="1200" cap="none" spc="0" normalizeH="0" baseline="0" noProof="0" dirty="0">
                <a:ln>
                  <a:noFill/>
                </a:ln>
                <a:solidFill>
                  <a:srgbClr val="000000"/>
                </a:solidFill>
                <a:effectLst/>
                <a:uLnTx/>
                <a:uFillTx/>
                <a:latin typeface="Arial" charset="0"/>
                <a:ea typeface="+mn-ea"/>
                <a:cs typeface="+mn-cs"/>
              </a:rPr>
            </a:br>
            <a:r>
              <a:rPr kumimoji="0" lang="de-CH" sz="1800" b="1" i="0" u="none" strike="noStrike" kern="1200" cap="none" spc="0" normalizeH="0" baseline="0" noProof="0" dirty="0">
                <a:ln>
                  <a:noFill/>
                </a:ln>
                <a:solidFill>
                  <a:srgbClr val="000000"/>
                </a:solidFill>
                <a:effectLst/>
                <a:uLnTx/>
                <a:uFillTx/>
                <a:latin typeface="Arial" charset="0"/>
                <a:ea typeface="+mn-ea"/>
                <a:cs typeface="+mn-cs"/>
              </a:rPr>
              <a:t/>
            </a:r>
            <a:br>
              <a:rPr kumimoji="0" lang="de-CH" sz="1800" b="1" i="0" u="none" strike="noStrike" kern="1200" cap="none" spc="0" normalizeH="0" baseline="0" noProof="0" dirty="0">
                <a:ln>
                  <a:noFill/>
                </a:ln>
                <a:solidFill>
                  <a:srgbClr val="000000"/>
                </a:solidFill>
                <a:effectLst/>
                <a:uLnTx/>
                <a:uFillTx/>
                <a:latin typeface="Arial" charset="0"/>
                <a:ea typeface="+mn-ea"/>
                <a:cs typeface="+mn-cs"/>
              </a:rPr>
            </a:br>
            <a:r>
              <a:rPr kumimoji="0" lang="de-CH" sz="1800" b="1" i="0" u="none" strike="noStrike" kern="1200" cap="none" spc="0" normalizeH="0" baseline="0" noProof="0" dirty="0" smtClean="0">
                <a:ln>
                  <a:noFill/>
                </a:ln>
                <a:solidFill>
                  <a:srgbClr val="000000"/>
                </a:solidFill>
                <a:effectLst/>
                <a:uLnTx/>
                <a:uFillTx/>
                <a:latin typeface="Arial" charset="0"/>
                <a:ea typeface="+mn-ea"/>
                <a:cs typeface="+mn-cs"/>
              </a:rPr>
              <a:t>Prime Minister Christian </a:t>
            </a:r>
            <a:r>
              <a:rPr kumimoji="0" lang="de-CH" sz="1800" b="1" i="0" u="none" strike="noStrike" kern="1200" cap="none" spc="0" normalizeH="0" baseline="0" noProof="0" dirty="0">
                <a:ln>
                  <a:noFill/>
                </a:ln>
                <a:solidFill>
                  <a:srgbClr val="000000"/>
                </a:solidFill>
                <a:effectLst/>
                <a:uLnTx/>
                <a:uFillTx/>
                <a:latin typeface="Arial" charset="0"/>
                <a:ea typeface="+mn-ea"/>
                <a:cs typeface="+mn-cs"/>
              </a:rPr>
              <a:t>Wulff</a:t>
            </a:r>
            <a:br>
              <a:rPr kumimoji="0" lang="de-CH" sz="1800" b="1" i="0" u="none" strike="noStrike" kern="1200" cap="none" spc="0" normalizeH="0" baseline="0" noProof="0" dirty="0">
                <a:ln>
                  <a:noFill/>
                </a:ln>
                <a:solidFill>
                  <a:srgbClr val="000000"/>
                </a:solidFill>
                <a:effectLst/>
                <a:uLnTx/>
                <a:uFillTx/>
                <a:latin typeface="Arial" charset="0"/>
                <a:ea typeface="+mn-ea"/>
                <a:cs typeface="+mn-cs"/>
              </a:rPr>
            </a:br>
            <a:r>
              <a:rPr kumimoji="0" lang="de-CH" sz="1800" b="1" i="0" u="none" strike="noStrike" kern="1200" cap="none" spc="0" normalizeH="0" baseline="0" noProof="0" dirty="0">
                <a:ln>
                  <a:noFill/>
                </a:ln>
                <a:solidFill>
                  <a:srgbClr val="000000"/>
                </a:solidFill>
                <a:effectLst/>
                <a:uLnTx/>
                <a:uFillTx/>
                <a:latin typeface="Arial" charset="0"/>
                <a:ea typeface="+mn-ea"/>
                <a:cs typeface="+mn-cs"/>
              </a:rPr>
              <a:t>Dr. </a:t>
            </a:r>
            <a:r>
              <a:rPr kumimoji="0" lang="de-CH" sz="1800" b="1" i="0" u="none" strike="noStrike" kern="1200" cap="none" spc="0" normalizeH="0" baseline="0" noProof="0" dirty="0" err="1">
                <a:ln>
                  <a:noFill/>
                </a:ln>
                <a:solidFill>
                  <a:srgbClr val="000000"/>
                </a:solidFill>
                <a:effectLst/>
                <a:uLnTx/>
                <a:uFillTx/>
                <a:latin typeface="Arial" charset="0"/>
                <a:ea typeface="+mn-ea"/>
                <a:cs typeface="+mn-cs"/>
              </a:rPr>
              <a:t>Oeller</a:t>
            </a:r>
            <a:r>
              <a:rPr kumimoji="0" lang="de-CH" sz="1800" b="1" i="0" u="none" strike="noStrike" kern="1200" cap="none" spc="0" normalizeH="0" baseline="0" noProof="0" dirty="0">
                <a:ln>
                  <a:noFill/>
                </a:ln>
                <a:solidFill>
                  <a:srgbClr val="000000"/>
                </a:solidFill>
                <a:effectLst/>
                <a:uLnTx/>
                <a:uFillTx/>
                <a:latin typeface="Arial" charset="0"/>
                <a:ea typeface="+mn-ea"/>
                <a:cs typeface="+mn-cs"/>
              </a:rPr>
              <a:t>, </a:t>
            </a:r>
            <a:r>
              <a:rPr kumimoji="0" lang="de-CH" sz="1800" b="1" i="0" u="none" strike="noStrike" kern="1200" cap="none" spc="0" normalizeH="0" baseline="0" noProof="0" dirty="0" smtClean="0">
                <a:ln>
                  <a:noFill/>
                </a:ln>
                <a:solidFill>
                  <a:srgbClr val="000000"/>
                </a:solidFill>
                <a:effectLst/>
                <a:uLnTx/>
                <a:uFillTx/>
                <a:latin typeface="Arial" charset="0"/>
                <a:ea typeface="+mn-ea"/>
                <a:cs typeface="+mn-cs"/>
              </a:rPr>
              <a:t>Malik Management</a:t>
            </a:r>
            <a:r>
              <a:rPr kumimoji="0" lang="de-CH" sz="1800" b="1" i="0" u="none" strike="noStrike" kern="1200" cap="none" spc="0" normalizeH="0" baseline="0" noProof="0" dirty="0">
                <a:ln>
                  <a:noFill/>
                </a:ln>
                <a:solidFill>
                  <a:srgbClr val="000000"/>
                </a:solidFill>
                <a:effectLst/>
                <a:uLnTx/>
                <a:uFillTx/>
                <a:latin typeface="Arial" charset="0"/>
                <a:ea typeface="+mn-ea"/>
                <a:cs typeface="+mn-cs"/>
              </a:rPr>
              <a:t/>
            </a:r>
            <a:br>
              <a:rPr kumimoji="0" lang="de-CH" sz="1800" b="1" i="0" u="none" strike="noStrike" kern="1200" cap="none" spc="0" normalizeH="0" baseline="0" noProof="0" dirty="0">
                <a:ln>
                  <a:noFill/>
                </a:ln>
                <a:solidFill>
                  <a:srgbClr val="000000"/>
                </a:solidFill>
                <a:effectLst/>
                <a:uLnTx/>
                <a:uFillTx/>
                <a:latin typeface="Arial" charset="0"/>
                <a:ea typeface="+mn-ea"/>
                <a:cs typeface="+mn-cs"/>
              </a:rPr>
            </a:br>
            <a:r>
              <a:rPr kumimoji="0" lang="de-CH" sz="1800" b="1" i="0" u="none" strike="noStrike" kern="1200" cap="none" spc="0" normalizeH="0" baseline="0" noProof="0" dirty="0">
                <a:ln>
                  <a:noFill/>
                </a:ln>
                <a:solidFill>
                  <a:srgbClr val="000000"/>
                </a:solidFill>
                <a:effectLst/>
                <a:uLnTx/>
                <a:uFillTx/>
                <a:latin typeface="Arial" charset="0"/>
                <a:ea typeface="+mn-ea"/>
                <a:cs typeface="+mn-cs"/>
              </a:rPr>
              <a:t>Hans-Werner </a:t>
            </a:r>
            <a:r>
              <a:rPr kumimoji="0" lang="de-CH" sz="1800" b="1" i="0" u="none" strike="noStrike" kern="1200" cap="none" spc="0" normalizeH="0" baseline="0" noProof="0" dirty="0" smtClean="0">
                <a:ln>
                  <a:noFill/>
                </a:ln>
                <a:solidFill>
                  <a:srgbClr val="000000"/>
                </a:solidFill>
                <a:effectLst/>
                <a:uLnTx/>
                <a:uFillTx/>
                <a:latin typeface="Arial" charset="0"/>
                <a:ea typeface="+mn-ea"/>
                <a:cs typeface="+mn-cs"/>
              </a:rPr>
              <a:t>Hansen, </a:t>
            </a:r>
            <a:r>
              <a:rPr kumimoji="0" lang="de-CH" sz="1800" b="1" i="0" u="none" strike="noStrike" kern="1200" cap="none" spc="0" normalizeH="0" baseline="0" noProof="0" dirty="0" err="1" smtClean="0">
                <a:ln>
                  <a:noFill/>
                </a:ln>
                <a:solidFill>
                  <a:srgbClr val="000000"/>
                </a:solidFill>
                <a:effectLst/>
                <a:uLnTx/>
                <a:uFillTx/>
                <a:latin typeface="Arial" charset="0"/>
                <a:ea typeface="+mn-ea"/>
                <a:cs typeface="+mn-cs"/>
              </a:rPr>
              <a:t>ecopolicyade</a:t>
            </a:r>
            <a:r>
              <a:rPr kumimoji="0" lang="de-CH" sz="1800" b="1" i="0" u="none" strike="noStrike" kern="1200" cap="none" spc="0" normalizeH="0" baseline="0" noProof="0" dirty="0" smtClean="0">
                <a:ln>
                  <a:noFill/>
                </a:ln>
                <a:solidFill>
                  <a:srgbClr val="000000"/>
                </a:solidFill>
                <a:effectLst/>
                <a:uLnTx/>
                <a:uFillTx/>
                <a:latin typeface="Arial" charset="0"/>
                <a:ea typeface="+mn-ea"/>
                <a:cs typeface="+mn-cs"/>
              </a:rPr>
              <a:t>-Büro</a:t>
            </a:r>
            <a:endParaRPr kumimoji="0" lang="de-CH" sz="18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 name="Rechteck 3"/>
          <p:cNvSpPr/>
          <p:nvPr/>
        </p:nvSpPr>
        <p:spPr>
          <a:xfrm>
            <a:off x="4618859" y="2169459"/>
            <a:ext cx="4245073" cy="707886"/>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20000"/>
              </a:spcAft>
              <a:buClrTx/>
              <a:buSzTx/>
              <a:buFontTx/>
              <a:buNone/>
              <a:tabLst/>
              <a:defRPr/>
            </a:pPr>
            <a:r>
              <a:rPr kumimoji="0" lang="de-CH" sz="2000" b="1" i="0" u="none" strike="noStrike" kern="1200" cap="none" spc="0" normalizeH="0" baseline="0" noProof="0" dirty="0" err="1" smtClean="0">
                <a:ln>
                  <a:noFill/>
                </a:ln>
                <a:effectLst/>
                <a:uLnTx/>
                <a:uFillTx/>
                <a:latin typeface="Arial" charset="0"/>
                <a:ea typeface="+mn-ea"/>
                <a:cs typeface="+mn-cs"/>
              </a:rPr>
              <a:t>ecopolicyade</a:t>
            </a:r>
            <a:r>
              <a:rPr kumimoji="0" lang="de-CH" sz="2000" b="1" i="0" u="none" strike="noStrike" kern="1200" cap="none" spc="0" normalizeH="0" baseline="0" noProof="0" dirty="0" smtClean="0">
                <a:ln>
                  <a:noFill/>
                </a:ln>
                <a:effectLst/>
                <a:uLnTx/>
                <a:uFillTx/>
                <a:latin typeface="Arial" charset="0"/>
                <a:ea typeface="+mn-ea"/>
                <a:cs typeface="+mn-cs"/>
              </a:rPr>
              <a:t> Finals </a:t>
            </a:r>
            <a:br>
              <a:rPr kumimoji="0" lang="de-CH" sz="2000" b="1" i="0" u="none" strike="noStrike" kern="1200" cap="none" spc="0" normalizeH="0" baseline="0" noProof="0" dirty="0" smtClean="0">
                <a:ln>
                  <a:noFill/>
                </a:ln>
                <a:effectLst/>
                <a:uLnTx/>
                <a:uFillTx/>
                <a:latin typeface="Arial" charset="0"/>
                <a:ea typeface="+mn-ea"/>
                <a:cs typeface="+mn-cs"/>
              </a:rPr>
            </a:br>
            <a:r>
              <a:rPr kumimoji="0" lang="de-CH" sz="2000" b="1" i="0" u="none" strike="noStrike" kern="1200" cap="none" spc="0" normalizeH="0" baseline="0" noProof="0" dirty="0" smtClean="0">
                <a:ln>
                  <a:noFill/>
                </a:ln>
                <a:effectLst/>
                <a:uLnTx/>
                <a:uFillTx/>
                <a:latin typeface="Arial" charset="0"/>
                <a:ea typeface="+mn-ea"/>
                <a:cs typeface="+mn-cs"/>
              </a:rPr>
              <a:t>Federal State </a:t>
            </a:r>
            <a:r>
              <a:rPr kumimoji="0" lang="de-CH" sz="2000" b="1" i="0" u="none" strike="noStrike" kern="1200" cap="none" spc="0" normalizeH="0" baseline="0" noProof="0" dirty="0" err="1" smtClean="0">
                <a:ln>
                  <a:noFill/>
                </a:ln>
                <a:effectLst/>
                <a:uLnTx/>
                <a:uFillTx/>
                <a:latin typeface="Arial" charset="0"/>
                <a:ea typeface="+mn-ea"/>
                <a:cs typeface="+mn-cs"/>
              </a:rPr>
              <a:t>Lower</a:t>
            </a:r>
            <a:r>
              <a:rPr kumimoji="0" lang="de-CH" sz="2000" b="1" i="0" u="none" strike="noStrike" kern="1200" cap="none" spc="0" normalizeH="0" baseline="0" noProof="0" dirty="0" smtClean="0">
                <a:ln>
                  <a:noFill/>
                </a:ln>
                <a:effectLst/>
                <a:uLnTx/>
                <a:uFillTx/>
                <a:latin typeface="Arial" charset="0"/>
                <a:ea typeface="+mn-ea"/>
                <a:cs typeface="+mn-cs"/>
              </a:rPr>
              <a:t> </a:t>
            </a:r>
            <a:r>
              <a:rPr kumimoji="0" lang="de-CH" sz="2000" b="1" i="0" u="none" strike="noStrike" kern="1200" cap="none" spc="0" normalizeH="0" baseline="0" noProof="0" dirty="0" err="1" smtClean="0">
                <a:ln>
                  <a:noFill/>
                </a:ln>
                <a:effectLst/>
                <a:uLnTx/>
                <a:uFillTx/>
                <a:latin typeface="Arial" charset="0"/>
                <a:ea typeface="+mn-ea"/>
                <a:cs typeface="+mn-cs"/>
              </a:rPr>
              <a:t>Saxony</a:t>
            </a:r>
            <a:r>
              <a:rPr kumimoji="0" lang="de-CH" sz="2000" b="1" i="0" u="none" strike="noStrike" kern="1200" cap="none" spc="0" normalizeH="0" baseline="0" noProof="0" dirty="0" smtClean="0">
                <a:ln>
                  <a:noFill/>
                </a:ln>
                <a:effectLst/>
                <a:uLnTx/>
                <a:uFillTx/>
                <a:latin typeface="Arial" charset="0"/>
                <a:ea typeface="+mn-ea"/>
                <a:cs typeface="+mn-cs"/>
              </a:rPr>
              <a:t> 2007</a:t>
            </a:r>
            <a:endParaRPr kumimoji="0" lang="de-CH" sz="2000" b="0" i="0" u="none" strike="noStrike" kern="1200" cap="none" spc="0" normalizeH="0" baseline="0" noProof="0" dirty="0">
              <a:ln>
                <a:noFill/>
              </a:ln>
              <a:effectLst/>
              <a:uLnTx/>
              <a:uFillTx/>
              <a:latin typeface="Arial" charset="0"/>
              <a:ea typeface="+mn-ea"/>
              <a:cs typeface="+mn-cs"/>
            </a:endParaRPr>
          </a:p>
        </p:txBody>
      </p:sp>
    </p:spTree>
    <p:extLst>
      <p:ext uri="{BB962C8B-B14F-4D97-AF65-F5344CB8AC3E}">
        <p14:creationId xmlns:p14="http://schemas.microsoft.com/office/powerpoint/2010/main" val="524425513"/>
      </p:ext>
    </p:extLst>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Titel 1"/>
          <p:cNvSpPr txBox="1">
            <a:spLocks/>
          </p:cNvSpPr>
          <p:nvPr/>
        </p:nvSpPr>
        <p:spPr bwMode="auto">
          <a:xfrm>
            <a:off x="102349" y="1145576"/>
            <a:ext cx="8420100" cy="400050"/>
          </a:xfrm>
          <a:prstGeom prst="rect">
            <a:avLst/>
          </a:prstGeom>
          <a:noFill/>
          <a:ln w="9525">
            <a:noFill/>
            <a:miter lim="800000"/>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sz="2000" b="1" i="0" u="none" strike="noStrike" kern="1200" cap="none" spc="0" normalizeH="0" baseline="0" noProof="0" dirty="0">
              <a:ln>
                <a:noFill/>
              </a:ln>
              <a:solidFill>
                <a:srgbClr val="000000">
                  <a:lumMod val="50000"/>
                  <a:lumOff val="50000"/>
                </a:srgbClr>
              </a:solidFill>
              <a:effectLst/>
              <a:uLnTx/>
              <a:uFillTx/>
              <a:latin typeface="Arial" charset="0"/>
              <a:ea typeface="+mn-ea"/>
              <a:cs typeface="+mn-cs"/>
            </a:endParaRPr>
          </a:p>
        </p:txBody>
      </p:sp>
      <p:pic>
        <p:nvPicPr>
          <p:cNvPr id="200707" name="Grafik 6" descr="TV-News Nied Kopie.jpg"/>
          <p:cNvPicPr>
            <a:picLocks noChangeAspect="1"/>
          </p:cNvPicPr>
          <p:nvPr/>
        </p:nvPicPr>
        <p:blipFill>
          <a:blip r:embed="rId3" cstate="print"/>
          <a:srcRect/>
          <a:stretch>
            <a:fillRect/>
          </a:stretch>
        </p:blipFill>
        <p:spPr bwMode="auto">
          <a:xfrm>
            <a:off x="4089399" y="1875007"/>
            <a:ext cx="5484813" cy="4035256"/>
          </a:xfrm>
          <a:prstGeom prst="rect">
            <a:avLst/>
          </a:prstGeom>
          <a:noFill/>
          <a:ln w="9525">
            <a:noFill/>
            <a:miter lim="800000"/>
            <a:headEnd/>
            <a:tailEnd/>
          </a:ln>
        </p:spPr>
      </p:pic>
      <p:pic>
        <p:nvPicPr>
          <p:cNvPr id="200708" name="Grafik 9" descr="IMG_0073.JPG"/>
          <p:cNvPicPr>
            <a:picLocks noChangeAspect="1"/>
          </p:cNvPicPr>
          <p:nvPr/>
        </p:nvPicPr>
        <p:blipFill>
          <a:blip r:embed="rId4" cstate="print"/>
          <a:srcRect/>
          <a:stretch>
            <a:fillRect/>
          </a:stretch>
        </p:blipFill>
        <p:spPr bwMode="auto">
          <a:xfrm>
            <a:off x="550863" y="1501775"/>
            <a:ext cx="3471862" cy="2601913"/>
          </a:xfrm>
          <a:prstGeom prst="rect">
            <a:avLst/>
          </a:prstGeom>
          <a:noFill/>
          <a:ln w="9525">
            <a:noFill/>
            <a:miter lim="800000"/>
            <a:headEnd/>
            <a:tailEnd/>
          </a:ln>
        </p:spPr>
      </p:pic>
      <p:pic>
        <p:nvPicPr>
          <p:cNvPr id="200709" name="Grafik 10" descr="IMG_0072.JPG"/>
          <p:cNvPicPr>
            <a:picLocks noChangeAspect="1"/>
          </p:cNvPicPr>
          <p:nvPr/>
        </p:nvPicPr>
        <p:blipFill>
          <a:blip r:embed="rId5" cstate="print"/>
          <a:srcRect l="5301" b="11044"/>
          <a:stretch>
            <a:fillRect/>
          </a:stretch>
        </p:blipFill>
        <p:spPr bwMode="auto">
          <a:xfrm>
            <a:off x="550863" y="4162425"/>
            <a:ext cx="3471862" cy="2444750"/>
          </a:xfrm>
          <a:prstGeom prst="rect">
            <a:avLst/>
          </a:prstGeom>
          <a:noFill/>
          <a:ln w="9525">
            <a:noFill/>
            <a:miter lim="800000"/>
            <a:headEnd/>
            <a:tailEnd/>
          </a:ln>
        </p:spPr>
      </p:pic>
      <p:sp>
        <p:nvSpPr>
          <p:cNvPr id="8" name="Titel 1"/>
          <p:cNvSpPr>
            <a:spLocks noGrp="1"/>
          </p:cNvSpPr>
          <p:nvPr>
            <p:ph type="title"/>
          </p:nvPr>
        </p:nvSpPr>
        <p:spPr/>
        <p:txBody>
          <a:bodyPr/>
          <a:lstStyle/>
          <a:p>
            <a:r>
              <a:rPr lang="de-DE" sz="1800" kern="1200" dirty="0">
                <a:latin typeface="Arial" charset="0"/>
              </a:rPr>
              <a:t>TV-News </a:t>
            </a:r>
            <a:r>
              <a:rPr lang="de-DE" sz="1800" kern="1200" dirty="0" err="1">
                <a:latin typeface="Arial" charset="0"/>
              </a:rPr>
              <a:t>Lower</a:t>
            </a:r>
            <a:r>
              <a:rPr lang="de-DE" sz="1800" kern="1200" dirty="0">
                <a:latin typeface="Arial" charset="0"/>
              </a:rPr>
              <a:t> </a:t>
            </a:r>
            <a:r>
              <a:rPr lang="de-DE" sz="1800" kern="1200" dirty="0" err="1">
                <a:latin typeface="Arial" charset="0"/>
              </a:rPr>
              <a:t>Saxony</a:t>
            </a:r>
            <a:r>
              <a:rPr lang="de-DE" sz="1800" kern="1200" dirty="0">
                <a:latin typeface="Arial" charset="0"/>
              </a:rPr>
              <a:t> 2006</a:t>
            </a:r>
            <a:br>
              <a:rPr lang="de-DE" sz="1800" kern="1200" dirty="0">
                <a:latin typeface="Arial" charset="0"/>
              </a:rPr>
            </a:br>
            <a:r>
              <a:rPr lang="de-DE" sz="1800" kern="1200" dirty="0">
                <a:latin typeface="Arial" charset="0"/>
              </a:rPr>
              <a:t>“Management Game </a:t>
            </a:r>
            <a:r>
              <a:rPr lang="de-DE" sz="1800" kern="1200" dirty="0" err="1">
                <a:latin typeface="Arial" charset="0"/>
              </a:rPr>
              <a:t>for</a:t>
            </a:r>
            <a:r>
              <a:rPr lang="de-DE" sz="1800" kern="1200" dirty="0">
                <a:latin typeface="Arial" charset="0"/>
              </a:rPr>
              <a:t> </a:t>
            </a:r>
            <a:r>
              <a:rPr lang="de-DE" sz="1800" kern="1200" dirty="0" err="1">
                <a:latin typeface="Arial" charset="0"/>
              </a:rPr>
              <a:t>Governance</a:t>
            </a:r>
            <a:r>
              <a:rPr lang="de-DE" sz="1800" kern="1200" dirty="0">
                <a:latin typeface="Arial" charset="0"/>
              </a:rPr>
              <a:t>“</a:t>
            </a:r>
            <a:br>
              <a:rPr lang="de-DE" sz="1800" kern="1200" dirty="0">
                <a:latin typeface="Arial" charset="0"/>
              </a:rPr>
            </a:br>
            <a:endParaRPr lang="en-GB" dirty="0"/>
          </a:p>
        </p:txBody>
      </p:sp>
      <p:sp>
        <p:nvSpPr>
          <p:cNvPr id="3" name="Textplatzhalter 2"/>
          <p:cNvSpPr>
            <a:spLocks noGrp="1"/>
          </p:cNvSpPr>
          <p:nvPr>
            <p:ph type="body" sz="quarter" idx="10"/>
          </p:nvPr>
        </p:nvSpPr>
        <p:spPr/>
        <p:txBody>
          <a:bodyPr/>
          <a:lstStyle/>
          <a:p>
            <a:endParaRPr lang="en-GB"/>
          </a:p>
        </p:txBody>
      </p:sp>
    </p:spTree>
    <p:extLst>
      <p:ext uri="{BB962C8B-B14F-4D97-AF65-F5344CB8AC3E}">
        <p14:creationId xmlns:p14="http://schemas.microsoft.com/office/powerpoint/2010/main" val="3858716921"/>
      </p:ext>
    </p:extLst>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p:cNvSpPr>
            <a:spLocks noGrp="1"/>
          </p:cNvSpPr>
          <p:nvPr>
            <p:ph sz="quarter" idx="13"/>
          </p:nvPr>
        </p:nvSpPr>
        <p:spPr/>
        <p:txBody>
          <a:bodyPr/>
          <a:lstStyle/>
          <a:p>
            <a:r>
              <a:rPr lang="de-CH" sz="1400" dirty="0"/>
              <a:t>Wirtschaft und Gesellschaft gehen weltweit durch eine der grössten Transformationen der Geschichte. </a:t>
            </a:r>
            <a:br>
              <a:rPr lang="de-CH" sz="1400" dirty="0"/>
            </a:br>
            <a:r>
              <a:rPr lang="de-CH" sz="1400" dirty="0"/>
              <a:t>Wir sind Zeitzeugen der Entstehung einer Neuen Welt.</a:t>
            </a:r>
            <a:br>
              <a:rPr lang="de-CH" sz="1400" dirty="0"/>
            </a:br>
            <a:r>
              <a:rPr lang="de-CH" sz="1400" dirty="0"/>
              <a:t>Wir stehen inmitten des Überganges von der Alten Welt, wie wir sie kennen,  zu einer Neuen Welt, die wir noch nicht kennen.  </a:t>
            </a:r>
            <a:br>
              <a:rPr lang="de-CH" sz="1400" dirty="0"/>
            </a:br>
            <a:r>
              <a:rPr lang="de-CH" sz="1400" dirty="0"/>
              <a:t/>
            </a:r>
            <a:br>
              <a:rPr lang="de-CH" sz="1400" dirty="0"/>
            </a:br>
            <a:r>
              <a:rPr lang="de-CH" sz="1400" dirty="0"/>
              <a:t>Fast alles wird sich ändern … </a:t>
            </a:r>
            <a:br>
              <a:rPr lang="de-CH" sz="1400" dirty="0"/>
            </a:br>
            <a:r>
              <a:rPr lang="de-CH" sz="1400" dirty="0"/>
              <a:t>Schon in wenigen Jahren wird fast alles anders sein als heute:  </a:t>
            </a:r>
            <a:br>
              <a:rPr lang="de-CH" sz="1400" dirty="0"/>
            </a:br>
            <a:r>
              <a:rPr lang="de-CH" sz="1400" i="1" dirty="0"/>
              <a:t>Was </a:t>
            </a:r>
            <a:r>
              <a:rPr lang="de-CH" sz="1400" dirty="0"/>
              <a:t>wir tun, </a:t>
            </a:r>
            <a:r>
              <a:rPr lang="de-CH" sz="1400" i="1" dirty="0"/>
              <a:t>wie </a:t>
            </a:r>
            <a:r>
              <a:rPr lang="de-CH" sz="1400" dirty="0"/>
              <a:t>wir es tun und </a:t>
            </a:r>
            <a:r>
              <a:rPr lang="de-CH" sz="1400" i="1" dirty="0"/>
              <a:t>warum </a:t>
            </a:r>
            <a:r>
              <a:rPr lang="de-CH" sz="1400" dirty="0"/>
              <a:t>wir es tun.</a:t>
            </a:r>
            <a:br>
              <a:rPr lang="de-CH" sz="1400" dirty="0"/>
            </a:br>
            <a:r>
              <a:rPr lang="de-CH" sz="1400" dirty="0"/>
              <a:t>Und möglicherweise auch: </a:t>
            </a:r>
            <a:r>
              <a:rPr lang="de-CH" sz="1400" i="1" dirty="0"/>
              <a:t>Wer </a:t>
            </a:r>
            <a:r>
              <a:rPr lang="de-CH" sz="1400" dirty="0"/>
              <a:t>wir sind und </a:t>
            </a:r>
            <a:r>
              <a:rPr lang="de-CH" sz="1400" i="1" dirty="0"/>
              <a:t>wie </a:t>
            </a:r>
            <a:r>
              <a:rPr lang="de-CH" sz="1400" dirty="0"/>
              <a:t>wir denken …</a:t>
            </a:r>
            <a:br>
              <a:rPr lang="de-CH" sz="1400" dirty="0"/>
            </a:br>
            <a:r>
              <a:rPr lang="de-CH" sz="1400" dirty="0"/>
              <a:t/>
            </a:r>
            <a:br>
              <a:rPr lang="de-CH" sz="1400" dirty="0"/>
            </a:br>
            <a:r>
              <a:rPr lang="de-CH" sz="1400" dirty="0"/>
              <a:t>Dieser Prozess wird sich noch über mehrere Jahrzehnte erstrecken, so wie das bei geschichtlich ähnlich verlaufenden Transformationen war. Etwa alle 200 Jahre fand bisher – scheinbar aus «heiterem Himmel» – eine grosse Restrukturierung der jeweiligen Gesellschaft statt. Innerhalb von etwa 50 Jahren hatte sich Gesellschaft grundlegend verändert. </a:t>
            </a:r>
            <a:br>
              <a:rPr lang="de-CH" sz="1400" dirty="0"/>
            </a:br>
            <a:r>
              <a:rPr lang="de-CH" sz="1400" dirty="0"/>
              <a:t/>
            </a:r>
            <a:br>
              <a:rPr lang="de-CH" sz="1400" dirty="0"/>
            </a:br>
            <a:r>
              <a:rPr lang="de-CH" sz="1400" dirty="0"/>
              <a:t>Beispiele sind die Zeit des Hochmittelalters, </a:t>
            </a:r>
            <a:r>
              <a:rPr lang="de-CH" sz="1400" dirty="0" err="1"/>
              <a:t>sondann</a:t>
            </a:r>
            <a:r>
              <a:rPr lang="de-CH" sz="1400" dirty="0"/>
              <a:t> die Periode der </a:t>
            </a:r>
            <a:r>
              <a:rPr lang="de-CH" sz="1400" dirty="0" err="1"/>
              <a:t>Rennaissance</a:t>
            </a:r>
            <a:r>
              <a:rPr lang="de-CH" sz="1400" dirty="0"/>
              <a:t> vom Buchdruck 1455 bis zur Reformation 1517 und die 1. Industrielle Revolution mit der Perfektionierung der Dampfmaschine ab 1770. </a:t>
            </a:r>
            <a:br>
              <a:rPr lang="de-CH" sz="1400" dirty="0"/>
            </a:br>
            <a:r>
              <a:rPr lang="de-CH" sz="1400" dirty="0"/>
              <a:t/>
            </a:r>
            <a:br>
              <a:rPr lang="de-CH" sz="1400" dirty="0"/>
            </a:br>
            <a:r>
              <a:rPr lang="de-CH" sz="1400" dirty="0"/>
              <a:t>Es gab die sogenannten «langen Zyklen» und dazwischen immer wieder kürzere, wie z. B. die Verdrängung der Zugtiere durch das Auto, der chemischen Photographie durch die Elektronik, der mechanischen Büromaschinen durch die Computer, und der Eisenbahnen durch das Flugzeug, des Kabel-Telefons durch das Smart-Phone.  </a:t>
            </a:r>
            <a:br>
              <a:rPr lang="de-CH" sz="1400" dirty="0"/>
            </a:br>
            <a:endParaRPr lang="en-GB" sz="1400" dirty="0"/>
          </a:p>
        </p:txBody>
      </p:sp>
      <p:sp>
        <p:nvSpPr>
          <p:cNvPr id="3" name="Titel 2"/>
          <p:cNvSpPr>
            <a:spLocks noGrp="1"/>
          </p:cNvSpPr>
          <p:nvPr>
            <p:ph type="title"/>
          </p:nvPr>
        </p:nvSpPr>
        <p:spPr/>
        <p:txBody>
          <a:bodyPr anchor="t"/>
          <a:lstStyle/>
          <a:p>
            <a:pPr>
              <a:lnSpc>
                <a:spcPct val="100000"/>
              </a:lnSpc>
            </a:pPr>
            <a:r>
              <a:rPr lang="de-CH" sz="1800" dirty="0" smtClean="0">
                <a:latin typeface="Arial" panose="020B0604020202020204" pitchFamily="34" charset="0"/>
                <a:cs typeface="Arial" panose="020B0604020202020204" pitchFamily="34" charset="0"/>
              </a:rPr>
              <a:t>Die «Grosse Transformation21»:  Was ändert sich?</a:t>
            </a:r>
            <a:r>
              <a:rPr lang="de-CH" sz="1800" dirty="0">
                <a:latin typeface="Arial" panose="020B0604020202020204" pitchFamily="34" charset="0"/>
                <a:cs typeface="Arial" panose="020B0604020202020204" pitchFamily="34" charset="0"/>
              </a:rPr>
              <a:t/>
            </a:r>
            <a:br>
              <a:rPr lang="de-CH" sz="1800" dirty="0">
                <a:latin typeface="Arial" panose="020B0604020202020204" pitchFamily="34" charset="0"/>
                <a:cs typeface="Arial" panose="020B0604020202020204" pitchFamily="34" charset="0"/>
              </a:rPr>
            </a:br>
            <a:r>
              <a:rPr lang="de-CH" sz="1800" dirty="0">
                <a:latin typeface="Arial" panose="020B0604020202020204" pitchFamily="34" charset="0"/>
                <a:cs typeface="Arial" panose="020B0604020202020204" pitchFamily="34" charset="0"/>
              </a:rPr>
              <a:t/>
            </a:r>
            <a:br>
              <a:rPr lang="de-CH" sz="1800" dirty="0">
                <a:latin typeface="Arial" panose="020B0604020202020204" pitchFamily="34" charset="0"/>
                <a:cs typeface="Arial" panose="020B0604020202020204" pitchFamily="34" charset="0"/>
              </a:rPr>
            </a:br>
            <a:r>
              <a:rPr lang="de-CH" sz="1800" dirty="0" smtClean="0">
                <a:latin typeface="Arial" panose="020B0604020202020204" pitchFamily="34" charset="0"/>
                <a:cs typeface="Arial" panose="020B0604020202020204" pitchFamily="34" charset="0"/>
              </a:rPr>
              <a:t/>
            </a:r>
            <a:br>
              <a:rPr lang="de-CH" sz="1800" dirty="0" smtClean="0">
                <a:latin typeface="Arial" panose="020B0604020202020204" pitchFamily="34" charset="0"/>
                <a:cs typeface="Arial" panose="020B0604020202020204" pitchFamily="34" charset="0"/>
              </a:rPr>
            </a:br>
            <a:endParaRPr lang="de-CH" sz="1800" b="0" dirty="0"/>
          </a:p>
        </p:txBody>
      </p:sp>
      <p:sp>
        <p:nvSpPr>
          <p:cNvPr id="4" name="Textplatzhalter 3"/>
          <p:cNvSpPr>
            <a:spLocks noGrp="1"/>
          </p:cNvSpPr>
          <p:nvPr>
            <p:ph type="body" sz="quarter" idx="10"/>
          </p:nvPr>
        </p:nvSpPr>
        <p:spPr/>
        <p:txBody>
          <a:bodyPr/>
          <a:lstStyle/>
          <a:p>
            <a:endParaRPr lang="en-GB"/>
          </a:p>
        </p:txBody>
      </p:sp>
    </p:spTree>
    <p:extLst>
      <p:ext uri="{BB962C8B-B14F-4D97-AF65-F5344CB8AC3E}">
        <p14:creationId xmlns:p14="http://schemas.microsoft.com/office/powerpoint/2010/main" val="84158520"/>
      </p:ext>
    </p:extLst>
  </p:cSld>
  <p:clrMapOvr>
    <a:masterClrMapping/>
  </p:clrMapOvr>
  <p:transition spd="slow"/>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el 1"/>
          <p:cNvSpPr>
            <a:spLocks noGrp="1"/>
          </p:cNvSpPr>
          <p:nvPr>
            <p:ph type="title"/>
          </p:nvPr>
        </p:nvSpPr>
        <p:spPr/>
        <p:txBody>
          <a:bodyPr/>
          <a:lstStyle/>
          <a:p>
            <a:r>
              <a:rPr lang="de-DE" sz="1477" dirty="0"/>
              <a:t>Das Muster der </a:t>
            </a:r>
            <a:r>
              <a:rPr lang="de-DE" sz="1477" dirty="0" err="1"/>
              <a:t>Grossen</a:t>
            </a:r>
            <a:r>
              <a:rPr lang="de-DE" sz="1477" dirty="0"/>
              <a:t> Transformation21. Das Grundgesetz des Wandels </a:t>
            </a:r>
            <a:r>
              <a:rPr lang="de-CH" sz="1477" dirty="0"/>
              <a:t/>
            </a:r>
            <a:br>
              <a:rPr lang="de-CH" sz="1477" dirty="0"/>
            </a:br>
            <a:r>
              <a:rPr lang="de-DE" sz="1477" dirty="0"/>
              <a:t>Die Alte Welt, die wir kennen, wird verdrängt durch die Neue Welt</a:t>
            </a:r>
            <a:br>
              <a:rPr lang="de-DE" sz="1477" dirty="0"/>
            </a:br>
            <a:r>
              <a:rPr lang="de-DE" sz="1477" dirty="0"/>
              <a:t>die wir noch nicht kennen. </a:t>
            </a:r>
            <a:br>
              <a:rPr lang="de-DE" sz="1477" dirty="0"/>
            </a:br>
            <a:r>
              <a:rPr lang="de-DE" sz="1477" dirty="0"/>
              <a:t>Das Bild des Wandels durch Substitution (Schöpferische Zerstörung).</a:t>
            </a:r>
            <a:br>
              <a:rPr lang="de-DE" sz="1477" dirty="0"/>
            </a:br>
            <a:r>
              <a:rPr lang="de-DE" sz="1846" dirty="0"/>
              <a:t/>
            </a:r>
            <a:br>
              <a:rPr lang="de-DE" sz="1846" dirty="0"/>
            </a:br>
            <a:r>
              <a:rPr lang="de-DE" sz="1846" dirty="0"/>
              <a:t/>
            </a:r>
            <a:br>
              <a:rPr lang="de-DE" sz="1846" dirty="0"/>
            </a:br>
            <a:endParaRPr lang="de-DE" sz="1846" dirty="0"/>
          </a:p>
        </p:txBody>
      </p:sp>
      <p:sp>
        <p:nvSpPr>
          <p:cNvPr id="2" name="Textplatzhalter 1"/>
          <p:cNvSpPr>
            <a:spLocks noGrp="1"/>
          </p:cNvSpPr>
          <p:nvPr>
            <p:ph type="body" sz="quarter" idx="10"/>
          </p:nvPr>
        </p:nvSpPr>
        <p:spPr/>
        <p:txBody>
          <a:bodyPr/>
          <a:lstStyle/>
          <a:p>
            <a:endParaRPr lang="en-GB"/>
          </a:p>
        </p:txBody>
      </p:sp>
      <p:cxnSp>
        <p:nvCxnSpPr>
          <p:cNvPr id="28" name="Gerade Verbindung mit Pfeil 8"/>
          <p:cNvCxnSpPr>
            <a:cxnSpLocks noChangeShapeType="1"/>
          </p:cNvCxnSpPr>
          <p:nvPr/>
        </p:nvCxnSpPr>
        <p:spPr bwMode="auto">
          <a:xfrm flipV="1">
            <a:off x="1904409" y="5775174"/>
            <a:ext cx="5666387" cy="6"/>
          </a:xfrm>
          <a:prstGeom prst="straightConnector1">
            <a:avLst/>
          </a:prstGeom>
          <a:noFill/>
          <a:ln w="12700" cap="rnd" algn="ctr">
            <a:solidFill>
              <a:schemeClr val="tx1"/>
            </a:solidFill>
            <a:round/>
            <a:headEnd/>
            <a:tailEnd type="triangle" w="med" len="med"/>
          </a:ln>
        </p:spPr>
      </p:cxnSp>
      <p:sp>
        <p:nvSpPr>
          <p:cNvPr id="29" name="Textfeld 53"/>
          <p:cNvSpPr txBox="1">
            <a:spLocks noChangeArrowheads="1"/>
          </p:cNvSpPr>
          <p:nvPr/>
        </p:nvSpPr>
        <p:spPr bwMode="auto">
          <a:xfrm>
            <a:off x="6208677" y="2065268"/>
            <a:ext cx="1803396" cy="511240"/>
          </a:xfrm>
          <a:prstGeom prst="rect">
            <a:avLst/>
          </a:prstGeom>
          <a:noFill/>
          <a:ln w="9525">
            <a:noFill/>
            <a:miter lim="800000"/>
            <a:headEnd/>
            <a:tailEnd/>
          </a:ln>
        </p:spPr>
        <p:txBody>
          <a:bodyPr wrap="none" lIns="84146" tIns="42074" rIns="84146" bIns="42074">
            <a:spAutoFit/>
          </a:bodyPr>
          <a:lstStyle/>
          <a:p>
            <a:pPr defTabSz="844083" eaLnBrk="1" hangingPunct="1">
              <a:spcAft>
                <a:spcPct val="0"/>
              </a:spcAft>
              <a:defRPr/>
            </a:pPr>
            <a:r>
              <a:rPr lang="de-DE" sz="1385" dirty="0">
                <a:solidFill>
                  <a:srgbClr val="009E47"/>
                </a:solidFill>
                <a:latin typeface="Arial"/>
                <a:cs typeface="Arial" charset="0"/>
              </a:rPr>
              <a:t>Grundlagen der </a:t>
            </a:r>
          </a:p>
          <a:p>
            <a:pPr defTabSz="844083" eaLnBrk="1" hangingPunct="1">
              <a:spcAft>
                <a:spcPct val="0"/>
              </a:spcAft>
              <a:defRPr/>
            </a:pPr>
            <a:r>
              <a:rPr lang="de-DE" sz="1385" dirty="0">
                <a:solidFill>
                  <a:srgbClr val="009E47"/>
                </a:solidFill>
                <a:latin typeface="Arial"/>
                <a:cs typeface="Arial" charset="0"/>
              </a:rPr>
              <a:t>zukünftigen Existenz</a:t>
            </a:r>
          </a:p>
        </p:txBody>
      </p:sp>
      <p:sp>
        <p:nvSpPr>
          <p:cNvPr id="54" name="Textfeld 54"/>
          <p:cNvSpPr txBox="1">
            <a:spLocks noChangeArrowheads="1"/>
          </p:cNvSpPr>
          <p:nvPr/>
        </p:nvSpPr>
        <p:spPr bwMode="auto">
          <a:xfrm>
            <a:off x="6065480" y="3538681"/>
            <a:ext cx="2063082" cy="511240"/>
          </a:xfrm>
          <a:prstGeom prst="rect">
            <a:avLst/>
          </a:prstGeom>
          <a:noFill/>
          <a:ln w="9525">
            <a:noFill/>
            <a:miter lim="800000"/>
            <a:headEnd/>
            <a:tailEnd/>
          </a:ln>
        </p:spPr>
        <p:txBody>
          <a:bodyPr wrap="none" lIns="84146" tIns="42074" rIns="84146" bIns="42074">
            <a:spAutoFit/>
          </a:bodyPr>
          <a:lstStyle>
            <a:defPPr>
              <a:defRPr lang="de-DE"/>
            </a:defPPr>
            <a:lvl1pPr>
              <a:spcAft>
                <a:spcPct val="0"/>
              </a:spcAft>
              <a:defRPr sz="1500">
                <a:solidFill>
                  <a:srgbClr val="E20000"/>
                </a:solidFill>
              </a:defRPr>
            </a:lvl1pPr>
          </a:lstStyle>
          <a:p>
            <a:pPr defTabSz="844083" eaLnBrk="1" hangingPunct="1">
              <a:defRPr/>
            </a:pPr>
            <a:r>
              <a:rPr lang="de-DE" sz="1385" dirty="0">
                <a:latin typeface="Arial"/>
                <a:cs typeface="Arial" charset="0"/>
              </a:rPr>
              <a:t>Grundlagen der </a:t>
            </a:r>
          </a:p>
          <a:p>
            <a:pPr defTabSz="844083" eaLnBrk="1" hangingPunct="1">
              <a:defRPr/>
            </a:pPr>
            <a:r>
              <a:rPr lang="de-DE" sz="1385" dirty="0">
                <a:latin typeface="Arial"/>
                <a:cs typeface="Arial" charset="0"/>
              </a:rPr>
              <a:t>gegenwärtigen Existenz</a:t>
            </a:r>
          </a:p>
        </p:txBody>
      </p:sp>
      <p:sp>
        <p:nvSpPr>
          <p:cNvPr id="55" name="Textfeld 57"/>
          <p:cNvSpPr txBox="1">
            <a:spLocks noChangeArrowheads="1"/>
          </p:cNvSpPr>
          <p:nvPr/>
        </p:nvSpPr>
        <p:spPr bwMode="auto">
          <a:xfrm rot="16200000">
            <a:off x="-140943" y="3697461"/>
            <a:ext cx="3776684" cy="298105"/>
          </a:xfrm>
          <a:prstGeom prst="rect">
            <a:avLst/>
          </a:prstGeom>
          <a:noFill/>
          <a:ln w="9525">
            <a:noFill/>
            <a:miter lim="800000"/>
            <a:headEnd/>
            <a:tailEnd/>
          </a:ln>
        </p:spPr>
        <p:txBody>
          <a:bodyPr wrap="none" lIns="0" tIns="42074" rIns="84146" bIns="42074">
            <a:spAutoFit/>
          </a:bodyPr>
          <a:lstStyle/>
          <a:p>
            <a:pPr defTabSz="844083" eaLnBrk="1" hangingPunct="1">
              <a:spcAft>
                <a:spcPct val="0"/>
              </a:spcAft>
              <a:defRPr/>
            </a:pPr>
            <a:r>
              <a:rPr lang="de-DE" sz="1385" dirty="0">
                <a:solidFill>
                  <a:srgbClr val="000000"/>
                </a:solidFill>
                <a:latin typeface="Arial"/>
                <a:cs typeface="Arial" charset="0"/>
              </a:rPr>
              <a:t>Entwicklungsverläufe wichtiger Systemaspekte</a:t>
            </a:r>
          </a:p>
        </p:txBody>
      </p:sp>
      <p:sp>
        <p:nvSpPr>
          <p:cNvPr id="56" name="Textfeld 58"/>
          <p:cNvSpPr txBox="1">
            <a:spLocks noChangeArrowheads="1"/>
          </p:cNvSpPr>
          <p:nvPr/>
        </p:nvSpPr>
        <p:spPr bwMode="auto">
          <a:xfrm>
            <a:off x="2273865" y="5755283"/>
            <a:ext cx="1322302" cy="298105"/>
          </a:xfrm>
          <a:prstGeom prst="rect">
            <a:avLst/>
          </a:prstGeom>
          <a:noFill/>
          <a:ln w="9525">
            <a:noFill/>
            <a:miter lim="800000"/>
            <a:headEnd/>
            <a:tailEnd/>
          </a:ln>
        </p:spPr>
        <p:txBody>
          <a:bodyPr wrap="none" lIns="84146" tIns="42074" rIns="84146" bIns="42074">
            <a:spAutoFit/>
          </a:bodyPr>
          <a:lstStyle/>
          <a:p>
            <a:pPr defTabSz="844083" eaLnBrk="1" hangingPunct="1">
              <a:spcAft>
                <a:spcPct val="0"/>
              </a:spcAft>
              <a:defRPr/>
            </a:pPr>
            <a:r>
              <a:rPr lang="de-DE" sz="1385" dirty="0">
                <a:solidFill>
                  <a:srgbClr val="000000"/>
                </a:solidFill>
                <a:latin typeface="Arial"/>
                <a:cs typeface="Arial" charset="0"/>
              </a:rPr>
              <a:t>Vergangenheit</a:t>
            </a:r>
          </a:p>
        </p:txBody>
      </p:sp>
      <p:sp>
        <p:nvSpPr>
          <p:cNvPr id="57" name="Textfeld 59"/>
          <p:cNvSpPr txBox="1">
            <a:spLocks noChangeArrowheads="1"/>
          </p:cNvSpPr>
          <p:nvPr/>
        </p:nvSpPr>
        <p:spPr bwMode="auto">
          <a:xfrm>
            <a:off x="3865152" y="6022033"/>
            <a:ext cx="646028" cy="298105"/>
          </a:xfrm>
          <a:prstGeom prst="rect">
            <a:avLst/>
          </a:prstGeom>
          <a:noFill/>
          <a:ln w="9525">
            <a:noFill/>
            <a:miter lim="800000"/>
            <a:headEnd/>
            <a:tailEnd/>
          </a:ln>
        </p:spPr>
        <p:txBody>
          <a:bodyPr wrap="none" lIns="84146" tIns="42074" rIns="84146" bIns="42074">
            <a:spAutoFit/>
          </a:bodyPr>
          <a:lstStyle/>
          <a:p>
            <a:pPr defTabSz="844083" eaLnBrk="1" hangingPunct="1">
              <a:spcAft>
                <a:spcPct val="0"/>
              </a:spcAft>
              <a:defRPr/>
            </a:pPr>
            <a:r>
              <a:rPr lang="de-DE" sz="1385" dirty="0">
                <a:solidFill>
                  <a:srgbClr val="000000"/>
                </a:solidFill>
                <a:latin typeface="Arial"/>
                <a:cs typeface="Arial" charset="0"/>
              </a:rPr>
              <a:t>Heute</a:t>
            </a:r>
          </a:p>
        </p:txBody>
      </p:sp>
      <p:sp>
        <p:nvSpPr>
          <p:cNvPr id="58" name="Textfeld 60"/>
          <p:cNvSpPr txBox="1">
            <a:spLocks noChangeArrowheads="1"/>
          </p:cNvSpPr>
          <p:nvPr/>
        </p:nvSpPr>
        <p:spPr bwMode="auto">
          <a:xfrm>
            <a:off x="4764363" y="5755283"/>
            <a:ext cx="764650" cy="298105"/>
          </a:xfrm>
          <a:prstGeom prst="rect">
            <a:avLst/>
          </a:prstGeom>
          <a:noFill/>
          <a:ln w="9525">
            <a:noFill/>
            <a:miter lim="800000"/>
            <a:headEnd/>
            <a:tailEnd/>
          </a:ln>
        </p:spPr>
        <p:txBody>
          <a:bodyPr wrap="none" lIns="84146" tIns="42074" rIns="84146" bIns="42074">
            <a:spAutoFit/>
          </a:bodyPr>
          <a:lstStyle/>
          <a:p>
            <a:pPr defTabSz="844083" eaLnBrk="1" hangingPunct="1">
              <a:spcAft>
                <a:spcPct val="0"/>
              </a:spcAft>
              <a:defRPr/>
            </a:pPr>
            <a:r>
              <a:rPr lang="de-DE" sz="1385" dirty="0">
                <a:solidFill>
                  <a:srgbClr val="000000"/>
                </a:solidFill>
                <a:latin typeface="Arial"/>
                <a:cs typeface="Arial" charset="0"/>
              </a:rPr>
              <a:t>Zukunft</a:t>
            </a:r>
          </a:p>
        </p:txBody>
      </p:sp>
      <p:cxnSp>
        <p:nvCxnSpPr>
          <p:cNvPr id="59" name="Gerade Verbindung mit Pfeil 117"/>
          <p:cNvCxnSpPr>
            <a:cxnSpLocks noChangeShapeType="1"/>
          </p:cNvCxnSpPr>
          <p:nvPr/>
        </p:nvCxnSpPr>
        <p:spPr bwMode="auto">
          <a:xfrm>
            <a:off x="4238542" y="5904305"/>
            <a:ext cx="517874" cy="0"/>
          </a:xfrm>
          <a:prstGeom prst="straightConnector1">
            <a:avLst/>
          </a:prstGeom>
          <a:noFill/>
          <a:ln w="9525" algn="ctr">
            <a:solidFill>
              <a:schemeClr val="tx1"/>
            </a:solidFill>
            <a:round/>
            <a:headEnd/>
            <a:tailEnd type="triangle" w="med" len="med"/>
          </a:ln>
        </p:spPr>
      </p:cxnSp>
      <p:cxnSp>
        <p:nvCxnSpPr>
          <p:cNvPr id="60" name="Gerade Verbindung mit Pfeil 118"/>
          <p:cNvCxnSpPr>
            <a:cxnSpLocks noChangeShapeType="1"/>
          </p:cNvCxnSpPr>
          <p:nvPr/>
        </p:nvCxnSpPr>
        <p:spPr bwMode="auto">
          <a:xfrm flipH="1">
            <a:off x="3581943" y="5904305"/>
            <a:ext cx="517874" cy="0"/>
          </a:xfrm>
          <a:prstGeom prst="straightConnector1">
            <a:avLst/>
          </a:prstGeom>
          <a:noFill/>
          <a:ln w="9525" algn="ctr">
            <a:solidFill>
              <a:schemeClr val="tx1"/>
            </a:solidFill>
            <a:round/>
            <a:headEnd/>
            <a:tailEnd type="triangle" w="med" len="med"/>
          </a:ln>
        </p:spPr>
      </p:cxnSp>
      <p:sp>
        <p:nvSpPr>
          <p:cNvPr id="61" name="Freihandform 54"/>
          <p:cNvSpPr>
            <a:spLocks/>
          </p:cNvSpPr>
          <p:nvPr/>
        </p:nvSpPr>
        <p:spPr bwMode="auto">
          <a:xfrm rot="21396569">
            <a:off x="3203433" y="3670346"/>
            <a:ext cx="1860837" cy="1428171"/>
          </a:xfrm>
          <a:custGeom>
            <a:avLst/>
            <a:gdLst>
              <a:gd name="T0" fmla="*/ 4815 w 1944304"/>
              <a:gd name="T1" fmla="*/ 1019810 h 1090863"/>
              <a:gd name="T2" fmla="*/ 678849 w 1944304"/>
              <a:gd name="T3" fmla="*/ 452179 h 1090863"/>
              <a:gd name="T4" fmla="*/ 1131416 w 1944304"/>
              <a:gd name="T5" fmla="*/ 240521 h 1090863"/>
              <a:gd name="T6" fmla="*/ 1901742 w 1944304"/>
              <a:gd name="T7" fmla="*/ 48104 h 1090863"/>
              <a:gd name="T8" fmla="*/ 1391401 w 1944304"/>
              <a:gd name="T9" fmla="*/ 529147 h 1090863"/>
              <a:gd name="T10" fmla="*/ 707737 w 1944304"/>
              <a:gd name="T11" fmla="*/ 875497 h 1090863"/>
              <a:gd name="T12" fmla="*/ 4815 w 1944304"/>
              <a:gd name="T13" fmla="*/ 1019810 h 1090863"/>
              <a:gd name="T14" fmla="*/ 0 60000 65536"/>
              <a:gd name="T15" fmla="*/ 0 60000 65536"/>
              <a:gd name="T16" fmla="*/ 0 60000 65536"/>
              <a:gd name="T17" fmla="*/ 0 60000 65536"/>
              <a:gd name="T18" fmla="*/ 0 60000 65536"/>
              <a:gd name="T19" fmla="*/ 0 60000 65536"/>
              <a:gd name="T20" fmla="*/ 0 60000 65536"/>
              <a:gd name="connsiteX0" fmla="*/ 39 w 1842839"/>
              <a:gd name="connsiteY0" fmla="*/ 959272 h 981220"/>
              <a:gd name="connsiteX1" fmla="*/ 616799 w 1842839"/>
              <a:gd name="connsiteY1" fmla="*/ 412589 h 981220"/>
              <a:gd name="connsiteX2" fmla="*/ 1069187 w 1842839"/>
              <a:gd name="connsiteY2" fmla="*/ 200833 h 981220"/>
              <a:gd name="connsiteX3" fmla="*/ 1839208 w 1842839"/>
              <a:gd name="connsiteY3" fmla="*/ 8328 h 981220"/>
              <a:gd name="connsiteX4" fmla="*/ 1329069 w 1842839"/>
              <a:gd name="connsiteY4" fmla="*/ 489591 h 981220"/>
              <a:gd name="connsiteX5" fmla="*/ 645675 w 1842839"/>
              <a:gd name="connsiteY5" fmla="*/ 836101 h 981220"/>
              <a:gd name="connsiteX6" fmla="*/ 39 w 1842839"/>
              <a:gd name="connsiteY6" fmla="*/ 959272 h 981220"/>
              <a:gd name="connsiteX0" fmla="*/ 463 w 1843263"/>
              <a:gd name="connsiteY0" fmla="*/ 959272 h 981747"/>
              <a:gd name="connsiteX1" fmla="*/ 617223 w 1843263"/>
              <a:gd name="connsiteY1" fmla="*/ 412589 h 981747"/>
              <a:gd name="connsiteX2" fmla="*/ 1069611 w 1843263"/>
              <a:gd name="connsiteY2" fmla="*/ 200833 h 981747"/>
              <a:gd name="connsiteX3" fmla="*/ 1839632 w 1843263"/>
              <a:gd name="connsiteY3" fmla="*/ 8328 h 981747"/>
              <a:gd name="connsiteX4" fmla="*/ 1329493 w 1843263"/>
              <a:gd name="connsiteY4" fmla="*/ 489591 h 981747"/>
              <a:gd name="connsiteX5" fmla="*/ 719223 w 1843263"/>
              <a:gd name="connsiteY5" fmla="*/ 838859 h 981747"/>
              <a:gd name="connsiteX6" fmla="*/ 463 w 1843263"/>
              <a:gd name="connsiteY6" fmla="*/ 959272 h 981747"/>
              <a:gd name="connsiteX0" fmla="*/ 55759 w 1898559"/>
              <a:gd name="connsiteY0" fmla="*/ 959272 h 960290"/>
              <a:gd name="connsiteX1" fmla="*/ 672519 w 1898559"/>
              <a:gd name="connsiteY1" fmla="*/ 412589 h 960290"/>
              <a:gd name="connsiteX2" fmla="*/ 1124907 w 1898559"/>
              <a:gd name="connsiteY2" fmla="*/ 200833 h 960290"/>
              <a:gd name="connsiteX3" fmla="*/ 1894928 w 1898559"/>
              <a:gd name="connsiteY3" fmla="*/ 8328 h 960290"/>
              <a:gd name="connsiteX4" fmla="*/ 1384789 w 1898559"/>
              <a:gd name="connsiteY4" fmla="*/ 489591 h 960290"/>
              <a:gd name="connsiteX5" fmla="*/ 774519 w 1898559"/>
              <a:gd name="connsiteY5" fmla="*/ 838859 h 960290"/>
              <a:gd name="connsiteX6" fmla="*/ 55759 w 1898559"/>
              <a:gd name="connsiteY6" fmla="*/ 959272 h 960290"/>
              <a:gd name="connsiteX0" fmla="*/ 55759 w 1898559"/>
              <a:gd name="connsiteY0" fmla="*/ 959272 h 960290"/>
              <a:gd name="connsiteX1" fmla="*/ 672519 w 1898559"/>
              <a:gd name="connsiteY1" fmla="*/ 412589 h 960290"/>
              <a:gd name="connsiteX2" fmla="*/ 1124907 w 1898559"/>
              <a:gd name="connsiteY2" fmla="*/ 200833 h 960290"/>
              <a:gd name="connsiteX3" fmla="*/ 1894928 w 1898559"/>
              <a:gd name="connsiteY3" fmla="*/ 8328 h 960290"/>
              <a:gd name="connsiteX4" fmla="*/ 1384789 w 1898559"/>
              <a:gd name="connsiteY4" fmla="*/ 489591 h 960290"/>
              <a:gd name="connsiteX5" fmla="*/ 774519 w 1898559"/>
              <a:gd name="connsiteY5" fmla="*/ 838859 h 960290"/>
              <a:gd name="connsiteX6" fmla="*/ 55759 w 1898559"/>
              <a:gd name="connsiteY6" fmla="*/ 959272 h 960290"/>
              <a:gd name="connsiteX0" fmla="*/ 0 w 1842800"/>
              <a:gd name="connsiteY0" fmla="*/ 959272 h 959272"/>
              <a:gd name="connsiteX1" fmla="*/ 616760 w 1842800"/>
              <a:gd name="connsiteY1" fmla="*/ 412589 h 959272"/>
              <a:gd name="connsiteX2" fmla="*/ 1069148 w 1842800"/>
              <a:gd name="connsiteY2" fmla="*/ 200833 h 959272"/>
              <a:gd name="connsiteX3" fmla="*/ 1839169 w 1842800"/>
              <a:gd name="connsiteY3" fmla="*/ 8328 h 959272"/>
              <a:gd name="connsiteX4" fmla="*/ 1329030 w 1842800"/>
              <a:gd name="connsiteY4" fmla="*/ 489591 h 959272"/>
              <a:gd name="connsiteX5" fmla="*/ 718760 w 1842800"/>
              <a:gd name="connsiteY5" fmla="*/ 838859 h 959272"/>
              <a:gd name="connsiteX6" fmla="*/ 0 w 1842800"/>
              <a:gd name="connsiteY6" fmla="*/ 959272 h 959272"/>
              <a:gd name="connsiteX0" fmla="*/ 0 w 1842800"/>
              <a:gd name="connsiteY0" fmla="*/ 959272 h 959272"/>
              <a:gd name="connsiteX1" fmla="*/ 616760 w 1842800"/>
              <a:gd name="connsiteY1" fmla="*/ 412589 h 959272"/>
              <a:gd name="connsiteX2" fmla="*/ 1069148 w 1842800"/>
              <a:gd name="connsiteY2" fmla="*/ 200833 h 959272"/>
              <a:gd name="connsiteX3" fmla="*/ 1839169 w 1842800"/>
              <a:gd name="connsiteY3" fmla="*/ 8328 h 959272"/>
              <a:gd name="connsiteX4" fmla="*/ 1329030 w 1842800"/>
              <a:gd name="connsiteY4" fmla="*/ 489591 h 959272"/>
              <a:gd name="connsiteX5" fmla="*/ 718760 w 1842800"/>
              <a:gd name="connsiteY5" fmla="*/ 838859 h 959272"/>
              <a:gd name="connsiteX6" fmla="*/ 0 w 1842800"/>
              <a:gd name="connsiteY6" fmla="*/ 959272 h 959272"/>
              <a:gd name="connsiteX0" fmla="*/ 0 w 1839169"/>
              <a:gd name="connsiteY0" fmla="*/ 959272 h 959272"/>
              <a:gd name="connsiteX1" fmla="*/ 616760 w 1839169"/>
              <a:gd name="connsiteY1" fmla="*/ 412589 h 959272"/>
              <a:gd name="connsiteX2" fmla="*/ 1069148 w 1839169"/>
              <a:gd name="connsiteY2" fmla="*/ 200833 h 959272"/>
              <a:gd name="connsiteX3" fmla="*/ 1839169 w 1839169"/>
              <a:gd name="connsiteY3" fmla="*/ 8328 h 959272"/>
              <a:gd name="connsiteX4" fmla="*/ 1329030 w 1839169"/>
              <a:gd name="connsiteY4" fmla="*/ 489591 h 959272"/>
              <a:gd name="connsiteX5" fmla="*/ 718760 w 1839169"/>
              <a:gd name="connsiteY5" fmla="*/ 838859 h 959272"/>
              <a:gd name="connsiteX6" fmla="*/ 0 w 1839169"/>
              <a:gd name="connsiteY6" fmla="*/ 959272 h 959272"/>
              <a:gd name="connsiteX0" fmla="*/ 0 w 1839169"/>
              <a:gd name="connsiteY0" fmla="*/ 950944 h 950944"/>
              <a:gd name="connsiteX1" fmla="*/ 616760 w 1839169"/>
              <a:gd name="connsiteY1" fmla="*/ 404261 h 950944"/>
              <a:gd name="connsiteX2" fmla="*/ 1069148 w 1839169"/>
              <a:gd name="connsiteY2" fmla="*/ 192505 h 950944"/>
              <a:gd name="connsiteX3" fmla="*/ 1839169 w 1839169"/>
              <a:gd name="connsiteY3" fmla="*/ 0 h 950944"/>
              <a:gd name="connsiteX4" fmla="*/ 1329030 w 1839169"/>
              <a:gd name="connsiteY4" fmla="*/ 481263 h 950944"/>
              <a:gd name="connsiteX5" fmla="*/ 718760 w 1839169"/>
              <a:gd name="connsiteY5" fmla="*/ 830531 h 950944"/>
              <a:gd name="connsiteX6" fmla="*/ 0 w 1839169"/>
              <a:gd name="connsiteY6" fmla="*/ 950944 h 950944"/>
              <a:gd name="connsiteX0" fmla="*/ 0 w 1839169"/>
              <a:gd name="connsiteY0" fmla="*/ 950944 h 950944"/>
              <a:gd name="connsiteX1" fmla="*/ 603513 w 1839169"/>
              <a:gd name="connsiteY1" fmla="*/ 387093 h 950944"/>
              <a:gd name="connsiteX2" fmla="*/ 1069148 w 1839169"/>
              <a:gd name="connsiteY2" fmla="*/ 192505 h 950944"/>
              <a:gd name="connsiteX3" fmla="*/ 1839169 w 1839169"/>
              <a:gd name="connsiteY3" fmla="*/ 0 h 950944"/>
              <a:gd name="connsiteX4" fmla="*/ 1329030 w 1839169"/>
              <a:gd name="connsiteY4" fmla="*/ 481263 h 950944"/>
              <a:gd name="connsiteX5" fmla="*/ 718760 w 1839169"/>
              <a:gd name="connsiteY5" fmla="*/ 830531 h 950944"/>
              <a:gd name="connsiteX6" fmla="*/ 0 w 1839169"/>
              <a:gd name="connsiteY6" fmla="*/ 950944 h 950944"/>
              <a:gd name="connsiteX0" fmla="*/ 0 w 1839169"/>
              <a:gd name="connsiteY0" fmla="*/ 950944 h 950944"/>
              <a:gd name="connsiteX1" fmla="*/ 603513 w 1839169"/>
              <a:gd name="connsiteY1" fmla="*/ 387093 h 950944"/>
              <a:gd name="connsiteX2" fmla="*/ 1118464 w 1839169"/>
              <a:gd name="connsiteY2" fmla="*/ 134591 h 950944"/>
              <a:gd name="connsiteX3" fmla="*/ 1839169 w 1839169"/>
              <a:gd name="connsiteY3" fmla="*/ 0 h 950944"/>
              <a:gd name="connsiteX4" fmla="*/ 1329030 w 1839169"/>
              <a:gd name="connsiteY4" fmla="*/ 481263 h 950944"/>
              <a:gd name="connsiteX5" fmla="*/ 718760 w 1839169"/>
              <a:gd name="connsiteY5" fmla="*/ 830531 h 950944"/>
              <a:gd name="connsiteX6" fmla="*/ 0 w 1839169"/>
              <a:gd name="connsiteY6" fmla="*/ 950944 h 950944"/>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329030 w 1889323"/>
              <a:gd name="connsiteY4" fmla="*/ 492562 h 962243"/>
              <a:gd name="connsiteX5" fmla="*/ 718760 w 1889323"/>
              <a:gd name="connsiteY5" fmla="*/ 841830 h 962243"/>
              <a:gd name="connsiteX6" fmla="*/ 0 w 1889323"/>
              <a:gd name="connsiteY6" fmla="*/ 962243 h 962243"/>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329030 w 1889323"/>
              <a:gd name="connsiteY4" fmla="*/ 492562 h 962243"/>
              <a:gd name="connsiteX5" fmla="*/ 718760 w 1889323"/>
              <a:gd name="connsiteY5" fmla="*/ 841830 h 962243"/>
              <a:gd name="connsiteX6" fmla="*/ 0 w 1889323"/>
              <a:gd name="connsiteY6" fmla="*/ 962243 h 962243"/>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406546 w 1889323"/>
              <a:gd name="connsiteY4" fmla="*/ 505652 h 962243"/>
              <a:gd name="connsiteX5" fmla="*/ 718760 w 1889323"/>
              <a:gd name="connsiteY5" fmla="*/ 841830 h 962243"/>
              <a:gd name="connsiteX6" fmla="*/ 0 w 1889323"/>
              <a:gd name="connsiteY6" fmla="*/ 962243 h 962243"/>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406546 w 1889323"/>
              <a:gd name="connsiteY4" fmla="*/ 505652 h 962243"/>
              <a:gd name="connsiteX5" fmla="*/ 721918 w 1889323"/>
              <a:gd name="connsiteY5" fmla="*/ 861921 h 962243"/>
              <a:gd name="connsiteX6" fmla="*/ 0 w 1889323"/>
              <a:gd name="connsiteY6" fmla="*/ 962243 h 962243"/>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27883 w 1910660"/>
              <a:gd name="connsiteY4" fmla="*/ 505652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27883 w 1910660"/>
              <a:gd name="connsiteY4" fmla="*/ 505652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27883 w 1910660"/>
              <a:gd name="connsiteY4" fmla="*/ 505652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34283 w 1910660"/>
              <a:gd name="connsiteY4" fmla="*/ 518666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34283 w 1910660"/>
              <a:gd name="connsiteY4" fmla="*/ 51866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39801 w 1910660"/>
              <a:gd name="connsiteY2" fmla="*/ 145890 h 981351"/>
              <a:gd name="connsiteX3" fmla="*/ 1910660 w 1910660"/>
              <a:gd name="connsiteY3" fmla="*/ 0 h 981351"/>
              <a:gd name="connsiteX4" fmla="*/ 1434283 w 1910660"/>
              <a:gd name="connsiteY4" fmla="*/ 51866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34283 w 1910660"/>
              <a:gd name="connsiteY4" fmla="*/ 51866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85569 w 1910660"/>
              <a:gd name="connsiteY4" fmla="*/ 49265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85569 w 1910660"/>
              <a:gd name="connsiteY4" fmla="*/ 49265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7205"/>
              <a:gd name="connsiteY0" fmla="*/ 981089 h 981089"/>
              <a:gd name="connsiteX1" fmla="*/ 614616 w 1917205"/>
              <a:gd name="connsiteY1" fmla="*/ 399788 h 981089"/>
              <a:gd name="connsiteX2" fmla="*/ 1151739 w 1917205"/>
              <a:gd name="connsiteY2" fmla="*/ 138453 h 981089"/>
              <a:gd name="connsiteX3" fmla="*/ 1917205 w 1917205"/>
              <a:gd name="connsiteY3" fmla="*/ 0 h 981089"/>
              <a:gd name="connsiteX4" fmla="*/ 1490661 w 1917205"/>
              <a:gd name="connsiteY4" fmla="*/ 477290 h 981089"/>
              <a:gd name="connsiteX5" fmla="*/ 769551 w 1917205"/>
              <a:gd name="connsiteY5" fmla="*/ 862713 h 981089"/>
              <a:gd name="connsiteX6" fmla="*/ 0 w 1917205"/>
              <a:gd name="connsiteY6" fmla="*/ 981089 h 981089"/>
              <a:gd name="connsiteX0" fmla="*/ 0 w 1928243"/>
              <a:gd name="connsiteY0" fmla="*/ 982129 h 982129"/>
              <a:gd name="connsiteX1" fmla="*/ 614616 w 1928243"/>
              <a:gd name="connsiteY1" fmla="*/ 400828 h 982129"/>
              <a:gd name="connsiteX2" fmla="*/ 1151739 w 1928243"/>
              <a:gd name="connsiteY2" fmla="*/ 139493 h 982129"/>
              <a:gd name="connsiteX3" fmla="*/ 1928243 w 1928243"/>
              <a:gd name="connsiteY3" fmla="*/ 0 h 982129"/>
              <a:gd name="connsiteX4" fmla="*/ 1490661 w 1928243"/>
              <a:gd name="connsiteY4" fmla="*/ 478330 h 982129"/>
              <a:gd name="connsiteX5" fmla="*/ 769551 w 1928243"/>
              <a:gd name="connsiteY5" fmla="*/ 863753 h 982129"/>
              <a:gd name="connsiteX6" fmla="*/ 0 w 1928243"/>
              <a:gd name="connsiteY6" fmla="*/ 982129 h 982129"/>
              <a:gd name="connsiteX0" fmla="*/ 0 w 1928243"/>
              <a:gd name="connsiteY0" fmla="*/ 982129 h 982129"/>
              <a:gd name="connsiteX1" fmla="*/ 614616 w 1928243"/>
              <a:gd name="connsiteY1" fmla="*/ 400828 h 982129"/>
              <a:gd name="connsiteX2" fmla="*/ 1151739 w 1928243"/>
              <a:gd name="connsiteY2" fmla="*/ 139493 h 982129"/>
              <a:gd name="connsiteX3" fmla="*/ 1928243 w 1928243"/>
              <a:gd name="connsiteY3" fmla="*/ 0 h 982129"/>
              <a:gd name="connsiteX4" fmla="*/ 1490661 w 1928243"/>
              <a:gd name="connsiteY4" fmla="*/ 478330 h 982129"/>
              <a:gd name="connsiteX5" fmla="*/ 769551 w 1928243"/>
              <a:gd name="connsiteY5" fmla="*/ 863753 h 982129"/>
              <a:gd name="connsiteX6" fmla="*/ 0 w 1928243"/>
              <a:gd name="connsiteY6" fmla="*/ 982129 h 982129"/>
              <a:gd name="connsiteX0" fmla="*/ 0 w 1928243"/>
              <a:gd name="connsiteY0" fmla="*/ 982129 h 982129"/>
              <a:gd name="connsiteX1" fmla="*/ 614616 w 1928243"/>
              <a:gd name="connsiteY1" fmla="*/ 400828 h 982129"/>
              <a:gd name="connsiteX2" fmla="*/ 1151739 w 1928243"/>
              <a:gd name="connsiteY2" fmla="*/ 139493 h 982129"/>
              <a:gd name="connsiteX3" fmla="*/ 1928243 w 1928243"/>
              <a:gd name="connsiteY3" fmla="*/ 0 h 982129"/>
              <a:gd name="connsiteX4" fmla="*/ 1490661 w 1928243"/>
              <a:gd name="connsiteY4" fmla="*/ 478330 h 982129"/>
              <a:gd name="connsiteX5" fmla="*/ 769551 w 1928243"/>
              <a:gd name="connsiteY5" fmla="*/ 863753 h 982129"/>
              <a:gd name="connsiteX6" fmla="*/ 0 w 1928243"/>
              <a:gd name="connsiteY6" fmla="*/ 982129 h 982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8243" h="982129">
                <a:moveTo>
                  <a:pt x="0" y="982129"/>
                </a:moveTo>
                <a:cubicBezTo>
                  <a:pt x="222870" y="793691"/>
                  <a:pt x="414784" y="526469"/>
                  <a:pt x="614616" y="400828"/>
                </a:cubicBezTo>
                <a:cubicBezTo>
                  <a:pt x="814448" y="275187"/>
                  <a:pt x="932801" y="206298"/>
                  <a:pt x="1151739" y="139493"/>
                </a:cubicBezTo>
                <a:cubicBezTo>
                  <a:pt x="1370677" y="72688"/>
                  <a:pt x="1608569" y="14507"/>
                  <a:pt x="1928243" y="0"/>
                </a:cubicBezTo>
                <a:cubicBezTo>
                  <a:pt x="1843665" y="107229"/>
                  <a:pt x="1712682" y="301142"/>
                  <a:pt x="1490661" y="478330"/>
                </a:cubicBezTo>
                <a:cubicBezTo>
                  <a:pt x="1291739" y="616292"/>
                  <a:pt x="1017994" y="779787"/>
                  <a:pt x="769551" y="863753"/>
                </a:cubicBezTo>
                <a:cubicBezTo>
                  <a:pt x="521108" y="947719"/>
                  <a:pt x="268507" y="974216"/>
                  <a:pt x="0" y="982129"/>
                </a:cubicBezTo>
                <a:close/>
              </a:path>
            </a:pathLst>
          </a:custGeom>
          <a:gradFill flip="none" rotWithShape="1">
            <a:gsLst>
              <a:gs pos="37000">
                <a:srgbClr val="86D598"/>
              </a:gs>
              <a:gs pos="14000">
                <a:srgbClr val="3ED06F"/>
              </a:gs>
              <a:gs pos="67000">
                <a:srgbClr val="F1A29C">
                  <a:lumMod val="94000"/>
                </a:srgbClr>
              </a:gs>
              <a:gs pos="50000">
                <a:srgbClr val="E4EBDD">
                  <a:lumMod val="90000"/>
                </a:srgbClr>
              </a:gs>
              <a:gs pos="92000">
                <a:srgbClr val="FB4F4F">
                  <a:lumMod val="98000"/>
                </a:srgbClr>
              </a:gs>
            </a:gsLst>
            <a:lin ang="8100000" scaled="1"/>
            <a:tileRect/>
          </a:gradFill>
          <a:ln>
            <a:noFill/>
          </a:ln>
          <a:extLst/>
        </p:spPr>
        <p:txBody>
          <a:bodyPr wrap="none" lIns="83058" tIns="43190" rIns="83058" bIns="43190"/>
          <a:lstStyle/>
          <a:p>
            <a:pPr defTabSz="844083">
              <a:defRPr/>
            </a:pPr>
            <a:endParaRPr lang="de-DE" sz="1477" dirty="0">
              <a:solidFill>
                <a:srgbClr val="000000"/>
              </a:solidFill>
              <a:latin typeface="Arial"/>
              <a:cs typeface="Arial" charset="0"/>
            </a:endParaRPr>
          </a:p>
        </p:txBody>
      </p:sp>
      <p:grpSp>
        <p:nvGrpSpPr>
          <p:cNvPr id="62" name="Gruppieren 82"/>
          <p:cNvGrpSpPr/>
          <p:nvPr/>
        </p:nvGrpSpPr>
        <p:grpSpPr>
          <a:xfrm>
            <a:off x="1909001" y="3587261"/>
            <a:ext cx="4134247" cy="2039816"/>
            <a:chOff x="1649581" y="3714729"/>
            <a:chExt cx="4516799" cy="2212746"/>
          </a:xfrm>
        </p:grpSpPr>
        <p:sp>
          <p:nvSpPr>
            <p:cNvPr id="63" name="Freihandform 9"/>
            <p:cNvSpPr>
              <a:spLocks noChangeArrowheads="1"/>
            </p:cNvSpPr>
            <p:nvPr/>
          </p:nvSpPr>
          <p:spPr bwMode="auto">
            <a:xfrm>
              <a:off x="1649581" y="3714729"/>
              <a:ext cx="3762451" cy="2212746"/>
            </a:xfrm>
            <a:custGeom>
              <a:avLst/>
              <a:gdLst>
                <a:gd name="T0" fmla="*/ 24855 w 4279231"/>
                <a:gd name="T1" fmla="*/ 1761059 h 1770246"/>
                <a:gd name="T2" fmla="*/ 82581 w 4279231"/>
                <a:gd name="T3" fmla="*/ 1732189 h 1770246"/>
                <a:gd name="T4" fmla="*/ 669470 w 4279231"/>
                <a:gd name="T5" fmla="*/ 1481985 h 1770246"/>
                <a:gd name="T6" fmla="*/ 1593100 w 4279231"/>
                <a:gd name="T7" fmla="*/ 702498 h 1770246"/>
                <a:gd name="T8" fmla="*/ 2093398 w 4279231"/>
                <a:gd name="T9" fmla="*/ 413800 h 1770246"/>
                <a:gd name="T10" fmla="*/ 2978542 w 4279231"/>
                <a:gd name="T11" fmla="*/ 163596 h 1770246"/>
                <a:gd name="T12" fmla="*/ 4277393 w 4279231"/>
                <a:gd name="T13" fmla="*/ 0 h 1770246"/>
                <a:gd name="T14" fmla="*/ 0 60000 65536"/>
                <a:gd name="T15" fmla="*/ 0 60000 65536"/>
                <a:gd name="T16" fmla="*/ 0 60000 65536"/>
                <a:gd name="T17" fmla="*/ 0 60000 65536"/>
                <a:gd name="T18" fmla="*/ 0 60000 65536"/>
                <a:gd name="T19" fmla="*/ 0 60000 65536"/>
                <a:gd name="T20" fmla="*/ 0 60000 65536"/>
                <a:gd name="T21" fmla="*/ 0 w 4279231"/>
                <a:gd name="T22" fmla="*/ 0 h 1770246"/>
                <a:gd name="T23" fmla="*/ 4279231 w 4279231"/>
                <a:gd name="T24" fmla="*/ 1770246 h 1770246"/>
                <a:gd name="connsiteX0" fmla="*/ 0 w 4254366"/>
                <a:gd name="connsiteY0" fmla="*/ 1761423 h 1761423"/>
                <a:gd name="connsiteX1" fmla="*/ 644893 w 4254366"/>
                <a:gd name="connsiteY1" fmla="*/ 1482291 h 1761423"/>
                <a:gd name="connsiteX2" fmla="*/ 1568918 w 4254366"/>
                <a:gd name="connsiteY2" fmla="*/ 702644 h 1761423"/>
                <a:gd name="connsiteX3" fmla="*/ 2069432 w 4254366"/>
                <a:gd name="connsiteY3" fmla="*/ 413886 h 1761423"/>
                <a:gd name="connsiteX4" fmla="*/ 2954956 w 4254366"/>
                <a:gd name="connsiteY4" fmla="*/ 163630 h 1761423"/>
                <a:gd name="connsiteX5" fmla="*/ 4254366 w 4254366"/>
                <a:gd name="connsiteY5" fmla="*/ 0 h 1761423"/>
                <a:gd name="connsiteX0" fmla="*/ 0 w 4703568"/>
                <a:gd name="connsiteY0" fmla="*/ 1726616 h 1726616"/>
                <a:gd name="connsiteX1" fmla="*/ 1094095 w 4703568"/>
                <a:gd name="connsiteY1" fmla="*/ 1482291 h 1726616"/>
                <a:gd name="connsiteX2" fmla="*/ 2018120 w 4703568"/>
                <a:gd name="connsiteY2" fmla="*/ 702644 h 1726616"/>
                <a:gd name="connsiteX3" fmla="*/ 2518634 w 4703568"/>
                <a:gd name="connsiteY3" fmla="*/ 413886 h 1726616"/>
                <a:gd name="connsiteX4" fmla="*/ 3404158 w 4703568"/>
                <a:gd name="connsiteY4" fmla="*/ 163630 h 1726616"/>
                <a:gd name="connsiteX5" fmla="*/ 4703568 w 4703568"/>
                <a:gd name="connsiteY5" fmla="*/ 0 h 1726616"/>
                <a:gd name="connsiteX0" fmla="*/ 0 w 4703568"/>
                <a:gd name="connsiteY0" fmla="*/ 1726616 h 1726616"/>
                <a:gd name="connsiteX1" fmla="*/ 1094095 w 4703568"/>
                <a:gd name="connsiteY1" fmla="*/ 1482291 h 1726616"/>
                <a:gd name="connsiteX2" fmla="*/ 2018120 w 4703568"/>
                <a:gd name="connsiteY2" fmla="*/ 702644 h 1726616"/>
                <a:gd name="connsiteX3" fmla="*/ 2518634 w 4703568"/>
                <a:gd name="connsiteY3" fmla="*/ 413886 h 1726616"/>
                <a:gd name="connsiteX4" fmla="*/ 3404158 w 4703568"/>
                <a:gd name="connsiteY4" fmla="*/ 163630 h 1726616"/>
                <a:gd name="connsiteX5" fmla="*/ 4703568 w 4703568"/>
                <a:gd name="connsiteY5" fmla="*/ 0 h 1726616"/>
                <a:gd name="connsiteX0" fmla="*/ 0 w 4703568"/>
                <a:gd name="connsiteY0" fmla="*/ 1726616 h 1726616"/>
                <a:gd name="connsiteX1" fmla="*/ 1094095 w 4703568"/>
                <a:gd name="connsiteY1" fmla="*/ 1482291 h 1726616"/>
                <a:gd name="connsiteX2" fmla="*/ 2018120 w 4703568"/>
                <a:gd name="connsiteY2" fmla="*/ 702644 h 1726616"/>
                <a:gd name="connsiteX3" fmla="*/ 2518634 w 4703568"/>
                <a:gd name="connsiteY3" fmla="*/ 413886 h 1726616"/>
                <a:gd name="connsiteX4" fmla="*/ 3404158 w 4703568"/>
                <a:gd name="connsiteY4" fmla="*/ 163630 h 1726616"/>
                <a:gd name="connsiteX5" fmla="*/ 4703568 w 4703568"/>
                <a:gd name="connsiteY5" fmla="*/ 0 h 1726616"/>
                <a:gd name="connsiteX0" fmla="*/ 0 w 5164591"/>
                <a:gd name="connsiteY0" fmla="*/ 1747500 h 1747500"/>
                <a:gd name="connsiteX1" fmla="*/ 1555118 w 5164591"/>
                <a:gd name="connsiteY1" fmla="*/ 1482291 h 1747500"/>
                <a:gd name="connsiteX2" fmla="*/ 2479143 w 5164591"/>
                <a:gd name="connsiteY2" fmla="*/ 702644 h 1747500"/>
                <a:gd name="connsiteX3" fmla="*/ 2979657 w 5164591"/>
                <a:gd name="connsiteY3" fmla="*/ 413886 h 1747500"/>
                <a:gd name="connsiteX4" fmla="*/ 3865181 w 5164591"/>
                <a:gd name="connsiteY4" fmla="*/ 163630 h 1747500"/>
                <a:gd name="connsiteX5" fmla="*/ 5164591 w 5164591"/>
                <a:gd name="connsiteY5" fmla="*/ 0 h 1747500"/>
                <a:gd name="connsiteX0" fmla="*/ 0 w 5164591"/>
                <a:gd name="connsiteY0" fmla="*/ 1747500 h 1747500"/>
                <a:gd name="connsiteX1" fmla="*/ 1555118 w 5164591"/>
                <a:gd name="connsiteY1" fmla="*/ 1482291 h 1747500"/>
                <a:gd name="connsiteX2" fmla="*/ 2479143 w 5164591"/>
                <a:gd name="connsiteY2" fmla="*/ 702644 h 1747500"/>
                <a:gd name="connsiteX3" fmla="*/ 2979657 w 5164591"/>
                <a:gd name="connsiteY3" fmla="*/ 413886 h 1747500"/>
                <a:gd name="connsiteX4" fmla="*/ 3865181 w 5164591"/>
                <a:gd name="connsiteY4" fmla="*/ 163630 h 1747500"/>
                <a:gd name="connsiteX5" fmla="*/ 5164591 w 5164591"/>
                <a:gd name="connsiteY5" fmla="*/ 0 h 1747500"/>
                <a:gd name="connsiteX0" fmla="*/ 0 w 4674687"/>
                <a:gd name="connsiteY0" fmla="*/ 1700316 h 1700316"/>
                <a:gd name="connsiteX1" fmla="*/ 1555118 w 4674687"/>
                <a:gd name="connsiteY1" fmla="*/ 1435107 h 1700316"/>
                <a:gd name="connsiteX2" fmla="*/ 2479143 w 4674687"/>
                <a:gd name="connsiteY2" fmla="*/ 655460 h 1700316"/>
                <a:gd name="connsiteX3" fmla="*/ 2979657 w 4674687"/>
                <a:gd name="connsiteY3" fmla="*/ 366702 h 1700316"/>
                <a:gd name="connsiteX4" fmla="*/ 3865181 w 4674687"/>
                <a:gd name="connsiteY4" fmla="*/ 116446 h 1700316"/>
                <a:gd name="connsiteX5" fmla="*/ 4674687 w 4674687"/>
                <a:gd name="connsiteY5" fmla="*/ 0 h 1700316"/>
                <a:gd name="connsiteX0" fmla="*/ 0 w 4674687"/>
                <a:gd name="connsiteY0" fmla="*/ 1700316 h 1700316"/>
                <a:gd name="connsiteX1" fmla="*/ 1555118 w 4674687"/>
                <a:gd name="connsiteY1" fmla="*/ 1435107 h 1700316"/>
                <a:gd name="connsiteX2" fmla="*/ 2479143 w 4674687"/>
                <a:gd name="connsiteY2" fmla="*/ 655460 h 1700316"/>
                <a:gd name="connsiteX3" fmla="*/ 2979657 w 4674687"/>
                <a:gd name="connsiteY3" fmla="*/ 366702 h 1700316"/>
                <a:gd name="connsiteX4" fmla="*/ 3865181 w 4674687"/>
                <a:gd name="connsiteY4" fmla="*/ 116446 h 1700316"/>
                <a:gd name="connsiteX5" fmla="*/ 4674687 w 4674687"/>
                <a:gd name="connsiteY5" fmla="*/ 0 h 1700316"/>
                <a:gd name="connsiteX0" fmla="*/ 0 w 4674687"/>
                <a:gd name="connsiteY0" fmla="*/ 1700316 h 1700316"/>
                <a:gd name="connsiteX1" fmla="*/ 1555118 w 4674687"/>
                <a:gd name="connsiteY1" fmla="*/ 1435107 h 1700316"/>
                <a:gd name="connsiteX2" fmla="*/ 2479143 w 4674687"/>
                <a:gd name="connsiteY2" fmla="*/ 655460 h 1700316"/>
                <a:gd name="connsiteX3" fmla="*/ 2979657 w 4674687"/>
                <a:gd name="connsiteY3" fmla="*/ 366702 h 1700316"/>
                <a:gd name="connsiteX4" fmla="*/ 3865181 w 4674687"/>
                <a:gd name="connsiteY4" fmla="*/ 116446 h 1700316"/>
                <a:gd name="connsiteX5" fmla="*/ 4674687 w 4674687"/>
                <a:gd name="connsiteY5" fmla="*/ 0 h 1700316"/>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589897"/>
                <a:gd name="connsiteY0" fmla="*/ 1659030 h 1659030"/>
                <a:gd name="connsiteX1" fmla="*/ 1555118 w 4589897"/>
                <a:gd name="connsiteY1" fmla="*/ 1393821 h 1659030"/>
                <a:gd name="connsiteX2" fmla="*/ 2479143 w 4589897"/>
                <a:gd name="connsiteY2" fmla="*/ 614174 h 1659030"/>
                <a:gd name="connsiteX3" fmla="*/ 2979657 w 4589897"/>
                <a:gd name="connsiteY3" fmla="*/ 325416 h 1659030"/>
                <a:gd name="connsiteX4" fmla="*/ 3865181 w 4589897"/>
                <a:gd name="connsiteY4" fmla="*/ 75160 h 1659030"/>
                <a:gd name="connsiteX5" fmla="*/ 4589897 w 4589897"/>
                <a:gd name="connsiteY5"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2979657 w 4589897"/>
                <a:gd name="connsiteY3" fmla="*/ 325416 h 1659030"/>
                <a:gd name="connsiteX4" fmla="*/ 3865181 w 4589897"/>
                <a:gd name="connsiteY4" fmla="*/ 75160 h 1659030"/>
                <a:gd name="connsiteX5" fmla="*/ 4589897 w 4589897"/>
                <a:gd name="connsiteY5"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2979657 w 4589897"/>
                <a:gd name="connsiteY3" fmla="*/ 325416 h 1659030"/>
                <a:gd name="connsiteX4" fmla="*/ 4589897 w 4589897"/>
                <a:gd name="connsiteY4"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3215187 w 4589897"/>
                <a:gd name="connsiteY3" fmla="*/ 231048 h 1659030"/>
                <a:gd name="connsiteX4" fmla="*/ 4589897 w 4589897"/>
                <a:gd name="connsiteY4"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3215187 w 4589897"/>
                <a:gd name="connsiteY3" fmla="*/ 231048 h 1659030"/>
                <a:gd name="connsiteX4" fmla="*/ 4589897 w 4589897"/>
                <a:gd name="connsiteY4" fmla="*/ 0 h 1659030"/>
                <a:gd name="connsiteX0" fmla="*/ 0 w 4552211"/>
                <a:gd name="connsiteY0" fmla="*/ 1653132 h 1653132"/>
                <a:gd name="connsiteX1" fmla="*/ 1555118 w 4552211"/>
                <a:gd name="connsiteY1" fmla="*/ 1387923 h 1653132"/>
                <a:gd name="connsiteX2" fmla="*/ 2479143 w 4552211"/>
                <a:gd name="connsiteY2" fmla="*/ 608276 h 1653132"/>
                <a:gd name="connsiteX3" fmla="*/ 3215187 w 4552211"/>
                <a:gd name="connsiteY3" fmla="*/ 225150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15187 w 4552211"/>
                <a:gd name="connsiteY3" fmla="*/ 225150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05766 w 4552211"/>
                <a:gd name="connsiteY3" fmla="*/ 231048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05766 w 4552211"/>
                <a:gd name="connsiteY3" fmla="*/ 231048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05766 w 4552211"/>
                <a:gd name="connsiteY3" fmla="*/ 231048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43452 w 4552211"/>
                <a:gd name="connsiteY3" fmla="*/ 225150 h 1653132"/>
                <a:gd name="connsiteX4" fmla="*/ 4552211 w 4552211"/>
                <a:gd name="connsiteY4" fmla="*/ 0 h 1653132"/>
                <a:gd name="connsiteX0" fmla="*/ 0 w 4533369"/>
                <a:gd name="connsiteY0" fmla="*/ 1623642 h 1623642"/>
                <a:gd name="connsiteX1" fmla="*/ 1555118 w 4533369"/>
                <a:gd name="connsiteY1" fmla="*/ 1358433 h 1623642"/>
                <a:gd name="connsiteX2" fmla="*/ 2479143 w 4533369"/>
                <a:gd name="connsiteY2" fmla="*/ 578786 h 1623642"/>
                <a:gd name="connsiteX3" fmla="*/ 3243452 w 4533369"/>
                <a:gd name="connsiteY3" fmla="*/ 195660 h 1623642"/>
                <a:gd name="connsiteX4" fmla="*/ 4533369 w 4533369"/>
                <a:gd name="connsiteY4" fmla="*/ 0 h 1623642"/>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6806 w 4458000"/>
                <a:gd name="connsiteY3" fmla="*/ 2028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56869 w 4458000"/>
                <a:gd name="connsiteY3" fmla="*/ 2049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56869 w 4458000"/>
                <a:gd name="connsiteY3" fmla="*/ 204954 h 1641336"/>
                <a:gd name="connsiteX4" fmla="*/ 4458000 w 4458000"/>
                <a:gd name="connsiteY4" fmla="*/ 0 h 1641336"/>
                <a:gd name="connsiteX0" fmla="*/ 0 w 4458000"/>
                <a:gd name="connsiteY0" fmla="*/ 1641336 h 1641336"/>
                <a:gd name="connsiteX1" fmla="*/ 1555118 w 4458000"/>
                <a:gd name="connsiteY1" fmla="*/ 1376127 h 1641336"/>
                <a:gd name="connsiteX2" fmla="*/ 2417484 w 4458000"/>
                <a:gd name="connsiteY2" fmla="*/ 582694 h 1641336"/>
                <a:gd name="connsiteX3" fmla="*/ 3256869 w 4458000"/>
                <a:gd name="connsiteY3" fmla="*/ 204954 h 1641336"/>
                <a:gd name="connsiteX4" fmla="*/ 4458000 w 4458000"/>
                <a:gd name="connsiteY4" fmla="*/ 0 h 1641336"/>
                <a:gd name="connsiteX0" fmla="*/ 0 w 4458000"/>
                <a:gd name="connsiteY0" fmla="*/ 1641336 h 1641336"/>
                <a:gd name="connsiteX1" fmla="*/ 1555118 w 4458000"/>
                <a:gd name="connsiteY1" fmla="*/ 1376127 h 1641336"/>
                <a:gd name="connsiteX2" fmla="*/ 2417484 w 4458000"/>
                <a:gd name="connsiteY2" fmla="*/ 582694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8000" h="1641336">
                  <a:moveTo>
                    <a:pt x="0" y="1641336"/>
                  </a:moveTo>
                  <a:cubicBezTo>
                    <a:pt x="689945" y="1617991"/>
                    <a:pt x="1210193" y="1541998"/>
                    <a:pt x="1555118" y="1376127"/>
                  </a:cubicBezTo>
                  <a:cubicBezTo>
                    <a:pt x="1900043" y="1210256"/>
                    <a:pt x="2081742" y="846820"/>
                    <a:pt x="2333803" y="646109"/>
                  </a:cubicBezTo>
                  <a:cubicBezTo>
                    <a:pt x="2585864" y="445398"/>
                    <a:pt x="2898432" y="279553"/>
                    <a:pt x="3252465" y="171868"/>
                  </a:cubicBezTo>
                  <a:cubicBezTo>
                    <a:pt x="3606498" y="64183"/>
                    <a:pt x="4072224" y="2039"/>
                    <a:pt x="4458000" y="0"/>
                  </a:cubicBezTo>
                </a:path>
              </a:pathLst>
            </a:custGeom>
            <a:noFill/>
            <a:ln w="25400" cap="rnd"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lIns="83058" tIns="43190" rIns="83058" bIns="43190"/>
            <a:lstStyle/>
            <a:p>
              <a:pPr defTabSz="844083" eaLnBrk="1" hangingPunct="1">
                <a:spcAft>
                  <a:spcPct val="0"/>
                </a:spcAft>
                <a:defRPr/>
              </a:pPr>
              <a:endParaRPr lang="de-DE" sz="1385" dirty="0">
                <a:solidFill>
                  <a:srgbClr val="000000"/>
                </a:solidFill>
                <a:latin typeface="Arial"/>
                <a:cs typeface="Arial" charset="0"/>
              </a:endParaRPr>
            </a:p>
          </p:txBody>
        </p:sp>
        <p:sp>
          <p:nvSpPr>
            <p:cNvPr id="64" name="Freihandform 57"/>
            <p:cNvSpPr/>
            <p:nvPr/>
          </p:nvSpPr>
          <p:spPr>
            <a:xfrm rot="248835">
              <a:off x="5481242" y="3727012"/>
              <a:ext cx="685138" cy="12277"/>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2091"/>
                <a:gd name="connsiteY0" fmla="*/ 21054 h 21054"/>
                <a:gd name="connsiteX1" fmla="*/ 12091 w 12091"/>
                <a:gd name="connsiteY1" fmla="*/ 0 h 21054"/>
                <a:gd name="connsiteX0" fmla="*/ 0 w 12039"/>
                <a:gd name="connsiteY0" fmla="*/ 4473 h 4473"/>
                <a:gd name="connsiteX1" fmla="*/ 12039 w 12039"/>
                <a:gd name="connsiteY1" fmla="*/ 0 h 4473"/>
                <a:gd name="connsiteX0" fmla="*/ 0 w 10000"/>
                <a:gd name="connsiteY0" fmla="*/ 14454 h 14454"/>
                <a:gd name="connsiteX1" fmla="*/ 10000 w 10000"/>
                <a:gd name="connsiteY1" fmla="*/ 4454 h 14454"/>
                <a:gd name="connsiteX0" fmla="*/ 0 w 10000"/>
                <a:gd name="connsiteY0" fmla="*/ 17863 h 17863"/>
                <a:gd name="connsiteX1" fmla="*/ 10000 w 10000"/>
                <a:gd name="connsiteY1" fmla="*/ 7863 h 17863"/>
              </a:gdLst>
              <a:ahLst/>
              <a:cxnLst>
                <a:cxn ang="0">
                  <a:pos x="connsiteX0" y="connsiteY0"/>
                </a:cxn>
                <a:cxn ang="0">
                  <a:pos x="connsiteX1" y="connsiteY1"/>
                </a:cxn>
              </a:cxnLst>
              <a:rect l="l" t="t" r="r" b="b"/>
              <a:pathLst>
                <a:path w="10000" h="17863">
                  <a:moveTo>
                    <a:pt x="0" y="17863"/>
                  </a:moveTo>
                  <a:cubicBezTo>
                    <a:pt x="3594" y="-1947"/>
                    <a:pt x="6710" y="-5280"/>
                    <a:pt x="10000" y="7863"/>
                  </a:cubicBezTo>
                </a:path>
              </a:pathLst>
            </a:custGeom>
            <a:noFill/>
            <a:ln w="25400" cap="rnd" algn="ctr">
              <a:solidFill>
                <a:schemeClr val="bg2"/>
              </a:solidFill>
              <a:prstDash val="sysDash"/>
              <a:round/>
              <a:headEnd/>
              <a:tailEnd/>
            </a:ln>
          </p:spPr>
          <p:txBody>
            <a:bodyPr wrap="none" lIns="83058" tIns="43190" rIns="83058" bIns="43190"/>
            <a:lstStyle/>
            <a:p>
              <a:pPr defTabSz="844083" eaLnBrk="1" hangingPunct="1">
                <a:spcAft>
                  <a:spcPct val="0"/>
                </a:spcAft>
                <a:defRPr/>
              </a:pPr>
              <a:endParaRPr lang="de-DE" sz="1385" dirty="0">
                <a:solidFill>
                  <a:srgbClr val="000000"/>
                </a:solidFill>
                <a:latin typeface="Arial"/>
                <a:cs typeface="Arial" charset="0"/>
              </a:endParaRPr>
            </a:p>
          </p:txBody>
        </p:sp>
        <p:sp>
          <p:nvSpPr>
            <p:cNvPr id="65" name="Freihandform 58"/>
            <p:cNvSpPr/>
            <p:nvPr/>
          </p:nvSpPr>
          <p:spPr>
            <a:xfrm rot="1324690">
              <a:off x="5454736" y="3808489"/>
              <a:ext cx="661156" cy="71226"/>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6488 h 16488"/>
                <a:gd name="connsiteX1" fmla="*/ 10000 w 10000"/>
                <a:gd name="connsiteY1" fmla="*/ 6488 h 16488"/>
                <a:gd name="connsiteX0" fmla="*/ 0 w 10000"/>
                <a:gd name="connsiteY0" fmla="*/ 31774 h 31774"/>
                <a:gd name="connsiteX1" fmla="*/ 10000 w 10000"/>
                <a:gd name="connsiteY1" fmla="*/ 21774 h 31774"/>
                <a:gd name="connsiteX0" fmla="*/ 0 w 10000"/>
                <a:gd name="connsiteY0" fmla="*/ 38044 h 38044"/>
                <a:gd name="connsiteX1" fmla="*/ 10000 w 10000"/>
                <a:gd name="connsiteY1" fmla="*/ 28044 h 38044"/>
                <a:gd name="connsiteX0" fmla="*/ 0 w 11374"/>
                <a:gd name="connsiteY0" fmla="*/ 24544 h 50576"/>
                <a:gd name="connsiteX1" fmla="*/ 11374 w 11374"/>
                <a:gd name="connsiteY1" fmla="*/ 50576 h 50576"/>
                <a:gd name="connsiteX0" fmla="*/ 0 w 11374"/>
                <a:gd name="connsiteY0" fmla="*/ 14232 h 40264"/>
                <a:gd name="connsiteX1" fmla="*/ 11374 w 11374"/>
                <a:gd name="connsiteY1" fmla="*/ 40264 h 40264"/>
                <a:gd name="connsiteX0" fmla="*/ 0 w 11374"/>
                <a:gd name="connsiteY0" fmla="*/ 9796 h 35828"/>
                <a:gd name="connsiteX1" fmla="*/ 11374 w 11374"/>
                <a:gd name="connsiteY1" fmla="*/ 35828 h 35828"/>
                <a:gd name="connsiteX0" fmla="*/ 0 w 11374"/>
                <a:gd name="connsiteY0" fmla="*/ 20322 h 46354"/>
                <a:gd name="connsiteX1" fmla="*/ 11374 w 11374"/>
                <a:gd name="connsiteY1" fmla="*/ 46354 h 46354"/>
              </a:gdLst>
              <a:ahLst/>
              <a:cxnLst>
                <a:cxn ang="0">
                  <a:pos x="connsiteX0" y="connsiteY0"/>
                </a:cxn>
                <a:cxn ang="0">
                  <a:pos x="connsiteX1" y="connsiteY1"/>
                </a:cxn>
              </a:cxnLst>
              <a:rect l="l" t="t" r="r" b="b"/>
              <a:pathLst>
                <a:path w="11374" h="46354">
                  <a:moveTo>
                    <a:pt x="0" y="20322"/>
                  </a:moveTo>
                  <a:cubicBezTo>
                    <a:pt x="4921" y="-22895"/>
                    <a:pt x="8385" y="10968"/>
                    <a:pt x="11374" y="46354"/>
                  </a:cubicBezTo>
                </a:path>
              </a:pathLst>
            </a:custGeom>
            <a:noFill/>
            <a:ln w="25400" cap="rnd" algn="ctr">
              <a:solidFill>
                <a:schemeClr val="bg2"/>
              </a:solidFill>
              <a:prstDash val="sysDash"/>
              <a:round/>
              <a:headEnd/>
              <a:tailEnd/>
            </a:ln>
          </p:spPr>
          <p:txBody>
            <a:bodyPr wrap="none" lIns="83058" tIns="43190" rIns="83058" bIns="43190"/>
            <a:lstStyle/>
            <a:p>
              <a:pPr defTabSz="844083" eaLnBrk="1" hangingPunct="1">
                <a:spcAft>
                  <a:spcPct val="0"/>
                </a:spcAft>
                <a:defRPr/>
              </a:pPr>
              <a:endParaRPr lang="de-DE" sz="1385" dirty="0">
                <a:solidFill>
                  <a:srgbClr val="000000"/>
                </a:solidFill>
                <a:latin typeface="Arial"/>
                <a:cs typeface="Arial" charset="0"/>
              </a:endParaRPr>
            </a:p>
          </p:txBody>
        </p:sp>
      </p:grpSp>
      <p:sp>
        <p:nvSpPr>
          <p:cNvPr id="66" name="Textfeld 60"/>
          <p:cNvSpPr txBox="1">
            <a:spLocks noChangeArrowheads="1"/>
          </p:cNvSpPr>
          <p:nvPr/>
        </p:nvSpPr>
        <p:spPr bwMode="auto">
          <a:xfrm>
            <a:off x="7056603" y="5755283"/>
            <a:ext cx="468094" cy="298105"/>
          </a:xfrm>
          <a:prstGeom prst="rect">
            <a:avLst/>
          </a:prstGeom>
          <a:noFill/>
          <a:ln w="9525">
            <a:noFill/>
            <a:miter lim="800000"/>
            <a:headEnd/>
            <a:tailEnd/>
          </a:ln>
        </p:spPr>
        <p:txBody>
          <a:bodyPr wrap="none" lIns="84146" tIns="42074" rIns="84146" bIns="42074">
            <a:spAutoFit/>
          </a:bodyPr>
          <a:lstStyle/>
          <a:p>
            <a:pPr defTabSz="844083" eaLnBrk="1" hangingPunct="1">
              <a:spcAft>
                <a:spcPct val="0"/>
              </a:spcAft>
              <a:defRPr/>
            </a:pPr>
            <a:r>
              <a:rPr lang="de-DE" sz="1385" dirty="0">
                <a:solidFill>
                  <a:srgbClr val="000000"/>
                </a:solidFill>
                <a:latin typeface="Arial"/>
                <a:cs typeface="Arial" charset="0"/>
              </a:rPr>
              <a:t>Zeit</a:t>
            </a:r>
          </a:p>
        </p:txBody>
      </p:sp>
      <p:sp>
        <p:nvSpPr>
          <p:cNvPr id="67" name="Freihandform 10"/>
          <p:cNvSpPr>
            <a:spLocks noChangeArrowheads="1"/>
          </p:cNvSpPr>
          <p:nvPr/>
        </p:nvSpPr>
        <p:spPr bwMode="auto">
          <a:xfrm>
            <a:off x="2950314" y="2335833"/>
            <a:ext cx="3173918" cy="2855275"/>
          </a:xfrm>
          <a:custGeom>
            <a:avLst/>
            <a:gdLst>
              <a:gd name="T0" fmla="*/ 0 w 4591250"/>
              <a:gd name="T1" fmla="*/ 2743200 h 2743200"/>
              <a:gd name="T2" fmla="*/ 914320 w 4591250"/>
              <a:gd name="T3" fmla="*/ 2579570 h 2743200"/>
              <a:gd name="T4" fmla="*/ 1491787 w 4591250"/>
              <a:gd name="T5" fmla="*/ 2367814 h 2743200"/>
              <a:gd name="T6" fmla="*/ 2059628 w 4591250"/>
              <a:gd name="T7" fmla="*/ 1896177 h 2743200"/>
              <a:gd name="T8" fmla="*/ 2637094 w 4591250"/>
              <a:gd name="T9" fmla="*/ 1241659 h 2743200"/>
              <a:gd name="T10" fmla="*/ 3118314 w 4591250"/>
              <a:gd name="T11" fmla="*/ 750770 h 2743200"/>
              <a:gd name="T12" fmla="*/ 3926766 w 4591250"/>
              <a:gd name="T13" fmla="*/ 231006 h 2743200"/>
              <a:gd name="T14" fmla="*/ 4590851 w 4591250"/>
              <a:gd name="T15" fmla="*/ 0 h 2743200"/>
              <a:gd name="T16" fmla="*/ 0 60000 65536"/>
              <a:gd name="T17" fmla="*/ 0 60000 65536"/>
              <a:gd name="T18" fmla="*/ 0 60000 65536"/>
              <a:gd name="T19" fmla="*/ 0 60000 65536"/>
              <a:gd name="T20" fmla="*/ 0 60000 65536"/>
              <a:gd name="T21" fmla="*/ 0 60000 65536"/>
              <a:gd name="T22" fmla="*/ 0 60000 65536"/>
              <a:gd name="T23" fmla="*/ 0 60000 65536"/>
              <a:gd name="T24" fmla="*/ 0 w 4591250"/>
              <a:gd name="T25" fmla="*/ 0 h 2743200"/>
              <a:gd name="T26" fmla="*/ 4591250 w 4591250"/>
              <a:gd name="T27" fmla="*/ 2743200 h 2743200"/>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463353 w 5140203"/>
              <a:gd name="connsiteY1" fmla="*/ 2579570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575639 w 5140203"/>
              <a:gd name="connsiteY1" fmla="*/ 2549342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575639 w 5140203"/>
              <a:gd name="connsiteY1" fmla="*/ 2549342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575639 w 5140203"/>
              <a:gd name="connsiteY1" fmla="*/ 2549342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302393"/>
              <a:gd name="connsiteY0" fmla="*/ 2780986 h 2780986"/>
              <a:gd name="connsiteX1" fmla="*/ 1737829 w 5302393"/>
              <a:gd name="connsiteY1" fmla="*/ 2549342 h 2780986"/>
              <a:gd name="connsiteX2" fmla="*/ 2770949 w 5302393"/>
              <a:gd name="connsiteY2" fmla="*/ 1896177 h 2780986"/>
              <a:gd name="connsiteX3" fmla="*/ 3348465 w 5302393"/>
              <a:gd name="connsiteY3" fmla="*/ 1241659 h 2780986"/>
              <a:gd name="connsiteX4" fmla="*/ 3829728 w 5302393"/>
              <a:gd name="connsiteY4" fmla="*/ 750770 h 2780986"/>
              <a:gd name="connsiteX5" fmla="*/ 4638250 w 5302393"/>
              <a:gd name="connsiteY5" fmla="*/ 231006 h 2780986"/>
              <a:gd name="connsiteX6" fmla="*/ 5302393 w 5302393"/>
              <a:gd name="connsiteY6" fmla="*/ 0 h 2780986"/>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3829728 w 5302393"/>
              <a:gd name="connsiteY4" fmla="*/ 750770 h 2781033"/>
              <a:gd name="connsiteX5" fmla="*/ 4638250 w 5302393"/>
              <a:gd name="connsiteY5" fmla="*/ 231006 h 2781033"/>
              <a:gd name="connsiteX6" fmla="*/ 5302393 w 5302393"/>
              <a:gd name="connsiteY6"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3954491 w 5302393"/>
              <a:gd name="connsiteY4" fmla="*/ 614743 h 2781033"/>
              <a:gd name="connsiteX5" fmla="*/ 4638250 w 5302393"/>
              <a:gd name="connsiteY5" fmla="*/ 231006 h 2781033"/>
              <a:gd name="connsiteX6" fmla="*/ 5302393 w 5302393"/>
              <a:gd name="connsiteY6"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3954491 w 5302393"/>
              <a:gd name="connsiteY4" fmla="*/ 61474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4864764"/>
              <a:gd name="connsiteY0" fmla="*/ 2762806 h 2762862"/>
              <a:gd name="connsiteX1" fmla="*/ 1300200 w 4864764"/>
              <a:gd name="connsiteY1" fmla="*/ 2549342 h 2762862"/>
              <a:gd name="connsiteX2" fmla="*/ 2333320 w 4864764"/>
              <a:gd name="connsiteY2" fmla="*/ 1896177 h 2762862"/>
              <a:gd name="connsiteX3" fmla="*/ 2910836 w 4864764"/>
              <a:gd name="connsiteY3" fmla="*/ 1241659 h 2762862"/>
              <a:gd name="connsiteX4" fmla="*/ 3716480 w 4864764"/>
              <a:gd name="connsiteY4" fmla="*/ 463603 h 2762862"/>
              <a:gd name="connsiteX5" fmla="*/ 4864764 w 4864764"/>
              <a:gd name="connsiteY5" fmla="*/ 0 h 2762862"/>
              <a:gd name="connsiteX0" fmla="*/ 0 w 4864764"/>
              <a:gd name="connsiteY0" fmla="*/ 2762806 h 2762806"/>
              <a:gd name="connsiteX1" fmla="*/ 1300200 w 4864764"/>
              <a:gd name="connsiteY1" fmla="*/ 2549342 h 2762806"/>
              <a:gd name="connsiteX2" fmla="*/ 2333320 w 4864764"/>
              <a:gd name="connsiteY2" fmla="*/ 1896177 h 2762806"/>
              <a:gd name="connsiteX3" fmla="*/ 2910836 w 4864764"/>
              <a:gd name="connsiteY3" fmla="*/ 1241659 h 2762806"/>
              <a:gd name="connsiteX4" fmla="*/ 3716480 w 4864764"/>
              <a:gd name="connsiteY4" fmla="*/ 463603 h 2762806"/>
              <a:gd name="connsiteX5" fmla="*/ 4864764 w 4864764"/>
              <a:gd name="connsiteY5" fmla="*/ 0 h 2762806"/>
              <a:gd name="connsiteX0" fmla="*/ 0 w 4798337"/>
              <a:gd name="connsiteY0" fmla="*/ 2759751 h 2759751"/>
              <a:gd name="connsiteX1" fmla="*/ 1233773 w 4798337"/>
              <a:gd name="connsiteY1" fmla="*/ 2549342 h 2759751"/>
              <a:gd name="connsiteX2" fmla="*/ 2266893 w 4798337"/>
              <a:gd name="connsiteY2" fmla="*/ 1896177 h 2759751"/>
              <a:gd name="connsiteX3" fmla="*/ 2844409 w 4798337"/>
              <a:gd name="connsiteY3" fmla="*/ 1241659 h 2759751"/>
              <a:gd name="connsiteX4" fmla="*/ 3650053 w 4798337"/>
              <a:gd name="connsiteY4" fmla="*/ 463603 h 2759751"/>
              <a:gd name="connsiteX5" fmla="*/ 4798337 w 4798337"/>
              <a:gd name="connsiteY5" fmla="*/ 0 h 2759751"/>
              <a:gd name="connsiteX0" fmla="*/ 0 w 4788394"/>
              <a:gd name="connsiteY0" fmla="*/ 2695724 h 2695724"/>
              <a:gd name="connsiteX1" fmla="*/ 1233773 w 4788394"/>
              <a:gd name="connsiteY1" fmla="*/ 2485315 h 2695724"/>
              <a:gd name="connsiteX2" fmla="*/ 2266893 w 4788394"/>
              <a:gd name="connsiteY2" fmla="*/ 1832150 h 2695724"/>
              <a:gd name="connsiteX3" fmla="*/ 2844409 w 4788394"/>
              <a:gd name="connsiteY3" fmla="*/ 1177632 h 2695724"/>
              <a:gd name="connsiteX4" fmla="*/ 3650053 w 4788394"/>
              <a:gd name="connsiteY4" fmla="*/ 399576 h 2695724"/>
              <a:gd name="connsiteX5" fmla="*/ 4788394 w 4788394"/>
              <a:gd name="connsiteY5" fmla="*/ 0 h 2695724"/>
              <a:gd name="connsiteX0" fmla="*/ 0 w 4788394"/>
              <a:gd name="connsiteY0" fmla="*/ 2695724 h 2695724"/>
              <a:gd name="connsiteX1" fmla="*/ 1233773 w 4788394"/>
              <a:gd name="connsiteY1" fmla="*/ 2485315 h 2695724"/>
              <a:gd name="connsiteX2" fmla="*/ 2266893 w 4788394"/>
              <a:gd name="connsiteY2" fmla="*/ 1832150 h 2695724"/>
              <a:gd name="connsiteX3" fmla="*/ 2844409 w 4788394"/>
              <a:gd name="connsiteY3" fmla="*/ 1177632 h 2695724"/>
              <a:gd name="connsiteX4" fmla="*/ 3650053 w 4788394"/>
              <a:gd name="connsiteY4" fmla="*/ 399576 h 2695724"/>
              <a:gd name="connsiteX5" fmla="*/ 4788394 w 4788394"/>
              <a:gd name="connsiteY5" fmla="*/ 0 h 2695724"/>
              <a:gd name="connsiteX0" fmla="*/ 0 w 4916465"/>
              <a:gd name="connsiteY0" fmla="*/ 2701614 h 2701614"/>
              <a:gd name="connsiteX1" fmla="*/ 1233773 w 4916465"/>
              <a:gd name="connsiteY1" fmla="*/ 2491205 h 2701614"/>
              <a:gd name="connsiteX2" fmla="*/ 2266893 w 4916465"/>
              <a:gd name="connsiteY2" fmla="*/ 1838040 h 2701614"/>
              <a:gd name="connsiteX3" fmla="*/ 2844409 w 4916465"/>
              <a:gd name="connsiteY3" fmla="*/ 1183522 h 2701614"/>
              <a:gd name="connsiteX4" fmla="*/ 3650053 w 4916465"/>
              <a:gd name="connsiteY4" fmla="*/ 405466 h 2701614"/>
              <a:gd name="connsiteX5" fmla="*/ 4916465 w 4916465"/>
              <a:gd name="connsiteY5" fmla="*/ 0 h 2701614"/>
              <a:gd name="connsiteX0" fmla="*/ 0 w 4916465"/>
              <a:gd name="connsiteY0" fmla="*/ 2701614 h 2701614"/>
              <a:gd name="connsiteX1" fmla="*/ 1233773 w 4916465"/>
              <a:gd name="connsiteY1" fmla="*/ 2491205 h 2701614"/>
              <a:gd name="connsiteX2" fmla="*/ 2266893 w 4916465"/>
              <a:gd name="connsiteY2" fmla="*/ 1838040 h 2701614"/>
              <a:gd name="connsiteX3" fmla="*/ 2844409 w 4916465"/>
              <a:gd name="connsiteY3" fmla="*/ 1183522 h 2701614"/>
              <a:gd name="connsiteX4" fmla="*/ 3650053 w 4916465"/>
              <a:gd name="connsiteY4" fmla="*/ 405466 h 2701614"/>
              <a:gd name="connsiteX5" fmla="*/ 4916465 w 4916465"/>
              <a:gd name="connsiteY5" fmla="*/ 0 h 2701614"/>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650053 w 4916465"/>
              <a:gd name="connsiteY4" fmla="*/ 429028 h 2725176"/>
              <a:gd name="connsiteX5" fmla="*/ 4916465 w 4916465"/>
              <a:gd name="connsiteY5" fmla="*/ 0 h 2725176"/>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650053 w 4916465"/>
              <a:gd name="connsiteY4" fmla="*/ 429028 h 2725176"/>
              <a:gd name="connsiteX5" fmla="*/ 4916465 w 4916465"/>
              <a:gd name="connsiteY5" fmla="*/ 0 h 2725176"/>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650053 w 4916465"/>
              <a:gd name="connsiteY4" fmla="*/ 429028 h 2725176"/>
              <a:gd name="connsiteX5" fmla="*/ 4916465 w 4916465"/>
              <a:gd name="connsiteY5" fmla="*/ 0 h 2725176"/>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517090 w 4916465"/>
              <a:gd name="connsiteY4" fmla="*/ 566015 h 2725176"/>
              <a:gd name="connsiteX5" fmla="*/ 4916465 w 4916465"/>
              <a:gd name="connsiteY5" fmla="*/ 0 h 2725176"/>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517090 w 4770205"/>
              <a:gd name="connsiteY4" fmla="*/ 437590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517090 w 4770205"/>
              <a:gd name="connsiteY4" fmla="*/ 437590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485473 w 4733318"/>
              <a:gd name="connsiteY3" fmla="*/ 440983 h 2556033"/>
              <a:gd name="connsiteX4" fmla="*/ 4733318 w 4733318"/>
              <a:gd name="connsiteY4"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333414 w 4733318"/>
              <a:gd name="connsiteY3" fmla="*/ 542813 h 2556033"/>
              <a:gd name="connsiteX4" fmla="*/ 4733318 w 4733318"/>
              <a:gd name="connsiteY4"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333414 w 4733318"/>
              <a:gd name="connsiteY3" fmla="*/ 542813 h 2556033"/>
              <a:gd name="connsiteX4" fmla="*/ 4733318 w 4733318"/>
              <a:gd name="connsiteY4"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333414 w 4733318"/>
              <a:gd name="connsiteY3" fmla="*/ 542813 h 2556033"/>
              <a:gd name="connsiteX4" fmla="*/ 4733318 w 4733318"/>
              <a:gd name="connsiteY4" fmla="*/ 0 h 2556033"/>
              <a:gd name="connsiteX0" fmla="*/ 0 w 4727237"/>
              <a:gd name="connsiteY0" fmla="*/ 2505119 h 2505119"/>
              <a:gd name="connsiteX1" fmla="*/ 1233773 w 4727237"/>
              <a:gd name="connsiteY1" fmla="*/ 2294710 h 2505119"/>
              <a:gd name="connsiteX2" fmla="*/ 2266893 w 4727237"/>
              <a:gd name="connsiteY2" fmla="*/ 1641545 h 2505119"/>
              <a:gd name="connsiteX3" fmla="*/ 3333414 w 4727237"/>
              <a:gd name="connsiteY3" fmla="*/ 491899 h 2505119"/>
              <a:gd name="connsiteX4" fmla="*/ 4727237 w 4727237"/>
              <a:gd name="connsiteY4" fmla="*/ 0 h 2505119"/>
              <a:gd name="connsiteX0" fmla="*/ 0 w 4727237"/>
              <a:gd name="connsiteY0" fmla="*/ 2520785 h 2520785"/>
              <a:gd name="connsiteX1" fmla="*/ 1233773 w 4727237"/>
              <a:gd name="connsiteY1" fmla="*/ 2310376 h 2520785"/>
              <a:gd name="connsiteX2" fmla="*/ 2266893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266893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07326 w 4405495"/>
              <a:gd name="connsiteY3" fmla="*/ 457173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37576 h 2456394"/>
              <a:gd name="connsiteX4" fmla="*/ 4405495 w 4405495"/>
              <a:gd name="connsiteY4" fmla="*/ 0 h 2456394"/>
              <a:gd name="connsiteX0" fmla="*/ 0 w 4370711"/>
              <a:gd name="connsiteY0" fmla="*/ 2464793 h 2464793"/>
              <a:gd name="connsiteX1" fmla="*/ 1233773 w 4370711"/>
              <a:gd name="connsiteY1" fmla="*/ 2254384 h 2464793"/>
              <a:gd name="connsiteX2" fmla="*/ 2309469 w 4370711"/>
              <a:gd name="connsiteY2" fmla="*/ 1601219 h 2464793"/>
              <a:gd name="connsiteX3" fmla="*/ 3333414 w 4370711"/>
              <a:gd name="connsiteY3" fmla="*/ 445975 h 2464793"/>
              <a:gd name="connsiteX4" fmla="*/ 4370711 w 4370711"/>
              <a:gd name="connsiteY4" fmla="*/ 0 h 2464793"/>
              <a:gd name="connsiteX0" fmla="*/ 0 w 4370711"/>
              <a:gd name="connsiteY0" fmla="*/ 2464793 h 2464793"/>
              <a:gd name="connsiteX1" fmla="*/ 1233773 w 4370711"/>
              <a:gd name="connsiteY1" fmla="*/ 2254384 h 2464793"/>
              <a:gd name="connsiteX2" fmla="*/ 2309469 w 4370711"/>
              <a:gd name="connsiteY2" fmla="*/ 1601219 h 2464793"/>
              <a:gd name="connsiteX3" fmla="*/ 3333414 w 4370711"/>
              <a:gd name="connsiteY3" fmla="*/ 445975 h 2464793"/>
              <a:gd name="connsiteX4" fmla="*/ 4370711 w 4370711"/>
              <a:gd name="connsiteY4" fmla="*/ 0 h 2464793"/>
              <a:gd name="connsiteX0" fmla="*/ 0 w 4370711"/>
              <a:gd name="connsiteY0" fmla="*/ 2464793 h 2464793"/>
              <a:gd name="connsiteX1" fmla="*/ 1233773 w 4370711"/>
              <a:gd name="connsiteY1" fmla="*/ 2254384 h 2464793"/>
              <a:gd name="connsiteX2" fmla="*/ 2337359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337359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374545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360600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370711"/>
              <a:gd name="connsiteY0" fmla="*/ 2464793 h 2464793"/>
              <a:gd name="connsiteX1" fmla="*/ 1411583 w 4370711"/>
              <a:gd name="connsiteY1" fmla="*/ 2228356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370711"/>
              <a:gd name="connsiteY0" fmla="*/ 2464793 h 2464793"/>
              <a:gd name="connsiteX1" fmla="*/ 1411583 w 4370711"/>
              <a:gd name="connsiteY1" fmla="*/ 2228356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89629"/>
              <a:gd name="connsiteY0" fmla="*/ 2471045 h 2471045"/>
              <a:gd name="connsiteX1" fmla="*/ 1411583 w 4289629"/>
              <a:gd name="connsiteY1" fmla="*/ 2234608 h 2471045"/>
              <a:gd name="connsiteX2" fmla="*/ 2405346 w 4289629"/>
              <a:gd name="connsiteY2" fmla="*/ 1609007 h 2471045"/>
              <a:gd name="connsiteX3" fmla="*/ 3333414 w 4289629"/>
              <a:gd name="connsiteY3" fmla="*/ 452227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3414 w 4289629"/>
              <a:gd name="connsiteY3" fmla="*/ 452227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3414 w 4289629"/>
              <a:gd name="connsiteY3" fmla="*/ 452227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99838"/>
              <a:gd name="connsiteY0" fmla="*/ 2490768 h 2490768"/>
              <a:gd name="connsiteX1" fmla="*/ 1411583 w 4299838"/>
              <a:gd name="connsiteY1" fmla="*/ 2254331 h 2490768"/>
              <a:gd name="connsiteX2" fmla="*/ 2405346 w 4299838"/>
              <a:gd name="connsiteY2" fmla="*/ 1628730 h 2490768"/>
              <a:gd name="connsiteX3" fmla="*/ 3339563 w 4299838"/>
              <a:gd name="connsiteY3" fmla="*/ 462053 h 2490768"/>
              <a:gd name="connsiteX4" fmla="*/ 4299838 w 4299838"/>
              <a:gd name="connsiteY4" fmla="*/ 0 h 2490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9838" h="2490768">
                <a:moveTo>
                  <a:pt x="0" y="2490768"/>
                </a:moveTo>
                <a:cubicBezTo>
                  <a:pt x="587319" y="2465864"/>
                  <a:pt x="1000749" y="2410809"/>
                  <a:pt x="1411583" y="2254331"/>
                </a:cubicBezTo>
                <a:cubicBezTo>
                  <a:pt x="1822417" y="2097853"/>
                  <a:pt x="2084016" y="1927443"/>
                  <a:pt x="2405346" y="1628730"/>
                </a:cubicBezTo>
                <a:cubicBezTo>
                  <a:pt x="2726676" y="1330017"/>
                  <a:pt x="3023814" y="733508"/>
                  <a:pt x="3339563" y="462053"/>
                </a:cubicBezTo>
                <a:cubicBezTo>
                  <a:pt x="3655312" y="190598"/>
                  <a:pt x="3999976" y="68859"/>
                  <a:pt x="4299838" y="0"/>
                </a:cubicBezTo>
              </a:path>
            </a:pathLst>
          </a:custGeom>
          <a:noFill/>
          <a:ln w="25400" cap="rnd" algn="ctr">
            <a:solidFill>
              <a:srgbClr val="00B050"/>
            </a:solidFill>
            <a:round/>
            <a:headEnd/>
            <a:tailEnd/>
          </a:ln>
          <a:extLst>
            <a:ext uri="{909E8E84-426E-40DD-AFC4-6F175D3DCCD1}">
              <a14:hiddenFill xmlns:a14="http://schemas.microsoft.com/office/drawing/2010/main">
                <a:solidFill>
                  <a:srgbClr val="FFFFFF"/>
                </a:solidFill>
              </a14:hiddenFill>
            </a:ext>
          </a:extLst>
        </p:spPr>
        <p:txBody>
          <a:bodyPr wrap="none" lIns="83058" tIns="43190" rIns="83058" bIns="43190"/>
          <a:lstStyle/>
          <a:p>
            <a:pPr defTabSz="844083">
              <a:defRPr/>
            </a:pPr>
            <a:endParaRPr lang="de-DE" sz="1477" dirty="0">
              <a:solidFill>
                <a:srgbClr val="000000"/>
              </a:solidFill>
              <a:latin typeface="Arial"/>
              <a:cs typeface="Arial" charset="0"/>
            </a:endParaRPr>
          </a:p>
        </p:txBody>
      </p:sp>
      <p:grpSp>
        <p:nvGrpSpPr>
          <p:cNvPr id="68" name="Group 110"/>
          <p:cNvGrpSpPr/>
          <p:nvPr/>
        </p:nvGrpSpPr>
        <p:grpSpPr>
          <a:xfrm>
            <a:off x="2357246" y="5107570"/>
            <a:ext cx="565326" cy="165787"/>
            <a:chOff x="2204432" y="5090329"/>
            <a:chExt cx="612437" cy="179603"/>
          </a:xfrm>
        </p:grpSpPr>
        <p:sp>
          <p:nvSpPr>
            <p:cNvPr id="69" name="Freihandform 50"/>
            <p:cNvSpPr/>
            <p:nvPr/>
          </p:nvSpPr>
          <p:spPr>
            <a:xfrm rot="224175">
              <a:off x="2204432" y="5162018"/>
              <a:ext cx="600577" cy="45719"/>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0000 h 10000"/>
                <a:gd name="connsiteX1" fmla="*/ 10000 w 10000"/>
                <a:gd name="connsiteY1" fmla="*/ 0 h 10000"/>
                <a:gd name="connsiteX0" fmla="*/ 0 w 10000"/>
                <a:gd name="connsiteY0" fmla="*/ 10000 h 10000"/>
                <a:gd name="connsiteX1" fmla="*/ 10000 w 10000"/>
                <a:gd name="connsiteY1" fmla="*/ 0 h 10000"/>
              </a:gdLst>
              <a:ahLst/>
              <a:cxnLst>
                <a:cxn ang="0">
                  <a:pos x="connsiteX0" y="connsiteY0"/>
                </a:cxn>
                <a:cxn ang="0">
                  <a:pos x="connsiteX1" y="connsiteY1"/>
                </a:cxn>
              </a:cxnLst>
              <a:rect l="l" t="t" r="r" b="b"/>
              <a:pathLst>
                <a:path w="10000" h="10000">
                  <a:moveTo>
                    <a:pt x="0" y="10000"/>
                  </a:moveTo>
                  <a:cubicBezTo>
                    <a:pt x="3501" y="9958"/>
                    <a:pt x="5938" y="6625"/>
                    <a:pt x="10000" y="0"/>
                  </a:cubicBezTo>
                </a:path>
              </a:pathLst>
            </a:custGeom>
            <a:noFill/>
            <a:ln w="25400" cap="rnd" algn="ctr">
              <a:solidFill>
                <a:srgbClr val="00B050">
                  <a:alpha val="59000"/>
                </a:srgbClr>
              </a:solidFill>
              <a:prstDash val="sysDash"/>
              <a:round/>
              <a:headEnd/>
              <a:tailEnd/>
            </a:ln>
          </p:spPr>
          <p:txBody>
            <a:bodyPr wrap="none" lIns="83058" tIns="43190" rIns="83058" bIns="43190"/>
            <a:lstStyle/>
            <a:p>
              <a:pPr defTabSz="844083" eaLnBrk="1" hangingPunct="1">
                <a:spcAft>
                  <a:spcPct val="0"/>
                </a:spcAft>
                <a:defRPr/>
              </a:pPr>
              <a:endParaRPr lang="de-DE" sz="1477" dirty="0">
                <a:solidFill>
                  <a:srgbClr val="000000"/>
                </a:solidFill>
                <a:latin typeface="Arial"/>
                <a:cs typeface="Arial" charset="0"/>
              </a:endParaRPr>
            </a:p>
          </p:txBody>
        </p:sp>
        <p:sp>
          <p:nvSpPr>
            <p:cNvPr id="70" name="Freihandform 50"/>
            <p:cNvSpPr/>
            <p:nvPr/>
          </p:nvSpPr>
          <p:spPr>
            <a:xfrm rot="21054672">
              <a:off x="2211858" y="5224213"/>
              <a:ext cx="600576" cy="45719"/>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0000 h 10000"/>
                <a:gd name="connsiteX1" fmla="*/ 10000 w 10000"/>
                <a:gd name="connsiteY1" fmla="*/ 0 h 10000"/>
                <a:gd name="connsiteX0" fmla="*/ 0 w 10000"/>
                <a:gd name="connsiteY0" fmla="*/ 10000 h 10000"/>
                <a:gd name="connsiteX1" fmla="*/ 10000 w 10000"/>
                <a:gd name="connsiteY1" fmla="*/ 0 h 10000"/>
                <a:gd name="connsiteX0" fmla="*/ 0 w 10000"/>
                <a:gd name="connsiteY0" fmla="*/ 10643 h 10643"/>
                <a:gd name="connsiteX1" fmla="*/ 10000 w 10000"/>
                <a:gd name="connsiteY1" fmla="*/ 643 h 10643"/>
                <a:gd name="connsiteX0" fmla="*/ 0 w 10000"/>
                <a:gd name="connsiteY0" fmla="*/ 11318 h 11318"/>
                <a:gd name="connsiteX1" fmla="*/ 10000 w 10000"/>
                <a:gd name="connsiteY1" fmla="*/ 1318 h 11318"/>
              </a:gdLst>
              <a:ahLst/>
              <a:cxnLst>
                <a:cxn ang="0">
                  <a:pos x="connsiteX0" y="connsiteY0"/>
                </a:cxn>
                <a:cxn ang="0">
                  <a:pos x="connsiteX1" y="connsiteY1"/>
                </a:cxn>
              </a:cxnLst>
              <a:rect l="l" t="t" r="r" b="b"/>
              <a:pathLst>
                <a:path w="10000" h="11318">
                  <a:moveTo>
                    <a:pt x="0" y="11318"/>
                  </a:moveTo>
                  <a:cubicBezTo>
                    <a:pt x="3951" y="2027"/>
                    <a:pt x="5808" y="-2409"/>
                    <a:pt x="10000" y="1318"/>
                  </a:cubicBezTo>
                </a:path>
              </a:pathLst>
            </a:custGeom>
            <a:noFill/>
            <a:ln w="25400" cap="rnd" algn="ctr">
              <a:solidFill>
                <a:srgbClr val="00B050">
                  <a:alpha val="59000"/>
                </a:srgbClr>
              </a:solidFill>
              <a:prstDash val="sysDash"/>
              <a:round/>
              <a:headEnd/>
              <a:tailEnd/>
            </a:ln>
          </p:spPr>
          <p:txBody>
            <a:bodyPr wrap="none" lIns="83058" tIns="43190" rIns="83058" bIns="43190"/>
            <a:lstStyle/>
            <a:p>
              <a:pPr defTabSz="844083" eaLnBrk="1" hangingPunct="1">
                <a:spcAft>
                  <a:spcPct val="0"/>
                </a:spcAft>
                <a:defRPr/>
              </a:pPr>
              <a:endParaRPr lang="de-DE" sz="1477" dirty="0">
                <a:solidFill>
                  <a:srgbClr val="000000"/>
                </a:solidFill>
                <a:latin typeface="Arial"/>
                <a:cs typeface="Arial" charset="0"/>
              </a:endParaRPr>
            </a:p>
          </p:txBody>
        </p:sp>
        <p:sp>
          <p:nvSpPr>
            <p:cNvPr id="71" name="Freihandform 50"/>
            <p:cNvSpPr/>
            <p:nvPr/>
          </p:nvSpPr>
          <p:spPr>
            <a:xfrm rot="1088803">
              <a:off x="2216292" y="5090329"/>
              <a:ext cx="600577" cy="60275"/>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0000 h 10000"/>
                <a:gd name="connsiteX1" fmla="*/ 10000 w 10000"/>
                <a:gd name="connsiteY1" fmla="*/ 0 h 10000"/>
                <a:gd name="connsiteX0" fmla="*/ 0 w 10000"/>
                <a:gd name="connsiteY0" fmla="*/ 10000 h 10000"/>
                <a:gd name="connsiteX1" fmla="*/ 10000 w 10000"/>
                <a:gd name="connsiteY1" fmla="*/ 0 h 10000"/>
                <a:gd name="connsiteX0" fmla="*/ 0 w 10000"/>
                <a:gd name="connsiteY0" fmla="*/ 10000 h 15047"/>
                <a:gd name="connsiteX1" fmla="*/ 10000 w 10000"/>
                <a:gd name="connsiteY1" fmla="*/ 0 h 15047"/>
                <a:gd name="connsiteX0" fmla="*/ 0 w 10000"/>
                <a:gd name="connsiteY0" fmla="*/ 10000 h 17401"/>
                <a:gd name="connsiteX1" fmla="*/ 10000 w 10000"/>
                <a:gd name="connsiteY1" fmla="*/ 0 h 17401"/>
              </a:gdLst>
              <a:ahLst/>
              <a:cxnLst>
                <a:cxn ang="0">
                  <a:pos x="connsiteX0" y="connsiteY0"/>
                </a:cxn>
                <a:cxn ang="0">
                  <a:pos x="connsiteX1" y="connsiteY1"/>
                </a:cxn>
              </a:cxnLst>
              <a:rect l="l" t="t" r="r" b="b"/>
              <a:pathLst>
                <a:path w="10000" h="17401">
                  <a:moveTo>
                    <a:pt x="0" y="10000"/>
                  </a:moveTo>
                  <a:cubicBezTo>
                    <a:pt x="3575" y="23398"/>
                    <a:pt x="5829" y="17739"/>
                    <a:pt x="10000" y="0"/>
                  </a:cubicBezTo>
                </a:path>
              </a:pathLst>
            </a:custGeom>
            <a:noFill/>
            <a:ln w="25400" cap="rnd" algn="ctr">
              <a:solidFill>
                <a:srgbClr val="00B050">
                  <a:alpha val="59000"/>
                </a:srgbClr>
              </a:solidFill>
              <a:prstDash val="sysDash"/>
              <a:round/>
              <a:headEnd/>
              <a:tailEnd/>
            </a:ln>
          </p:spPr>
          <p:txBody>
            <a:bodyPr wrap="none" lIns="83058" tIns="43190" rIns="83058" bIns="43190"/>
            <a:lstStyle/>
            <a:p>
              <a:pPr defTabSz="844083" eaLnBrk="1" hangingPunct="1">
                <a:spcAft>
                  <a:spcPct val="0"/>
                </a:spcAft>
                <a:defRPr/>
              </a:pPr>
              <a:endParaRPr lang="de-DE" sz="1477" dirty="0">
                <a:solidFill>
                  <a:srgbClr val="000000"/>
                </a:solidFill>
                <a:latin typeface="Arial"/>
                <a:cs typeface="Arial" charset="0"/>
              </a:endParaRPr>
            </a:p>
          </p:txBody>
        </p:sp>
      </p:grpSp>
      <p:pic>
        <p:nvPicPr>
          <p:cNvPr id="72"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3276260" y="3564358"/>
            <a:ext cx="1810326" cy="1557330"/>
          </a:xfrm>
          <a:prstGeom prst="rect">
            <a:avLst/>
          </a:prstGeom>
          <a:noFill/>
          <a:extLst>
            <a:ext uri="{909E8E84-426E-40DD-AFC4-6F175D3DCCD1}">
              <a14:hiddenFill xmlns:a14="http://schemas.microsoft.com/office/drawing/2010/main">
                <a:solidFill>
                  <a:srgbClr val="FFFFFF"/>
                </a:solidFill>
              </a14:hiddenFill>
            </a:ext>
          </a:extLst>
        </p:spPr>
      </p:pic>
      <p:cxnSp>
        <p:nvCxnSpPr>
          <p:cNvPr id="73" name="Gerade Verbindung 114"/>
          <p:cNvCxnSpPr>
            <a:cxnSpLocks noChangeShapeType="1"/>
          </p:cNvCxnSpPr>
          <p:nvPr/>
        </p:nvCxnSpPr>
        <p:spPr bwMode="auto">
          <a:xfrm>
            <a:off x="4169308" y="2066193"/>
            <a:ext cx="0" cy="3926562"/>
          </a:xfrm>
          <a:prstGeom prst="line">
            <a:avLst/>
          </a:prstGeom>
          <a:noFill/>
          <a:ln w="12700" cap="rnd" algn="ctr">
            <a:solidFill>
              <a:schemeClr val="tx1"/>
            </a:solidFill>
            <a:prstDash val="dash"/>
            <a:round/>
            <a:headEnd/>
            <a:tailEnd/>
          </a:ln>
        </p:spPr>
      </p:cxnSp>
      <p:cxnSp>
        <p:nvCxnSpPr>
          <p:cNvPr id="74" name="Gerade Verbindung mit Pfeil 6"/>
          <p:cNvCxnSpPr>
            <a:cxnSpLocks noChangeShapeType="1"/>
          </p:cNvCxnSpPr>
          <p:nvPr/>
        </p:nvCxnSpPr>
        <p:spPr bwMode="auto">
          <a:xfrm flipV="1">
            <a:off x="1904408" y="2066194"/>
            <a:ext cx="0" cy="3705959"/>
          </a:xfrm>
          <a:prstGeom prst="straightConnector1">
            <a:avLst/>
          </a:prstGeom>
          <a:noFill/>
          <a:ln w="12700" cap="rnd" algn="ctr">
            <a:solidFill>
              <a:schemeClr val="tx1"/>
            </a:solidFill>
            <a:round/>
            <a:headEnd/>
            <a:tailEnd type="triangle" w="med" len="med"/>
          </a:ln>
        </p:spPr>
      </p:cxnSp>
      <p:sp>
        <p:nvSpPr>
          <p:cNvPr id="75" name="Kritische Entscheidungszone"/>
          <p:cNvSpPr txBox="1">
            <a:spLocks noChangeArrowheads="1"/>
          </p:cNvSpPr>
          <p:nvPr/>
        </p:nvSpPr>
        <p:spPr bwMode="auto">
          <a:xfrm>
            <a:off x="4517331" y="4607658"/>
            <a:ext cx="2822906" cy="539581"/>
          </a:xfrm>
          <a:prstGeom prst="rect">
            <a:avLst/>
          </a:prstGeom>
          <a:noFill/>
          <a:ln w="9525">
            <a:noFill/>
            <a:miter lim="800000"/>
            <a:headEnd/>
            <a:tailEnd/>
          </a:ln>
        </p:spPr>
        <p:txBody>
          <a:bodyPr wrap="none" lIns="84146" tIns="42074" rIns="84146" bIns="42074">
            <a:spAutoFit/>
          </a:bodyPr>
          <a:lstStyle>
            <a:defPPr>
              <a:defRPr lang="de-DE"/>
            </a:defPPr>
            <a:lvl1pPr>
              <a:spcAft>
                <a:spcPct val="0"/>
              </a:spcAft>
              <a:defRPr sz="1500">
                <a:solidFill>
                  <a:srgbClr val="E20000"/>
                </a:solidFill>
              </a:defRPr>
            </a:lvl1pPr>
          </a:lstStyle>
          <a:p>
            <a:pPr defTabSz="844083" eaLnBrk="1" hangingPunct="1">
              <a:defRPr/>
            </a:pPr>
            <a:r>
              <a:rPr lang="de-DE" sz="1477" b="1" dirty="0">
                <a:solidFill>
                  <a:srgbClr val="E62614"/>
                </a:solidFill>
                <a:latin typeface="Arial"/>
                <a:cs typeface="Arial" charset="0"/>
              </a:rPr>
              <a:t>Kritische</a:t>
            </a:r>
            <a:r>
              <a:rPr lang="de-DE" sz="1477" b="1" dirty="0">
                <a:gradFill flip="none" rotWithShape="1">
                  <a:gsLst>
                    <a:gs pos="0">
                      <a:srgbClr val="4AD378"/>
                    </a:gs>
                    <a:gs pos="50000">
                      <a:srgbClr val="CED6BD"/>
                    </a:gs>
                    <a:gs pos="100000">
                      <a:srgbClr val="E62614"/>
                    </a:gs>
                  </a:gsLst>
                  <a:lin ang="2700000" scaled="1"/>
                  <a:tileRect/>
                </a:gradFill>
                <a:latin typeface="Arial"/>
                <a:cs typeface="Arial" charset="0"/>
              </a:rPr>
              <a:t> </a:t>
            </a:r>
            <a:r>
              <a:rPr lang="de-DE" sz="1477" b="1" dirty="0">
                <a:gradFill flip="none" rotWithShape="1">
                  <a:gsLst>
                    <a:gs pos="32000">
                      <a:srgbClr val="00B050"/>
                    </a:gs>
                    <a:gs pos="41000">
                      <a:srgbClr val="A2625C"/>
                    </a:gs>
                    <a:gs pos="50000">
                      <a:srgbClr val="FF0000"/>
                    </a:gs>
                  </a:gsLst>
                  <a:lin ang="14400000" scaled="0"/>
                  <a:tileRect/>
                </a:gradFill>
                <a:latin typeface="Arial"/>
                <a:cs typeface="Arial" charset="0"/>
              </a:rPr>
              <a:t>Entscheidungszone</a:t>
            </a:r>
            <a:r>
              <a:rPr lang="de-DE" sz="1477" b="1" dirty="0">
                <a:gradFill flip="none" rotWithShape="1">
                  <a:gsLst>
                    <a:gs pos="0">
                      <a:srgbClr val="4AD378"/>
                    </a:gs>
                    <a:gs pos="50000">
                      <a:srgbClr val="CED6BD"/>
                    </a:gs>
                    <a:gs pos="100000">
                      <a:srgbClr val="E62614"/>
                    </a:gs>
                  </a:gsLst>
                  <a:lin ang="2700000" scaled="1"/>
                  <a:tileRect/>
                </a:gradFill>
                <a:latin typeface="Arial"/>
                <a:cs typeface="Arial" charset="0"/>
              </a:rPr>
              <a:t/>
            </a:r>
            <a:br>
              <a:rPr lang="de-DE" sz="1477" b="1" dirty="0">
                <a:gradFill flip="none" rotWithShape="1">
                  <a:gsLst>
                    <a:gs pos="0">
                      <a:srgbClr val="4AD378"/>
                    </a:gs>
                    <a:gs pos="50000">
                      <a:srgbClr val="CED6BD"/>
                    </a:gs>
                    <a:gs pos="100000">
                      <a:srgbClr val="E62614"/>
                    </a:gs>
                  </a:gsLst>
                  <a:lin ang="2700000" scaled="1"/>
                  <a:tileRect/>
                </a:gradFill>
                <a:latin typeface="Arial"/>
                <a:cs typeface="Arial" charset="0"/>
              </a:rPr>
            </a:br>
            <a:r>
              <a:rPr lang="de-DE" sz="1477" b="1" dirty="0">
                <a:gradFill flip="none" rotWithShape="1">
                  <a:gsLst>
                    <a:gs pos="55000">
                      <a:srgbClr val="15935A"/>
                    </a:gs>
                    <a:gs pos="65000">
                      <a:srgbClr val="A2625C"/>
                    </a:gs>
                    <a:gs pos="73000">
                      <a:srgbClr val="E62614"/>
                    </a:gs>
                  </a:gsLst>
                  <a:lin ang="14400000" scaled="0"/>
                  <a:tileRect/>
                </a:gradFill>
                <a:latin typeface="Arial"/>
                <a:cs typeface="Arial" charset="0"/>
              </a:rPr>
              <a:t>Verlagerung</a:t>
            </a:r>
            <a:r>
              <a:rPr lang="de-DE" sz="1477" b="1" dirty="0">
                <a:gradFill flip="none" rotWithShape="1">
                  <a:gsLst>
                    <a:gs pos="0">
                      <a:srgbClr val="4AD378"/>
                    </a:gs>
                    <a:gs pos="50000">
                      <a:srgbClr val="CED6BD"/>
                    </a:gs>
                    <a:gs pos="100000">
                      <a:srgbClr val="E62614"/>
                    </a:gs>
                  </a:gsLst>
                  <a:lin ang="2700000" scaled="1"/>
                  <a:tileRect/>
                </a:gradFill>
                <a:latin typeface="Arial"/>
                <a:cs typeface="Arial" charset="0"/>
              </a:rPr>
              <a:t> </a:t>
            </a:r>
            <a:r>
              <a:rPr lang="de-DE" sz="1477" b="1" dirty="0">
                <a:solidFill>
                  <a:srgbClr val="00B050"/>
                </a:solidFill>
                <a:latin typeface="Arial"/>
                <a:cs typeface="Arial" charset="0"/>
              </a:rPr>
              <a:t>von</a:t>
            </a:r>
            <a:r>
              <a:rPr lang="de-DE" sz="1477" b="1" dirty="0">
                <a:gradFill flip="none" rotWithShape="1">
                  <a:gsLst>
                    <a:gs pos="0">
                      <a:srgbClr val="4AD378"/>
                    </a:gs>
                    <a:gs pos="50000">
                      <a:srgbClr val="CED6BD"/>
                    </a:gs>
                    <a:gs pos="100000">
                      <a:srgbClr val="E62614"/>
                    </a:gs>
                  </a:gsLst>
                  <a:lin ang="2700000" scaled="1"/>
                  <a:tileRect/>
                </a:gradFill>
                <a:latin typeface="Arial"/>
                <a:cs typeface="Arial" charset="0"/>
              </a:rPr>
              <a:t> </a:t>
            </a:r>
            <a:r>
              <a:rPr lang="de-DE" sz="1477" b="1" dirty="0">
                <a:solidFill>
                  <a:srgbClr val="00B050"/>
                </a:solidFill>
                <a:latin typeface="Arial"/>
                <a:cs typeface="Arial" charset="0"/>
              </a:rPr>
              <a:t>Ressourcen</a:t>
            </a:r>
          </a:p>
        </p:txBody>
      </p:sp>
    </p:spTree>
    <p:extLst>
      <p:ext uri="{BB962C8B-B14F-4D97-AF65-F5344CB8AC3E}">
        <p14:creationId xmlns:p14="http://schemas.microsoft.com/office/powerpoint/2010/main" val="761099163"/>
      </p:ext>
    </p:extLst>
  </p:cSld>
  <p:clrMapOvr>
    <a:masterClrMapping/>
  </p:clrMapOvr>
  <p:transition spd="slow"/>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964223" y="1023372"/>
            <a:ext cx="7977554" cy="5182932"/>
          </a:xfrm>
        </p:spPr>
        <p:txBody>
          <a:bodyPr/>
          <a:lstStyle/>
          <a:p>
            <a:pPr>
              <a:lnSpc>
                <a:spcPct val="100000"/>
              </a:lnSpc>
            </a:pPr>
            <a:r>
              <a:rPr lang="de-CH" dirty="0">
                <a:latin typeface="Arial" panose="020B0604020202020204" pitchFamily="34" charset="0"/>
                <a:cs typeface="Arial" panose="020B0604020202020204" pitchFamily="34" charset="0"/>
              </a:rPr>
              <a:t>Vier Haupt-Triebkräfte der Grossen Transformation </a:t>
            </a:r>
            <a:br>
              <a:rPr lang="de-CH" dirty="0">
                <a:latin typeface="Arial" panose="020B0604020202020204" pitchFamily="34" charset="0"/>
                <a:cs typeface="Arial" panose="020B0604020202020204" pitchFamily="34" charset="0"/>
              </a:rPr>
            </a:br>
            <a:r>
              <a:rPr lang="de-CH" dirty="0">
                <a:latin typeface="Arial" panose="020B0604020202020204" pitchFamily="34" charset="0"/>
                <a:cs typeface="Arial" panose="020B0604020202020204" pitchFamily="34" charset="0"/>
              </a:rPr>
              <a:t>und eine 5. neue Kraft … </a:t>
            </a:r>
            <a:r>
              <a:rPr lang="de-CH" sz="2215" dirty="0"/>
              <a:t/>
            </a:r>
            <a:br>
              <a:rPr lang="de-CH" sz="2215" dirty="0"/>
            </a:br>
            <a:r>
              <a:rPr lang="de-CH" sz="1015" dirty="0"/>
              <a:t/>
            </a:r>
            <a:br>
              <a:rPr lang="de-CH" sz="1015" dirty="0"/>
            </a:br>
            <a:r>
              <a:rPr lang="de-CH" sz="1108" dirty="0"/>
              <a:t>die gemeinsam zu einer neuen Realität führen. </a:t>
            </a:r>
            <a:br>
              <a:rPr lang="de-CH" sz="1108" dirty="0"/>
            </a:br>
            <a:r>
              <a:rPr lang="de-CH" sz="1108" dirty="0"/>
              <a:t>Die Alte Welt, wie wir sie kennen, wird verdrängt von einer Neuen Welt, die noch weitgehend unbekannt ist. </a:t>
            </a:r>
            <a:br>
              <a:rPr lang="de-CH" sz="1108" dirty="0"/>
            </a:br>
            <a:r>
              <a:rPr lang="de-CH" dirty="0" smtClean="0">
                <a:latin typeface="Arial" panose="020B0604020202020204" pitchFamily="34" charset="0"/>
                <a:cs typeface="Arial" panose="020B0604020202020204" pitchFamily="34" charset="0"/>
              </a:rPr>
              <a:t/>
            </a:r>
            <a:br>
              <a:rPr lang="de-CH" dirty="0" smtClean="0">
                <a:latin typeface="Arial" panose="020B0604020202020204" pitchFamily="34" charset="0"/>
                <a:cs typeface="Arial" panose="020B0604020202020204" pitchFamily="34" charset="0"/>
              </a:rPr>
            </a:br>
            <a:r>
              <a:rPr lang="de-CH" sz="1477" dirty="0"/>
              <a:t>Treiber 1 : Digitalisierung </a:t>
            </a:r>
            <a:br>
              <a:rPr lang="de-CH" sz="1477" dirty="0"/>
            </a:br>
            <a:r>
              <a:rPr lang="de-CH" sz="1292" b="0" dirty="0"/>
              <a:t>Haupteffekt:  G</a:t>
            </a:r>
            <a:r>
              <a:rPr lang="de-CH" sz="1292" b="0" dirty="0" smtClean="0"/>
              <a:t>lobale Vernetzung alles mit allem </a:t>
            </a:r>
            <a:r>
              <a:rPr lang="de-CH" sz="1292" b="0" dirty="0"/>
              <a:t/>
            </a:r>
            <a:br>
              <a:rPr lang="de-CH" sz="1292" b="0" dirty="0"/>
            </a:br>
            <a:r>
              <a:rPr lang="de-CH" dirty="0">
                <a:latin typeface="Arial" panose="020B0604020202020204" pitchFamily="34" charset="0"/>
                <a:cs typeface="Arial" panose="020B0604020202020204" pitchFamily="34" charset="0"/>
              </a:rPr>
              <a:t/>
            </a:r>
            <a:br>
              <a:rPr lang="de-CH" dirty="0">
                <a:latin typeface="Arial" panose="020B0604020202020204" pitchFamily="34" charset="0"/>
                <a:cs typeface="Arial" panose="020B0604020202020204" pitchFamily="34" charset="0"/>
              </a:rPr>
            </a:br>
            <a:r>
              <a:rPr lang="de-CH" sz="1477" dirty="0"/>
              <a:t>Treiber 2: Bevölkerungsstruktur</a:t>
            </a:r>
            <a:r>
              <a:rPr lang="de-CH" dirty="0">
                <a:latin typeface="Arial" panose="020B0604020202020204" pitchFamily="34" charset="0"/>
                <a:cs typeface="Arial" panose="020B0604020202020204" pitchFamily="34" charset="0"/>
              </a:rPr>
              <a:t/>
            </a:r>
            <a:br>
              <a:rPr lang="de-CH" dirty="0">
                <a:latin typeface="Arial" panose="020B0604020202020204" pitchFamily="34" charset="0"/>
                <a:cs typeface="Arial" panose="020B0604020202020204" pitchFamily="34" charset="0"/>
              </a:rPr>
            </a:br>
            <a:r>
              <a:rPr lang="de-CH" sz="1292" b="0" dirty="0"/>
              <a:t>Überalterung in den entwickelten Ländern </a:t>
            </a:r>
            <a:r>
              <a:rPr lang="de-CH" sz="1477" b="0" dirty="0"/>
              <a:t/>
            </a:r>
            <a:br>
              <a:rPr lang="de-CH" sz="1477" b="0" dirty="0"/>
            </a:br>
            <a:r>
              <a:rPr lang="de-CH" sz="1292" b="0" dirty="0"/>
              <a:t>überforderte Sozialsysteme, mangelnde digitale Ausbildung, </a:t>
            </a:r>
            <a:br>
              <a:rPr lang="de-CH" sz="1292" b="0" dirty="0"/>
            </a:br>
            <a:r>
              <a:rPr lang="de-CH" sz="1292" b="0" dirty="0"/>
              <a:t>Wanderungsbewegungen aus unterentwickelten Ländern</a:t>
            </a:r>
            <a:br>
              <a:rPr lang="de-CH" sz="1292" b="0" dirty="0"/>
            </a:br>
            <a:r>
              <a:rPr lang="de-CH" sz="1292" b="0" dirty="0"/>
              <a:t/>
            </a:r>
            <a:br>
              <a:rPr lang="de-CH" sz="1292" b="0" dirty="0"/>
            </a:br>
            <a:r>
              <a:rPr lang="de-CH" sz="1477" dirty="0">
                <a:solidFill>
                  <a:srgbClr val="FF0000"/>
                </a:solidFill>
              </a:rPr>
              <a:t>Treiber 3 : Ökologie </a:t>
            </a:r>
            <a:r>
              <a:rPr lang="de-CH" dirty="0">
                <a:solidFill>
                  <a:srgbClr val="FF0000"/>
                </a:solidFill>
                <a:latin typeface="Arial" panose="020B0604020202020204" pitchFamily="34" charset="0"/>
                <a:cs typeface="Arial" panose="020B0604020202020204" pitchFamily="34" charset="0"/>
              </a:rPr>
              <a:t/>
            </a:r>
            <a:br>
              <a:rPr lang="de-CH" dirty="0">
                <a:solidFill>
                  <a:srgbClr val="FF0000"/>
                </a:solidFill>
                <a:latin typeface="Arial" panose="020B0604020202020204" pitchFamily="34" charset="0"/>
                <a:cs typeface="Arial" panose="020B0604020202020204" pitchFamily="34" charset="0"/>
              </a:rPr>
            </a:br>
            <a:r>
              <a:rPr lang="de-CH" sz="1292" b="0" dirty="0">
                <a:solidFill>
                  <a:srgbClr val="FF0000"/>
                </a:solidFill>
              </a:rPr>
              <a:t>Auch dann ernst zu nehmen, wenn man nicht allen Wissenschaftlern </a:t>
            </a:r>
            <a:br>
              <a:rPr lang="de-CH" sz="1292" b="0" dirty="0">
                <a:solidFill>
                  <a:srgbClr val="FF0000"/>
                </a:solidFill>
              </a:rPr>
            </a:br>
            <a:r>
              <a:rPr lang="de-CH" sz="1292" b="0" dirty="0">
                <a:solidFill>
                  <a:srgbClr val="FF0000"/>
                </a:solidFill>
              </a:rPr>
              <a:t>zustimmen will. Unter anderem geht es auch um soziale Verwerfungen</a:t>
            </a:r>
            <a:br>
              <a:rPr lang="de-CH" sz="1292" b="0" dirty="0">
                <a:solidFill>
                  <a:srgbClr val="FF0000"/>
                </a:solidFill>
              </a:rPr>
            </a:br>
            <a:r>
              <a:rPr lang="de-CH" dirty="0">
                <a:solidFill>
                  <a:srgbClr val="FF0000"/>
                </a:solidFill>
                <a:latin typeface="Arial" panose="020B0604020202020204" pitchFamily="34" charset="0"/>
                <a:cs typeface="Arial" panose="020B0604020202020204" pitchFamily="34" charset="0"/>
              </a:rPr>
              <a:t/>
            </a:r>
            <a:br>
              <a:rPr lang="de-CH" dirty="0">
                <a:solidFill>
                  <a:srgbClr val="FF0000"/>
                </a:solidFill>
                <a:latin typeface="Arial" panose="020B0604020202020204" pitchFamily="34" charset="0"/>
                <a:cs typeface="Arial" panose="020B0604020202020204" pitchFamily="34" charset="0"/>
              </a:rPr>
            </a:br>
            <a:r>
              <a:rPr lang="de-CH" sz="1477" dirty="0"/>
              <a:t>Treiber 4: Ökonomie </a:t>
            </a:r>
            <a:br>
              <a:rPr lang="de-CH" sz="1477" dirty="0"/>
            </a:br>
            <a:r>
              <a:rPr lang="de-CH" sz="1292" b="0" dirty="0"/>
              <a:t>Hauptfaktor weltweite Verschuldung, bisher aufgefangen durch Notenbanken und Nullzinsen</a:t>
            </a:r>
            <a:br>
              <a:rPr lang="de-CH" sz="1292" b="0" dirty="0"/>
            </a:br>
            <a:r>
              <a:rPr lang="de-CH" sz="1292" b="0" dirty="0"/>
              <a:t>radikaler Preiszerfall durch Digitale Lösungen, </a:t>
            </a:r>
            <a:br>
              <a:rPr lang="de-CH" sz="1292" b="0" dirty="0"/>
            </a:br>
            <a:r>
              <a:rPr lang="de-CH" sz="1292" b="0" dirty="0"/>
              <a:t>drohende Handelskriege, </a:t>
            </a:r>
            <a:r>
              <a:rPr lang="de-CH" sz="1292" b="0" dirty="0" smtClean="0"/>
              <a:t>Gegeneinander </a:t>
            </a:r>
            <a:r>
              <a:rPr lang="de-CH" sz="1292" b="0" dirty="0"/>
              <a:t>statt </a:t>
            </a:r>
            <a:r>
              <a:rPr lang="de-CH" sz="1292" b="0" dirty="0" smtClean="0"/>
              <a:t>Miteinander</a:t>
            </a:r>
            <a:r>
              <a:rPr lang="de-CH" sz="1477" b="0" dirty="0"/>
              <a:t/>
            </a:r>
            <a:br>
              <a:rPr lang="de-CH" sz="1477" b="0" dirty="0"/>
            </a:br>
            <a:r>
              <a:rPr lang="de-CH" sz="2585" dirty="0"/>
              <a:t/>
            </a:r>
            <a:br>
              <a:rPr lang="de-CH" sz="2585" dirty="0"/>
            </a:br>
            <a:r>
              <a:rPr lang="de-CH" sz="2585" dirty="0"/>
              <a:t/>
            </a:r>
            <a:br>
              <a:rPr lang="de-CH" sz="2585" dirty="0"/>
            </a:br>
            <a:r>
              <a:rPr lang="de-CH" sz="2585" dirty="0"/>
              <a:t/>
            </a:r>
            <a:br>
              <a:rPr lang="de-CH" sz="2585" dirty="0"/>
            </a:br>
            <a:r>
              <a:rPr lang="de-CH" sz="2585" dirty="0"/>
              <a:t/>
            </a:r>
            <a:br>
              <a:rPr lang="de-CH" sz="2585" dirty="0"/>
            </a:br>
            <a:r>
              <a:rPr lang="de-CH" sz="2585" dirty="0"/>
              <a:t/>
            </a:r>
            <a:br>
              <a:rPr lang="de-CH" sz="2585" dirty="0"/>
            </a:br>
            <a:r>
              <a:rPr lang="de-CH" dirty="0" smtClean="0"/>
              <a:t> </a:t>
            </a:r>
            <a:endParaRPr lang="de-CH" dirty="0"/>
          </a:p>
        </p:txBody>
      </p:sp>
      <p:sp>
        <p:nvSpPr>
          <p:cNvPr id="3" name="Textplatzhalter 2"/>
          <p:cNvSpPr>
            <a:spLocks noGrp="1"/>
          </p:cNvSpPr>
          <p:nvPr>
            <p:ph type="body" sz="quarter" idx="10"/>
          </p:nvPr>
        </p:nvSpPr>
        <p:spPr/>
        <p:txBody>
          <a:bodyPr/>
          <a:lstStyle/>
          <a:p>
            <a:endParaRPr lang="de-CH"/>
          </a:p>
        </p:txBody>
      </p:sp>
      <p:sp>
        <p:nvSpPr>
          <p:cNvPr id="4" name="Textfeld 3"/>
          <p:cNvSpPr txBox="1"/>
          <p:nvPr/>
        </p:nvSpPr>
        <p:spPr>
          <a:xfrm>
            <a:off x="3407825" y="3029094"/>
            <a:ext cx="31651" cy="178188"/>
          </a:xfrm>
          <a:prstGeom prst="rect">
            <a:avLst/>
          </a:prstGeom>
          <a:ln algn="ctr"/>
        </p:spPr>
        <p:txBody>
          <a:bodyPr wrap="square" lIns="24923" tIns="24923" rIns="24923" bIns="24923" rtlCol="0" anchor="t">
            <a:spAutoFit/>
          </a:bodyPr>
          <a:lstStyle/>
          <a:p>
            <a:pPr defTabSz="633062" eaLnBrk="1" hangingPunct="1">
              <a:spcAft>
                <a:spcPct val="0"/>
              </a:spcAft>
              <a:defRPr/>
            </a:pPr>
            <a:endParaRPr lang="de-CH" sz="831" kern="0" dirty="0" err="1">
              <a:solidFill>
                <a:srgbClr val="000000"/>
              </a:solidFill>
              <a:latin typeface="Calibri"/>
            </a:endParaRPr>
          </a:p>
        </p:txBody>
      </p:sp>
      <p:sp>
        <p:nvSpPr>
          <p:cNvPr id="6" name="Textfeld 5"/>
          <p:cNvSpPr txBox="1"/>
          <p:nvPr/>
        </p:nvSpPr>
        <p:spPr>
          <a:xfrm>
            <a:off x="3043024" y="2140805"/>
            <a:ext cx="4219741" cy="433899"/>
          </a:xfrm>
          <a:prstGeom prst="rect">
            <a:avLst/>
          </a:prstGeom>
          <a:ln algn="ctr"/>
        </p:spPr>
        <p:txBody>
          <a:bodyPr wrap="square" lIns="24923" tIns="24923" rIns="24923" bIns="24923" rtlCol="0" anchor="t">
            <a:spAutoFit/>
          </a:bodyPr>
          <a:lstStyle/>
          <a:p>
            <a:pPr defTabSz="633062" eaLnBrk="1" hangingPunct="1">
              <a:spcAft>
                <a:spcPct val="0"/>
              </a:spcAft>
              <a:defRPr/>
            </a:pPr>
            <a:endParaRPr lang="de-CH" sz="831" kern="0" dirty="0">
              <a:solidFill>
                <a:srgbClr val="000000"/>
              </a:solidFill>
              <a:latin typeface="Calibri"/>
            </a:endParaRPr>
          </a:p>
          <a:p>
            <a:pPr defTabSz="633062" eaLnBrk="1" hangingPunct="1">
              <a:spcAft>
                <a:spcPct val="0"/>
              </a:spcAft>
              <a:defRPr/>
            </a:pPr>
            <a:endParaRPr lang="de-CH" sz="831" kern="0" dirty="0">
              <a:solidFill>
                <a:srgbClr val="000000"/>
              </a:solidFill>
              <a:latin typeface="Calibri"/>
            </a:endParaRPr>
          </a:p>
          <a:p>
            <a:pPr defTabSz="633062" eaLnBrk="1" hangingPunct="1">
              <a:spcAft>
                <a:spcPct val="0"/>
              </a:spcAft>
              <a:defRPr/>
            </a:pPr>
            <a:endParaRPr lang="de-CH" sz="831" kern="0" dirty="0" err="1">
              <a:solidFill>
                <a:srgbClr val="000000"/>
              </a:solidFill>
              <a:latin typeface="Calibri"/>
            </a:endParaRPr>
          </a:p>
        </p:txBody>
      </p:sp>
      <p:sp>
        <p:nvSpPr>
          <p:cNvPr id="8" name="Textfeld 7"/>
          <p:cNvSpPr txBox="1"/>
          <p:nvPr/>
        </p:nvSpPr>
        <p:spPr>
          <a:xfrm>
            <a:off x="2526324" y="2140805"/>
            <a:ext cx="4431323" cy="237607"/>
          </a:xfrm>
          <a:prstGeom prst="rect">
            <a:avLst/>
          </a:prstGeom>
          <a:ln algn="ctr"/>
        </p:spPr>
        <p:txBody>
          <a:bodyPr wrap="square" lIns="33231" tIns="33231" rIns="33231" bIns="33231" rtlCol="0" anchor="t">
            <a:spAutoFit/>
          </a:bodyPr>
          <a:lstStyle/>
          <a:p>
            <a:pPr defTabSz="844083" eaLnBrk="1" hangingPunct="1">
              <a:spcAft>
                <a:spcPct val="0"/>
              </a:spcAft>
              <a:defRPr/>
            </a:pPr>
            <a:endParaRPr lang="de-CH" sz="1108" kern="0" dirty="0" err="1">
              <a:solidFill>
                <a:srgbClr val="000000"/>
              </a:solidFill>
              <a:latin typeface="Calibri"/>
            </a:endParaRPr>
          </a:p>
        </p:txBody>
      </p:sp>
    </p:spTree>
    <p:extLst>
      <p:ext uri="{BB962C8B-B14F-4D97-AF65-F5344CB8AC3E}">
        <p14:creationId xmlns:p14="http://schemas.microsoft.com/office/powerpoint/2010/main" val="3016963333"/>
      </p:ext>
    </p:extLst>
  </p:cSld>
  <p:clrMapOvr>
    <a:masterClrMapping/>
  </p:clrMapOvr>
  <p:transition spd="slow"/>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11" name="Titel 2"/>
          <p:cNvSpPr>
            <a:spLocks noGrp="1"/>
          </p:cNvSpPr>
          <p:nvPr>
            <p:ph type="title"/>
          </p:nvPr>
        </p:nvSpPr>
        <p:spPr>
          <a:xfrm>
            <a:off x="1021941" y="514653"/>
            <a:ext cx="7975385" cy="5574604"/>
          </a:xfrm>
        </p:spPr>
        <p:txBody>
          <a:bodyPr anchor="t"/>
          <a:lstStyle/>
          <a:p>
            <a:pPr>
              <a:lnSpc>
                <a:spcPct val="100000"/>
              </a:lnSpc>
            </a:pPr>
            <a:r>
              <a:rPr lang="de-DE" sz="1800" dirty="0" smtClean="0">
                <a:latin typeface="Arial" panose="020B0604020202020204" pitchFamily="34" charset="0"/>
                <a:cs typeface="Arial" panose="020B0604020202020204" pitchFamily="34" charset="0"/>
              </a:rPr>
              <a:t>Der entscheidende 5. Faktor als neue Realität</a:t>
            </a:r>
            <a:br>
              <a:rPr lang="de-DE" sz="1800" dirty="0" smtClean="0">
                <a:latin typeface="Arial" panose="020B0604020202020204" pitchFamily="34" charset="0"/>
                <a:cs typeface="Arial" panose="020B0604020202020204" pitchFamily="34" charset="0"/>
              </a:rPr>
            </a:br>
            <a:r>
              <a:rPr lang="de-DE" sz="1800" dirty="0" smtClean="0">
                <a:latin typeface="Arial" panose="020B0604020202020204" pitchFamily="34" charset="0"/>
                <a:cs typeface="Arial" panose="020B0604020202020204" pitchFamily="34" charset="0"/>
              </a:rPr>
              <a:t>ist die exponentiell steigende,  </a:t>
            </a:r>
            <a:br>
              <a:rPr lang="de-DE" sz="1800" dirty="0" smtClean="0">
                <a:latin typeface="Arial" panose="020B0604020202020204" pitchFamily="34" charset="0"/>
                <a:cs typeface="Arial" panose="020B0604020202020204" pitchFamily="34" charset="0"/>
              </a:rPr>
            </a:br>
            <a:r>
              <a:rPr lang="de-DE" sz="1800" dirty="0" smtClean="0">
                <a:solidFill>
                  <a:srgbClr val="FF0000"/>
                </a:solidFill>
                <a:latin typeface="Arial" panose="020B0604020202020204" pitchFamily="34" charset="0"/>
                <a:cs typeface="Arial" panose="020B0604020202020204" pitchFamily="34" charset="0"/>
              </a:rPr>
              <a:t>sich selbst verstärkende Komplexität</a:t>
            </a:r>
            <a:r>
              <a:rPr lang="de-DE" sz="1800" dirty="0" smtClean="0">
                <a:latin typeface="Arial" panose="020B0604020202020204" pitchFamily="34" charset="0"/>
                <a:cs typeface="Arial" panose="020B0604020202020204" pitchFamily="34" charset="0"/>
              </a:rPr>
              <a:t>. </a:t>
            </a:r>
            <a:br>
              <a:rPr lang="de-DE" sz="1800" dirty="0" smtClean="0">
                <a:latin typeface="Arial" panose="020B0604020202020204" pitchFamily="34" charset="0"/>
                <a:cs typeface="Arial" panose="020B0604020202020204" pitchFamily="34" charset="0"/>
              </a:rPr>
            </a:br>
            <a:r>
              <a:rPr lang="de-DE" sz="1800" dirty="0" smtClean="0">
                <a:latin typeface="Arial" panose="020B0604020202020204" pitchFamily="34" charset="0"/>
                <a:cs typeface="Arial" panose="020B0604020202020204" pitchFamily="34" charset="0"/>
              </a:rPr>
              <a:t/>
            </a:r>
            <a:br>
              <a:rPr lang="de-DE" sz="1800" dirty="0" smtClean="0">
                <a:latin typeface="Arial" panose="020B0604020202020204" pitchFamily="34" charset="0"/>
                <a:cs typeface="Arial" panose="020B0604020202020204" pitchFamily="34" charset="0"/>
              </a:rPr>
            </a:br>
            <a:r>
              <a:rPr lang="de-DE" sz="1800" dirty="0" smtClean="0">
                <a:solidFill>
                  <a:srgbClr val="FF0000"/>
                </a:solidFill>
                <a:latin typeface="Arial" panose="020B0604020202020204" pitchFamily="34" charset="0"/>
                <a:cs typeface="Arial" panose="020B0604020202020204" pitchFamily="34" charset="0"/>
              </a:rPr>
              <a:t>Deswegen greifen die bisherigen Methoden zu kurz</a:t>
            </a:r>
            <a:r>
              <a:rPr lang="de-DE" dirty="0" smtClean="0">
                <a:latin typeface="Arial" panose="020B0604020202020204" pitchFamily="34" charset="0"/>
                <a:cs typeface="Arial" panose="020B0604020202020204" pitchFamily="34" charset="0"/>
              </a:rPr>
              <a:t/>
            </a:r>
            <a:br>
              <a:rPr lang="de-DE" dirty="0" smtClean="0">
                <a:latin typeface="Arial" panose="020B0604020202020204" pitchFamily="34" charset="0"/>
                <a:cs typeface="Arial" panose="020B0604020202020204" pitchFamily="34" charset="0"/>
              </a:rPr>
            </a:br>
            <a:r>
              <a:rPr lang="de-DE" dirty="0" smtClean="0">
                <a:latin typeface="Arial" panose="020B0604020202020204" pitchFamily="34" charset="0"/>
                <a:cs typeface="Arial" panose="020B0604020202020204" pitchFamily="34" charset="0"/>
              </a:rPr>
              <a:t/>
            </a:r>
            <a:br>
              <a:rPr lang="de-DE" dirty="0" smtClean="0">
                <a:latin typeface="Arial" panose="020B0604020202020204" pitchFamily="34" charset="0"/>
                <a:cs typeface="Arial" panose="020B0604020202020204" pitchFamily="34" charset="0"/>
              </a:rPr>
            </a:br>
            <a:r>
              <a:rPr lang="de-DE" sz="1800" dirty="0" smtClean="0">
                <a:latin typeface="Arial" panose="020B0604020202020204" pitchFamily="34" charset="0"/>
                <a:cs typeface="Arial" panose="020B0604020202020204" pitchFamily="34" charset="0"/>
              </a:rPr>
              <a:t>Sie ist Gefahr und Chance zugleich.</a:t>
            </a:r>
            <a:br>
              <a:rPr lang="de-DE" sz="1800" dirty="0" smtClean="0">
                <a:latin typeface="Arial" panose="020B0604020202020204" pitchFamily="34" charset="0"/>
                <a:cs typeface="Arial" panose="020B0604020202020204" pitchFamily="34" charset="0"/>
              </a:rPr>
            </a:br>
            <a:r>
              <a:rPr lang="de-DE" sz="1800" dirty="0" smtClean="0">
                <a:latin typeface="Arial" panose="020B0604020202020204" pitchFamily="34" charset="0"/>
                <a:cs typeface="Arial" panose="020B0604020202020204" pitchFamily="34" charset="0"/>
              </a:rPr>
              <a:t>Ihre Quelle ist die Vernetzung der 4 Haupt-Triebkräfte</a:t>
            </a:r>
            <a:r>
              <a:rPr lang="de-DE" sz="1800" dirty="0"/>
              <a:t/>
            </a:r>
            <a:br>
              <a:rPr lang="de-DE" sz="1800" dirty="0"/>
            </a:br>
            <a:r>
              <a:rPr lang="de-DE" dirty="0" smtClean="0">
                <a:latin typeface="Arial" panose="020B0604020202020204" pitchFamily="34" charset="0"/>
                <a:cs typeface="Arial" panose="020B0604020202020204" pitchFamily="34" charset="0"/>
              </a:rPr>
              <a:t>- </a:t>
            </a:r>
            <a:r>
              <a:rPr lang="de-DE" sz="1292" b="0" dirty="0"/>
              <a:t>Weltweit in immer mehr </a:t>
            </a:r>
            <a:r>
              <a:rPr lang="de-DE" sz="1292" b="0" dirty="0" smtClean="0"/>
              <a:t>Bereichen,  </a:t>
            </a:r>
            <a:r>
              <a:rPr lang="de-DE" sz="1292" b="0" dirty="0"/>
              <a:t>die sich vernetzen </a:t>
            </a:r>
            <a:br>
              <a:rPr lang="de-DE" sz="1292" b="0" dirty="0"/>
            </a:br>
            <a:r>
              <a:rPr lang="de-DE" sz="1292" b="0" dirty="0"/>
              <a:t>- wachsende politische und soziale Instabilität, </a:t>
            </a:r>
            <a:br>
              <a:rPr lang="de-DE" sz="1292" b="0" dirty="0"/>
            </a:br>
            <a:r>
              <a:rPr lang="de-DE" sz="1292" b="0" dirty="0"/>
              <a:t>weil die bisherigen Regierungssysteme mit der Komplexität nicht Schritt halten</a:t>
            </a:r>
            <a:br>
              <a:rPr lang="de-DE" sz="1292" b="0" dirty="0"/>
            </a:br>
            <a:r>
              <a:rPr lang="de-DE" sz="1292" b="0" dirty="0"/>
              <a:t>- Zerfallen bisheriger  Zusammenschlüsse von Ländern</a:t>
            </a:r>
            <a:br>
              <a:rPr lang="de-DE" sz="1292" b="0" dirty="0"/>
            </a:br>
            <a:r>
              <a:rPr lang="de-DE" sz="1292" b="0" dirty="0"/>
              <a:t>-  volatile Finanzmärkte</a:t>
            </a:r>
            <a:br>
              <a:rPr lang="de-DE" sz="1292" b="0" dirty="0"/>
            </a:br>
            <a:r>
              <a:rPr lang="de-DE" sz="1292" b="0" dirty="0"/>
              <a:t>- neue Risiken durch die Cyber-Kriminalität, Erpressung und Hacking</a:t>
            </a:r>
            <a:br>
              <a:rPr lang="de-DE" sz="1292" b="0" dirty="0"/>
            </a:br>
            <a:r>
              <a:rPr lang="de-DE" sz="1292" b="0" dirty="0"/>
              <a:t>- Verfälschung der medialen Berichterstattung, </a:t>
            </a:r>
            <a:r>
              <a:rPr lang="de-DE" sz="1292" b="0" dirty="0" err="1"/>
              <a:t>Faked</a:t>
            </a:r>
            <a:r>
              <a:rPr lang="de-DE" sz="1292" b="0" dirty="0"/>
              <a:t> News, systematische </a:t>
            </a:r>
            <a:br>
              <a:rPr lang="de-DE" sz="1292" b="0" dirty="0"/>
            </a:br>
            <a:r>
              <a:rPr lang="de-DE" sz="1292" b="0" dirty="0"/>
              <a:t>Desinformation und Missbrauch von Daten </a:t>
            </a:r>
            <a:br>
              <a:rPr lang="de-DE" sz="1292" b="0" dirty="0"/>
            </a:br>
            <a:r>
              <a:rPr lang="de-DE" sz="1292" b="0" dirty="0"/>
              <a:t/>
            </a:r>
            <a:br>
              <a:rPr lang="de-DE" sz="1292" b="0" dirty="0"/>
            </a:br>
            <a:r>
              <a:rPr lang="de-DE" sz="1292" b="0" dirty="0"/>
              <a:t/>
            </a:r>
            <a:br>
              <a:rPr lang="de-DE" sz="1292" b="0" dirty="0"/>
            </a:br>
            <a:r>
              <a:rPr lang="de-DE" sz="1292" b="0" dirty="0"/>
              <a:t/>
            </a:r>
            <a:br>
              <a:rPr lang="de-DE" sz="1292" b="0" dirty="0"/>
            </a:br>
            <a:r>
              <a:rPr lang="de-DE" sz="1292" b="0" i="1" dirty="0"/>
              <a:t>Siehe dazu meine bereits einleitend aufgeführten Bücher:</a:t>
            </a:r>
            <a:br>
              <a:rPr lang="de-DE" sz="1292" b="0" i="1" dirty="0"/>
            </a:br>
            <a:r>
              <a:rPr lang="de-DE" sz="1292" b="0" i="1" dirty="0"/>
              <a:t>1. Unternehmenspolitik und Corporate </a:t>
            </a:r>
            <a:r>
              <a:rPr lang="de-DE" sz="1292" b="0" i="1" dirty="0" err="1"/>
              <a:t>Governance</a:t>
            </a:r>
            <a:r>
              <a:rPr lang="de-DE" sz="1292" b="0" i="1" dirty="0"/>
              <a:t>: Wie Organisationen sich selbst organisieren </a:t>
            </a:r>
            <a:br>
              <a:rPr lang="de-DE" sz="1292" b="0" i="1" dirty="0"/>
            </a:br>
            <a:r>
              <a:rPr lang="de-DE" sz="1292" b="0" i="1" dirty="0"/>
              <a:t>2. Strategie – Navigieren in der Komplexität der Neuen Welt </a:t>
            </a:r>
            <a:br>
              <a:rPr lang="de-DE" sz="1292" b="0" i="1" dirty="0"/>
            </a:br>
            <a:r>
              <a:rPr lang="de-DE" sz="1292" b="0" i="1" dirty="0"/>
              <a:t>Navigieren in Zeiten des Umbruchs</a:t>
            </a:r>
            <a:br>
              <a:rPr lang="de-DE" sz="1292" b="0" i="1" dirty="0"/>
            </a:br>
            <a:r>
              <a:rPr lang="de-DE" b="0" i="1" dirty="0" smtClean="0">
                <a:latin typeface="Arial" panose="020B0604020202020204" pitchFamily="34" charset="0"/>
                <a:cs typeface="Arial" panose="020B0604020202020204" pitchFamily="34" charset="0"/>
              </a:rPr>
              <a:t/>
            </a:r>
            <a:br>
              <a:rPr lang="de-DE" b="0" i="1" dirty="0" smtClean="0">
                <a:latin typeface="Arial" panose="020B0604020202020204" pitchFamily="34" charset="0"/>
                <a:cs typeface="Arial" panose="020B0604020202020204" pitchFamily="34" charset="0"/>
              </a:rPr>
            </a:br>
            <a:r>
              <a:rPr lang="de-DE" b="0" dirty="0" smtClean="0">
                <a:latin typeface="Arial" panose="020B0604020202020204" pitchFamily="34" charset="0"/>
                <a:cs typeface="Arial" panose="020B0604020202020204" pitchFamily="34" charset="0"/>
              </a:rPr>
              <a:t/>
            </a:r>
            <a:br>
              <a:rPr lang="de-DE" b="0" dirty="0" smtClean="0">
                <a:latin typeface="Arial" panose="020B0604020202020204" pitchFamily="34" charset="0"/>
                <a:cs typeface="Arial" panose="020B0604020202020204" pitchFamily="34" charset="0"/>
              </a:rPr>
            </a:br>
            <a:r>
              <a:rPr lang="de-DE" b="0" dirty="0" smtClean="0">
                <a:latin typeface="Arial" panose="020B0604020202020204" pitchFamily="34" charset="0"/>
                <a:cs typeface="Arial" panose="020B0604020202020204" pitchFamily="34" charset="0"/>
              </a:rPr>
              <a:t/>
            </a:r>
            <a:br>
              <a:rPr lang="de-DE" b="0" dirty="0" smtClean="0">
                <a:latin typeface="Arial" panose="020B0604020202020204" pitchFamily="34" charset="0"/>
                <a:cs typeface="Arial" panose="020B0604020202020204" pitchFamily="34" charset="0"/>
              </a:rPr>
            </a:br>
            <a:r>
              <a:rPr lang="de-DE" b="0" dirty="0" smtClean="0">
                <a:latin typeface="Arial" panose="020B0604020202020204" pitchFamily="34" charset="0"/>
                <a:cs typeface="Arial" panose="020B0604020202020204" pitchFamily="34" charset="0"/>
              </a:rPr>
              <a:t/>
            </a:r>
            <a:br>
              <a:rPr lang="de-DE" b="0" dirty="0" smtClean="0">
                <a:latin typeface="Arial" panose="020B0604020202020204" pitchFamily="34" charset="0"/>
                <a:cs typeface="Arial" panose="020B0604020202020204" pitchFamily="34" charset="0"/>
              </a:rPr>
            </a:br>
            <a:r>
              <a:rPr lang="de-DE" b="0" dirty="0" smtClean="0">
                <a:latin typeface="Arial" panose="020B0604020202020204" pitchFamily="34" charset="0"/>
                <a:cs typeface="Arial" panose="020B0604020202020204" pitchFamily="34" charset="0"/>
              </a:rPr>
              <a:t/>
            </a:r>
            <a:br>
              <a:rPr lang="de-DE" b="0" dirty="0" smtClean="0">
                <a:latin typeface="Arial" panose="020B0604020202020204" pitchFamily="34" charset="0"/>
                <a:cs typeface="Arial" panose="020B0604020202020204" pitchFamily="34" charset="0"/>
              </a:rPr>
            </a:br>
            <a:r>
              <a:rPr lang="de-DE" b="0" dirty="0" smtClean="0">
                <a:latin typeface="Arial" panose="020B0604020202020204" pitchFamily="34" charset="0"/>
                <a:cs typeface="Arial" panose="020B0604020202020204" pitchFamily="34" charset="0"/>
              </a:rPr>
              <a:t/>
            </a:r>
            <a:br>
              <a:rPr lang="de-DE" b="0" dirty="0" smtClean="0">
                <a:latin typeface="Arial" panose="020B0604020202020204" pitchFamily="34" charset="0"/>
                <a:cs typeface="Arial" panose="020B0604020202020204" pitchFamily="34" charset="0"/>
              </a:rPr>
            </a:br>
            <a:r>
              <a:rPr lang="de-DE" sz="2585" b="0" dirty="0"/>
              <a:t/>
            </a:r>
            <a:br>
              <a:rPr lang="de-DE" sz="2585" b="0" dirty="0"/>
            </a:br>
            <a:r>
              <a:rPr lang="de-DE" sz="2954" b="0" dirty="0"/>
              <a:t/>
            </a:r>
            <a:br>
              <a:rPr lang="de-DE" sz="2954" b="0" dirty="0"/>
            </a:br>
            <a:r>
              <a:rPr lang="de-DE" sz="1292" b="0" dirty="0"/>
              <a:t/>
            </a:r>
            <a:br>
              <a:rPr lang="de-DE" sz="1292" b="0" dirty="0"/>
            </a:br>
            <a:endParaRPr lang="de-DE" sz="1015" b="0" dirty="0"/>
          </a:p>
        </p:txBody>
      </p:sp>
    </p:spTree>
    <p:extLst>
      <p:ext uri="{BB962C8B-B14F-4D97-AF65-F5344CB8AC3E}">
        <p14:creationId xmlns:p14="http://schemas.microsoft.com/office/powerpoint/2010/main" val="3950742845"/>
      </p:ext>
    </p:extLst>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el 1"/>
          <p:cNvSpPr>
            <a:spLocks noGrp="1"/>
          </p:cNvSpPr>
          <p:nvPr>
            <p:ph type="title"/>
          </p:nvPr>
        </p:nvSpPr>
        <p:spPr>
          <a:xfrm>
            <a:off x="964223" y="884998"/>
            <a:ext cx="7977554" cy="882288"/>
          </a:xfrm>
        </p:spPr>
        <p:txBody>
          <a:bodyPr/>
          <a:lstStyle/>
          <a:p>
            <a:r>
              <a:rPr lang="de-DE" sz="1477" dirty="0"/>
              <a:t>Die </a:t>
            </a:r>
            <a:r>
              <a:rPr lang="de-DE" sz="1477" dirty="0" err="1"/>
              <a:t>Grosse</a:t>
            </a:r>
            <a:r>
              <a:rPr lang="de-DE" sz="1477" dirty="0"/>
              <a:t> Transformation21.  Das Grundgesetz des Wandels </a:t>
            </a:r>
            <a:br>
              <a:rPr lang="de-DE" sz="1477" dirty="0"/>
            </a:br>
            <a:r>
              <a:rPr lang="de-DE" sz="1477" dirty="0"/>
              <a:t>Von der Alten Welt, die wir kennen, zu einer Neuen Welt</a:t>
            </a:r>
            <a:br>
              <a:rPr lang="de-DE" sz="1477" dirty="0"/>
            </a:br>
            <a:r>
              <a:rPr lang="de-DE" sz="1477" dirty="0"/>
              <a:t>die wir noch nicht kennen. Das Bild des Wandels durch Substitution.</a:t>
            </a:r>
            <a:r>
              <a:rPr lang="de-DE" dirty="0" smtClean="0"/>
              <a:t/>
            </a:r>
            <a:br>
              <a:rPr lang="de-DE" dirty="0" smtClean="0"/>
            </a:br>
            <a:endParaRPr lang="de-DE" dirty="0"/>
          </a:p>
        </p:txBody>
      </p:sp>
      <p:cxnSp>
        <p:nvCxnSpPr>
          <p:cNvPr id="92" name="Gerade Verbindung mit Pfeil 8"/>
          <p:cNvCxnSpPr>
            <a:cxnSpLocks noChangeShapeType="1"/>
          </p:cNvCxnSpPr>
          <p:nvPr/>
        </p:nvCxnSpPr>
        <p:spPr bwMode="auto">
          <a:xfrm flipV="1">
            <a:off x="1904409" y="5775174"/>
            <a:ext cx="5666387" cy="6"/>
          </a:xfrm>
          <a:prstGeom prst="straightConnector1">
            <a:avLst/>
          </a:prstGeom>
          <a:noFill/>
          <a:ln w="12700" cap="rnd" algn="ctr">
            <a:solidFill>
              <a:schemeClr val="tx1"/>
            </a:solidFill>
            <a:round/>
            <a:headEnd/>
            <a:tailEnd type="triangle" w="med" len="med"/>
          </a:ln>
        </p:spPr>
      </p:cxnSp>
      <p:sp>
        <p:nvSpPr>
          <p:cNvPr id="93" name="Textfeld 53"/>
          <p:cNvSpPr txBox="1">
            <a:spLocks noChangeArrowheads="1"/>
          </p:cNvSpPr>
          <p:nvPr/>
        </p:nvSpPr>
        <p:spPr bwMode="auto">
          <a:xfrm>
            <a:off x="6201643" y="2060579"/>
            <a:ext cx="1634182" cy="511240"/>
          </a:xfrm>
          <a:prstGeom prst="rect">
            <a:avLst/>
          </a:prstGeom>
          <a:noFill/>
          <a:ln w="9525">
            <a:noFill/>
            <a:miter lim="800000"/>
            <a:headEnd/>
            <a:tailEnd/>
          </a:ln>
        </p:spPr>
        <p:txBody>
          <a:bodyPr wrap="none" lIns="84146" tIns="42074" rIns="84146" bIns="42074">
            <a:spAutoFit/>
          </a:bodyPr>
          <a:lstStyle/>
          <a:p>
            <a:pPr defTabSz="844083" eaLnBrk="1" hangingPunct="1">
              <a:spcAft>
                <a:spcPct val="0"/>
              </a:spcAft>
              <a:defRPr/>
            </a:pPr>
            <a:r>
              <a:rPr lang="de-DE" sz="1385" dirty="0">
                <a:solidFill>
                  <a:srgbClr val="009E47"/>
                </a:solidFill>
                <a:latin typeface="Calibri" panose="020F0502020204030204" pitchFamily="34" charset="0"/>
                <a:cs typeface="Arial" charset="0"/>
              </a:rPr>
              <a:t>Grundlagen der </a:t>
            </a:r>
          </a:p>
          <a:p>
            <a:pPr defTabSz="844083" eaLnBrk="1" hangingPunct="1">
              <a:spcAft>
                <a:spcPct val="0"/>
              </a:spcAft>
              <a:defRPr/>
            </a:pPr>
            <a:r>
              <a:rPr lang="de-DE" sz="1385" dirty="0">
                <a:solidFill>
                  <a:srgbClr val="009E47"/>
                </a:solidFill>
                <a:latin typeface="Calibri" panose="020F0502020204030204" pitchFamily="34" charset="0"/>
                <a:cs typeface="Arial" charset="0"/>
              </a:rPr>
              <a:t>zukünftigen Existenz</a:t>
            </a:r>
          </a:p>
        </p:txBody>
      </p:sp>
      <p:sp>
        <p:nvSpPr>
          <p:cNvPr id="94" name="Textfeld 54"/>
          <p:cNvSpPr txBox="1">
            <a:spLocks noChangeArrowheads="1"/>
          </p:cNvSpPr>
          <p:nvPr/>
        </p:nvSpPr>
        <p:spPr bwMode="auto">
          <a:xfrm>
            <a:off x="6065480" y="3538681"/>
            <a:ext cx="1855974" cy="511240"/>
          </a:xfrm>
          <a:prstGeom prst="rect">
            <a:avLst/>
          </a:prstGeom>
          <a:noFill/>
          <a:ln w="9525">
            <a:noFill/>
            <a:miter lim="800000"/>
            <a:headEnd/>
            <a:tailEnd/>
          </a:ln>
        </p:spPr>
        <p:txBody>
          <a:bodyPr wrap="none" lIns="84146" tIns="42074" rIns="84146" bIns="42074">
            <a:spAutoFit/>
          </a:bodyPr>
          <a:lstStyle>
            <a:defPPr>
              <a:defRPr lang="de-DE"/>
            </a:defPPr>
            <a:lvl1pPr>
              <a:spcAft>
                <a:spcPct val="0"/>
              </a:spcAft>
              <a:defRPr sz="1500">
                <a:solidFill>
                  <a:srgbClr val="E20000"/>
                </a:solidFill>
              </a:defRPr>
            </a:lvl1pPr>
          </a:lstStyle>
          <a:p>
            <a:pPr defTabSz="844083" eaLnBrk="1" hangingPunct="1">
              <a:defRPr/>
            </a:pPr>
            <a:r>
              <a:rPr lang="de-DE" sz="1385" dirty="0">
                <a:latin typeface="Calibri" panose="020F0502020204030204" pitchFamily="34" charset="0"/>
                <a:cs typeface="Arial" charset="0"/>
              </a:rPr>
              <a:t>Grundlagen der </a:t>
            </a:r>
          </a:p>
          <a:p>
            <a:pPr defTabSz="844083" eaLnBrk="1" hangingPunct="1">
              <a:defRPr/>
            </a:pPr>
            <a:r>
              <a:rPr lang="de-DE" sz="1385" dirty="0">
                <a:latin typeface="Calibri" panose="020F0502020204030204" pitchFamily="34" charset="0"/>
                <a:cs typeface="Arial" charset="0"/>
              </a:rPr>
              <a:t>gegenwärtigen Existenz</a:t>
            </a:r>
          </a:p>
        </p:txBody>
      </p:sp>
      <p:sp>
        <p:nvSpPr>
          <p:cNvPr id="95" name="Textfeld 57"/>
          <p:cNvSpPr txBox="1">
            <a:spLocks noChangeArrowheads="1"/>
          </p:cNvSpPr>
          <p:nvPr/>
        </p:nvSpPr>
        <p:spPr bwMode="auto">
          <a:xfrm rot="16200000">
            <a:off x="35484" y="3696631"/>
            <a:ext cx="3423830" cy="298105"/>
          </a:xfrm>
          <a:prstGeom prst="rect">
            <a:avLst/>
          </a:prstGeom>
          <a:noFill/>
          <a:ln w="9525">
            <a:noFill/>
            <a:miter lim="800000"/>
            <a:headEnd/>
            <a:tailEnd/>
          </a:ln>
        </p:spPr>
        <p:txBody>
          <a:bodyPr wrap="none" lIns="0" tIns="42074" rIns="84146" bIns="42074">
            <a:spAutoFit/>
          </a:bodyPr>
          <a:lstStyle/>
          <a:p>
            <a:pPr defTabSz="844083" eaLnBrk="1" hangingPunct="1">
              <a:spcAft>
                <a:spcPct val="0"/>
              </a:spcAft>
              <a:defRPr/>
            </a:pPr>
            <a:r>
              <a:rPr lang="de-DE" sz="1385" dirty="0">
                <a:solidFill>
                  <a:srgbClr val="000000"/>
                </a:solidFill>
                <a:latin typeface="Calibri" panose="020F0502020204030204" pitchFamily="34" charset="0"/>
                <a:cs typeface="Arial" charset="0"/>
              </a:rPr>
              <a:t>Entwicklungsverläufe wichtiger Systemaspekte</a:t>
            </a:r>
          </a:p>
        </p:txBody>
      </p:sp>
      <p:sp>
        <p:nvSpPr>
          <p:cNvPr id="96" name="Textfeld 58"/>
          <p:cNvSpPr txBox="1">
            <a:spLocks noChangeArrowheads="1"/>
          </p:cNvSpPr>
          <p:nvPr/>
        </p:nvSpPr>
        <p:spPr bwMode="auto">
          <a:xfrm>
            <a:off x="2273865" y="5755283"/>
            <a:ext cx="1211887" cy="298105"/>
          </a:xfrm>
          <a:prstGeom prst="rect">
            <a:avLst/>
          </a:prstGeom>
          <a:noFill/>
          <a:ln w="9525">
            <a:noFill/>
            <a:miter lim="800000"/>
            <a:headEnd/>
            <a:tailEnd/>
          </a:ln>
        </p:spPr>
        <p:txBody>
          <a:bodyPr wrap="none" lIns="84146" tIns="42074" rIns="84146" bIns="42074">
            <a:spAutoFit/>
          </a:bodyPr>
          <a:lstStyle/>
          <a:p>
            <a:pPr defTabSz="844083" eaLnBrk="1" hangingPunct="1">
              <a:spcAft>
                <a:spcPct val="0"/>
              </a:spcAft>
              <a:defRPr/>
            </a:pPr>
            <a:r>
              <a:rPr lang="de-DE" sz="1385" dirty="0">
                <a:solidFill>
                  <a:srgbClr val="000000"/>
                </a:solidFill>
                <a:latin typeface="Calibri" panose="020F0502020204030204" pitchFamily="34" charset="0"/>
                <a:cs typeface="Arial" charset="0"/>
              </a:rPr>
              <a:t>Vergangenheit</a:t>
            </a:r>
          </a:p>
        </p:txBody>
      </p:sp>
      <p:sp>
        <p:nvSpPr>
          <p:cNvPr id="97" name="Textfeld 59"/>
          <p:cNvSpPr txBox="1">
            <a:spLocks noChangeArrowheads="1"/>
          </p:cNvSpPr>
          <p:nvPr/>
        </p:nvSpPr>
        <p:spPr bwMode="auto">
          <a:xfrm>
            <a:off x="3865152" y="6022033"/>
            <a:ext cx="607235" cy="298105"/>
          </a:xfrm>
          <a:prstGeom prst="rect">
            <a:avLst/>
          </a:prstGeom>
          <a:noFill/>
          <a:ln w="9525">
            <a:noFill/>
            <a:miter lim="800000"/>
            <a:headEnd/>
            <a:tailEnd/>
          </a:ln>
        </p:spPr>
        <p:txBody>
          <a:bodyPr wrap="none" lIns="84146" tIns="42074" rIns="84146" bIns="42074">
            <a:spAutoFit/>
          </a:bodyPr>
          <a:lstStyle/>
          <a:p>
            <a:pPr defTabSz="844083" eaLnBrk="1" hangingPunct="1">
              <a:spcAft>
                <a:spcPct val="0"/>
              </a:spcAft>
              <a:defRPr/>
            </a:pPr>
            <a:r>
              <a:rPr lang="de-DE" sz="1385" dirty="0">
                <a:solidFill>
                  <a:srgbClr val="000000"/>
                </a:solidFill>
                <a:latin typeface="Calibri" panose="020F0502020204030204" pitchFamily="34" charset="0"/>
                <a:cs typeface="Arial" charset="0"/>
              </a:rPr>
              <a:t>Heute</a:t>
            </a:r>
          </a:p>
        </p:txBody>
      </p:sp>
      <p:sp>
        <p:nvSpPr>
          <p:cNvPr id="98" name="Textfeld 60"/>
          <p:cNvSpPr txBox="1">
            <a:spLocks noChangeArrowheads="1"/>
          </p:cNvSpPr>
          <p:nvPr/>
        </p:nvSpPr>
        <p:spPr bwMode="auto">
          <a:xfrm>
            <a:off x="4764363" y="5755283"/>
            <a:ext cx="722907" cy="298105"/>
          </a:xfrm>
          <a:prstGeom prst="rect">
            <a:avLst/>
          </a:prstGeom>
          <a:noFill/>
          <a:ln w="9525">
            <a:noFill/>
            <a:miter lim="800000"/>
            <a:headEnd/>
            <a:tailEnd/>
          </a:ln>
        </p:spPr>
        <p:txBody>
          <a:bodyPr wrap="none" lIns="84146" tIns="42074" rIns="84146" bIns="42074">
            <a:spAutoFit/>
          </a:bodyPr>
          <a:lstStyle/>
          <a:p>
            <a:pPr defTabSz="844083" eaLnBrk="1" hangingPunct="1">
              <a:spcAft>
                <a:spcPct val="0"/>
              </a:spcAft>
              <a:defRPr/>
            </a:pPr>
            <a:r>
              <a:rPr lang="de-DE" sz="1385" dirty="0">
                <a:solidFill>
                  <a:srgbClr val="000000"/>
                </a:solidFill>
                <a:latin typeface="Calibri" panose="020F0502020204030204" pitchFamily="34" charset="0"/>
                <a:cs typeface="Arial" charset="0"/>
              </a:rPr>
              <a:t>Zukunft</a:t>
            </a:r>
          </a:p>
        </p:txBody>
      </p:sp>
      <p:cxnSp>
        <p:nvCxnSpPr>
          <p:cNvPr id="99" name="Gerade Verbindung mit Pfeil 117"/>
          <p:cNvCxnSpPr>
            <a:cxnSpLocks noChangeShapeType="1"/>
          </p:cNvCxnSpPr>
          <p:nvPr/>
        </p:nvCxnSpPr>
        <p:spPr bwMode="auto">
          <a:xfrm>
            <a:off x="4238542" y="5904305"/>
            <a:ext cx="517874" cy="0"/>
          </a:xfrm>
          <a:prstGeom prst="straightConnector1">
            <a:avLst/>
          </a:prstGeom>
          <a:noFill/>
          <a:ln w="9525" algn="ctr">
            <a:solidFill>
              <a:schemeClr val="tx1"/>
            </a:solidFill>
            <a:round/>
            <a:headEnd/>
            <a:tailEnd type="triangle" w="med" len="med"/>
          </a:ln>
        </p:spPr>
      </p:cxnSp>
      <p:cxnSp>
        <p:nvCxnSpPr>
          <p:cNvPr id="100" name="Gerade Verbindung mit Pfeil 118"/>
          <p:cNvCxnSpPr>
            <a:cxnSpLocks noChangeShapeType="1"/>
          </p:cNvCxnSpPr>
          <p:nvPr/>
        </p:nvCxnSpPr>
        <p:spPr bwMode="auto">
          <a:xfrm flipH="1">
            <a:off x="3581943" y="5904305"/>
            <a:ext cx="517874" cy="0"/>
          </a:xfrm>
          <a:prstGeom prst="straightConnector1">
            <a:avLst/>
          </a:prstGeom>
          <a:noFill/>
          <a:ln w="9525" algn="ctr">
            <a:solidFill>
              <a:schemeClr val="tx1"/>
            </a:solidFill>
            <a:round/>
            <a:headEnd/>
            <a:tailEnd type="triangle" w="med" len="med"/>
          </a:ln>
        </p:spPr>
      </p:cxnSp>
      <p:sp>
        <p:nvSpPr>
          <p:cNvPr id="101" name="Freihandform 54"/>
          <p:cNvSpPr>
            <a:spLocks/>
          </p:cNvSpPr>
          <p:nvPr/>
        </p:nvSpPr>
        <p:spPr bwMode="auto">
          <a:xfrm rot="21396569">
            <a:off x="3201916" y="3673408"/>
            <a:ext cx="1865141" cy="1423204"/>
          </a:xfrm>
          <a:custGeom>
            <a:avLst/>
            <a:gdLst>
              <a:gd name="T0" fmla="*/ 4815 w 1944304"/>
              <a:gd name="T1" fmla="*/ 1019810 h 1090863"/>
              <a:gd name="T2" fmla="*/ 678849 w 1944304"/>
              <a:gd name="T3" fmla="*/ 452179 h 1090863"/>
              <a:gd name="T4" fmla="*/ 1131416 w 1944304"/>
              <a:gd name="T5" fmla="*/ 240521 h 1090863"/>
              <a:gd name="T6" fmla="*/ 1901742 w 1944304"/>
              <a:gd name="T7" fmla="*/ 48104 h 1090863"/>
              <a:gd name="T8" fmla="*/ 1391401 w 1944304"/>
              <a:gd name="T9" fmla="*/ 529147 h 1090863"/>
              <a:gd name="T10" fmla="*/ 707737 w 1944304"/>
              <a:gd name="T11" fmla="*/ 875497 h 1090863"/>
              <a:gd name="T12" fmla="*/ 4815 w 1944304"/>
              <a:gd name="T13" fmla="*/ 1019810 h 1090863"/>
              <a:gd name="T14" fmla="*/ 0 60000 65536"/>
              <a:gd name="T15" fmla="*/ 0 60000 65536"/>
              <a:gd name="T16" fmla="*/ 0 60000 65536"/>
              <a:gd name="T17" fmla="*/ 0 60000 65536"/>
              <a:gd name="T18" fmla="*/ 0 60000 65536"/>
              <a:gd name="T19" fmla="*/ 0 60000 65536"/>
              <a:gd name="T20" fmla="*/ 0 60000 65536"/>
              <a:gd name="connsiteX0" fmla="*/ 39 w 1842839"/>
              <a:gd name="connsiteY0" fmla="*/ 959272 h 981220"/>
              <a:gd name="connsiteX1" fmla="*/ 616799 w 1842839"/>
              <a:gd name="connsiteY1" fmla="*/ 412589 h 981220"/>
              <a:gd name="connsiteX2" fmla="*/ 1069187 w 1842839"/>
              <a:gd name="connsiteY2" fmla="*/ 200833 h 981220"/>
              <a:gd name="connsiteX3" fmla="*/ 1839208 w 1842839"/>
              <a:gd name="connsiteY3" fmla="*/ 8328 h 981220"/>
              <a:gd name="connsiteX4" fmla="*/ 1329069 w 1842839"/>
              <a:gd name="connsiteY4" fmla="*/ 489591 h 981220"/>
              <a:gd name="connsiteX5" fmla="*/ 645675 w 1842839"/>
              <a:gd name="connsiteY5" fmla="*/ 836101 h 981220"/>
              <a:gd name="connsiteX6" fmla="*/ 39 w 1842839"/>
              <a:gd name="connsiteY6" fmla="*/ 959272 h 981220"/>
              <a:gd name="connsiteX0" fmla="*/ 463 w 1843263"/>
              <a:gd name="connsiteY0" fmla="*/ 959272 h 981747"/>
              <a:gd name="connsiteX1" fmla="*/ 617223 w 1843263"/>
              <a:gd name="connsiteY1" fmla="*/ 412589 h 981747"/>
              <a:gd name="connsiteX2" fmla="*/ 1069611 w 1843263"/>
              <a:gd name="connsiteY2" fmla="*/ 200833 h 981747"/>
              <a:gd name="connsiteX3" fmla="*/ 1839632 w 1843263"/>
              <a:gd name="connsiteY3" fmla="*/ 8328 h 981747"/>
              <a:gd name="connsiteX4" fmla="*/ 1329493 w 1843263"/>
              <a:gd name="connsiteY4" fmla="*/ 489591 h 981747"/>
              <a:gd name="connsiteX5" fmla="*/ 719223 w 1843263"/>
              <a:gd name="connsiteY5" fmla="*/ 838859 h 981747"/>
              <a:gd name="connsiteX6" fmla="*/ 463 w 1843263"/>
              <a:gd name="connsiteY6" fmla="*/ 959272 h 981747"/>
              <a:gd name="connsiteX0" fmla="*/ 55759 w 1898559"/>
              <a:gd name="connsiteY0" fmla="*/ 959272 h 960290"/>
              <a:gd name="connsiteX1" fmla="*/ 672519 w 1898559"/>
              <a:gd name="connsiteY1" fmla="*/ 412589 h 960290"/>
              <a:gd name="connsiteX2" fmla="*/ 1124907 w 1898559"/>
              <a:gd name="connsiteY2" fmla="*/ 200833 h 960290"/>
              <a:gd name="connsiteX3" fmla="*/ 1894928 w 1898559"/>
              <a:gd name="connsiteY3" fmla="*/ 8328 h 960290"/>
              <a:gd name="connsiteX4" fmla="*/ 1384789 w 1898559"/>
              <a:gd name="connsiteY4" fmla="*/ 489591 h 960290"/>
              <a:gd name="connsiteX5" fmla="*/ 774519 w 1898559"/>
              <a:gd name="connsiteY5" fmla="*/ 838859 h 960290"/>
              <a:gd name="connsiteX6" fmla="*/ 55759 w 1898559"/>
              <a:gd name="connsiteY6" fmla="*/ 959272 h 960290"/>
              <a:gd name="connsiteX0" fmla="*/ 55759 w 1898559"/>
              <a:gd name="connsiteY0" fmla="*/ 959272 h 960290"/>
              <a:gd name="connsiteX1" fmla="*/ 672519 w 1898559"/>
              <a:gd name="connsiteY1" fmla="*/ 412589 h 960290"/>
              <a:gd name="connsiteX2" fmla="*/ 1124907 w 1898559"/>
              <a:gd name="connsiteY2" fmla="*/ 200833 h 960290"/>
              <a:gd name="connsiteX3" fmla="*/ 1894928 w 1898559"/>
              <a:gd name="connsiteY3" fmla="*/ 8328 h 960290"/>
              <a:gd name="connsiteX4" fmla="*/ 1384789 w 1898559"/>
              <a:gd name="connsiteY4" fmla="*/ 489591 h 960290"/>
              <a:gd name="connsiteX5" fmla="*/ 774519 w 1898559"/>
              <a:gd name="connsiteY5" fmla="*/ 838859 h 960290"/>
              <a:gd name="connsiteX6" fmla="*/ 55759 w 1898559"/>
              <a:gd name="connsiteY6" fmla="*/ 959272 h 960290"/>
              <a:gd name="connsiteX0" fmla="*/ 0 w 1842800"/>
              <a:gd name="connsiteY0" fmla="*/ 959272 h 959272"/>
              <a:gd name="connsiteX1" fmla="*/ 616760 w 1842800"/>
              <a:gd name="connsiteY1" fmla="*/ 412589 h 959272"/>
              <a:gd name="connsiteX2" fmla="*/ 1069148 w 1842800"/>
              <a:gd name="connsiteY2" fmla="*/ 200833 h 959272"/>
              <a:gd name="connsiteX3" fmla="*/ 1839169 w 1842800"/>
              <a:gd name="connsiteY3" fmla="*/ 8328 h 959272"/>
              <a:gd name="connsiteX4" fmla="*/ 1329030 w 1842800"/>
              <a:gd name="connsiteY4" fmla="*/ 489591 h 959272"/>
              <a:gd name="connsiteX5" fmla="*/ 718760 w 1842800"/>
              <a:gd name="connsiteY5" fmla="*/ 838859 h 959272"/>
              <a:gd name="connsiteX6" fmla="*/ 0 w 1842800"/>
              <a:gd name="connsiteY6" fmla="*/ 959272 h 959272"/>
              <a:gd name="connsiteX0" fmla="*/ 0 w 1842800"/>
              <a:gd name="connsiteY0" fmla="*/ 959272 h 959272"/>
              <a:gd name="connsiteX1" fmla="*/ 616760 w 1842800"/>
              <a:gd name="connsiteY1" fmla="*/ 412589 h 959272"/>
              <a:gd name="connsiteX2" fmla="*/ 1069148 w 1842800"/>
              <a:gd name="connsiteY2" fmla="*/ 200833 h 959272"/>
              <a:gd name="connsiteX3" fmla="*/ 1839169 w 1842800"/>
              <a:gd name="connsiteY3" fmla="*/ 8328 h 959272"/>
              <a:gd name="connsiteX4" fmla="*/ 1329030 w 1842800"/>
              <a:gd name="connsiteY4" fmla="*/ 489591 h 959272"/>
              <a:gd name="connsiteX5" fmla="*/ 718760 w 1842800"/>
              <a:gd name="connsiteY5" fmla="*/ 838859 h 959272"/>
              <a:gd name="connsiteX6" fmla="*/ 0 w 1842800"/>
              <a:gd name="connsiteY6" fmla="*/ 959272 h 959272"/>
              <a:gd name="connsiteX0" fmla="*/ 0 w 1839169"/>
              <a:gd name="connsiteY0" fmla="*/ 959272 h 959272"/>
              <a:gd name="connsiteX1" fmla="*/ 616760 w 1839169"/>
              <a:gd name="connsiteY1" fmla="*/ 412589 h 959272"/>
              <a:gd name="connsiteX2" fmla="*/ 1069148 w 1839169"/>
              <a:gd name="connsiteY2" fmla="*/ 200833 h 959272"/>
              <a:gd name="connsiteX3" fmla="*/ 1839169 w 1839169"/>
              <a:gd name="connsiteY3" fmla="*/ 8328 h 959272"/>
              <a:gd name="connsiteX4" fmla="*/ 1329030 w 1839169"/>
              <a:gd name="connsiteY4" fmla="*/ 489591 h 959272"/>
              <a:gd name="connsiteX5" fmla="*/ 718760 w 1839169"/>
              <a:gd name="connsiteY5" fmla="*/ 838859 h 959272"/>
              <a:gd name="connsiteX6" fmla="*/ 0 w 1839169"/>
              <a:gd name="connsiteY6" fmla="*/ 959272 h 959272"/>
              <a:gd name="connsiteX0" fmla="*/ 0 w 1839169"/>
              <a:gd name="connsiteY0" fmla="*/ 950944 h 950944"/>
              <a:gd name="connsiteX1" fmla="*/ 616760 w 1839169"/>
              <a:gd name="connsiteY1" fmla="*/ 404261 h 950944"/>
              <a:gd name="connsiteX2" fmla="*/ 1069148 w 1839169"/>
              <a:gd name="connsiteY2" fmla="*/ 192505 h 950944"/>
              <a:gd name="connsiteX3" fmla="*/ 1839169 w 1839169"/>
              <a:gd name="connsiteY3" fmla="*/ 0 h 950944"/>
              <a:gd name="connsiteX4" fmla="*/ 1329030 w 1839169"/>
              <a:gd name="connsiteY4" fmla="*/ 481263 h 950944"/>
              <a:gd name="connsiteX5" fmla="*/ 718760 w 1839169"/>
              <a:gd name="connsiteY5" fmla="*/ 830531 h 950944"/>
              <a:gd name="connsiteX6" fmla="*/ 0 w 1839169"/>
              <a:gd name="connsiteY6" fmla="*/ 950944 h 950944"/>
              <a:gd name="connsiteX0" fmla="*/ 0 w 1839169"/>
              <a:gd name="connsiteY0" fmla="*/ 950944 h 950944"/>
              <a:gd name="connsiteX1" fmla="*/ 603513 w 1839169"/>
              <a:gd name="connsiteY1" fmla="*/ 387093 h 950944"/>
              <a:gd name="connsiteX2" fmla="*/ 1069148 w 1839169"/>
              <a:gd name="connsiteY2" fmla="*/ 192505 h 950944"/>
              <a:gd name="connsiteX3" fmla="*/ 1839169 w 1839169"/>
              <a:gd name="connsiteY3" fmla="*/ 0 h 950944"/>
              <a:gd name="connsiteX4" fmla="*/ 1329030 w 1839169"/>
              <a:gd name="connsiteY4" fmla="*/ 481263 h 950944"/>
              <a:gd name="connsiteX5" fmla="*/ 718760 w 1839169"/>
              <a:gd name="connsiteY5" fmla="*/ 830531 h 950944"/>
              <a:gd name="connsiteX6" fmla="*/ 0 w 1839169"/>
              <a:gd name="connsiteY6" fmla="*/ 950944 h 950944"/>
              <a:gd name="connsiteX0" fmla="*/ 0 w 1839169"/>
              <a:gd name="connsiteY0" fmla="*/ 950944 h 950944"/>
              <a:gd name="connsiteX1" fmla="*/ 603513 w 1839169"/>
              <a:gd name="connsiteY1" fmla="*/ 387093 h 950944"/>
              <a:gd name="connsiteX2" fmla="*/ 1118464 w 1839169"/>
              <a:gd name="connsiteY2" fmla="*/ 134591 h 950944"/>
              <a:gd name="connsiteX3" fmla="*/ 1839169 w 1839169"/>
              <a:gd name="connsiteY3" fmla="*/ 0 h 950944"/>
              <a:gd name="connsiteX4" fmla="*/ 1329030 w 1839169"/>
              <a:gd name="connsiteY4" fmla="*/ 481263 h 950944"/>
              <a:gd name="connsiteX5" fmla="*/ 718760 w 1839169"/>
              <a:gd name="connsiteY5" fmla="*/ 830531 h 950944"/>
              <a:gd name="connsiteX6" fmla="*/ 0 w 1839169"/>
              <a:gd name="connsiteY6" fmla="*/ 950944 h 950944"/>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329030 w 1889323"/>
              <a:gd name="connsiteY4" fmla="*/ 492562 h 962243"/>
              <a:gd name="connsiteX5" fmla="*/ 718760 w 1889323"/>
              <a:gd name="connsiteY5" fmla="*/ 841830 h 962243"/>
              <a:gd name="connsiteX6" fmla="*/ 0 w 1889323"/>
              <a:gd name="connsiteY6" fmla="*/ 962243 h 962243"/>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329030 w 1889323"/>
              <a:gd name="connsiteY4" fmla="*/ 492562 h 962243"/>
              <a:gd name="connsiteX5" fmla="*/ 718760 w 1889323"/>
              <a:gd name="connsiteY5" fmla="*/ 841830 h 962243"/>
              <a:gd name="connsiteX6" fmla="*/ 0 w 1889323"/>
              <a:gd name="connsiteY6" fmla="*/ 962243 h 962243"/>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406546 w 1889323"/>
              <a:gd name="connsiteY4" fmla="*/ 505652 h 962243"/>
              <a:gd name="connsiteX5" fmla="*/ 718760 w 1889323"/>
              <a:gd name="connsiteY5" fmla="*/ 841830 h 962243"/>
              <a:gd name="connsiteX6" fmla="*/ 0 w 1889323"/>
              <a:gd name="connsiteY6" fmla="*/ 962243 h 962243"/>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406546 w 1889323"/>
              <a:gd name="connsiteY4" fmla="*/ 505652 h 962243"/>
              <a:gd name="connsiteX5" fmla="*/ 721918 w 1889323"/>
              <a:gd name="connsiteY5" fmla="*/ 861921 h 962243"/>
              <a:gd name="connsiteX6" fmla="*/ 0 w 1889323"/>
              <a:gd name="connsiteY6" fmla="*/ 962243 h 962243"/>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27883 w 1910660"/>
              <a:gd name="connsiteY4" fmla="*/ 505652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27883 w 1910660"/>
              <a:gd name="connsiteY4" fmla="*/ 505652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27883 w 1910660"/>
              <a:gd name="connsiteY4" fmla="*/ 505652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34283 w 1910660"/>
              <a:gd name="connsiteY4" fmla="*/ 518666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34283 w 1910660"/>
              <a:gd name="connsiteY4" fmla="*/ 51866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39801 w 1910660"/>
              <a:gd name="connsiteY2" fmla="*/ 145890 h 981351"/>
              <a:gd name="connsiteX3" fmla="*/ 1910660 w 1910660"/>
              <a:gd name="connsiteY3" fmla="*/ 0 h 981351"/>
              <a:gd name="connsiteX4" fmla="*/ 1434283 w 1910660"/>
              <a:gd name="connsiteY4" fmla="*/ 51866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34283 w 1910660"/>
              <a:gd name="connsiteY4" fmla="*/ 51866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85569 w 1910660"/>
              <a:gd name="connsiteY4" fmla="*/ 49265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85569 w 1910660"/>
              <a:gd name="connsiteY4" fmla="*/ 49265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7205"/>
              <a:gd name="connsiteY0" fmla="*/ 981089 h 981089"/>
              <a:gd name="connsiteX1" fmla="*/ 614616 w 1917205"/>
              <a:gd name="connsiteY1" fmla="*/ 399788 h 981089"/>
              <a:gd name="connsiteX2" fmla="*/ 1151739 w 1917205"/>
              <a:gd name="connsiteY2" fmla="*/ 138453 h 981089"/>
              <a:gd name="connsiteX3" fmla="*/ 1917205 w 1917205"/>
              <a:gd name="connsiteY3" fmla="*/ 0 h 981089"/>
              <a:gd name="connsiteX4" fmla="*/ 1490661 w 1917205"/>
              <a:gd name="connsiteY4" fmla="*/ 477290 h 981089"/>
              <a:gd name="connsiteX5" fmla="*/ 769551 w 1917205"/>
              <a:gd name="connsiteY5" fmla="*/ 862713 h 981089"/>
              <a:gd name="connsiteX6" fmla="*/ 0 w 1917205"/>
              <a:gd name="connsiteY6" fmla="*/ 981089 h 981089"/>
              <a:gd name="connsiteX0" fmla="*/ 0 w 1928243"/>
              <a:gd name="connsiteY0" fmla="*/ 982129 h 982129"/>
              <a:gd name="connsiteX1" fmla="*/ 614616 w 1928243"/>
              <a:gd name="connsiteY1" fmla="*/ 400828 h 982129"/>
              <a:gd name="connsiteX2" fmla="*/ 1151739 w 1928243"/>
              <a:gd name="connsiteY2" fmla="*/ 139493 h 982129"/>
              <a:gd name="connsiteX3" fmla="*/ 1928243 w 1928243"/>
              <a:gd name="connsiteY3" fmla="*/ 0 h 982129"/>
              <a:gd name="connsiteX4" fmla="*/ 1490661 w 1928243"/>
              <a:gd name="connsiteY4" fmla="*/ 478330 h 982129"/>
              <a:gd name="connsiteX5" fmla="*/ 769551 w 1928243"/>
              <a:gd name="connsiteY5" fmla="*/ 863753 h 982129"/>
              <a:gd name="connsiteX6" fmla="*/ 0 w 1928243"/>
              <a:gd name="connsiteY6" fmla="*/ 982129 h 982129"/>
              <a:gd name="connsiteX0" fmla="*/ 0 w 1928243"/>
              <a:gd name="connsiteY0" fmla="*/ 982129 h 982129"/>
              <a:gd name="connsiteX1" fmla="*/ 614616 w 1928243"/>
              <a:gd name="connsiteY1" fmla="*/ 400828 h 982129"/>
              <a:gd name="connsiteX2" fmla="*/ 1151739 w 1928243"/>
              <a:gd name="connsiteY2" fmla="*/ 139493 h 982129"/>
              <a:gd name="connsiteX3" fmla="*/ 1928243 w 1928243"/>
              <a:gd name="connsiteY3" fmla="*/ 0 h 982129"/>
              <a:gd name="connsiteX4" fmla="*/ 1490661 w 1928243"/>
              <a:gd name="connsiteY4" fmla="*/ 478330 h 982129"/>
              <a:gd name="connsiteX5" fmla="*/ 769551 w 1928243"/>
              <a:gd name="connsiteY5" fmla="*/ 863753 h 982129"/>
              <a:gd name="connsiteX6" fmla="*/ 0 w 1928243"/>
              <a:gd name="connsiteY6" fmla="*/ 982129 h 982129"/>
              <a:gd name="connsiteX0" fmla="*/ 0 w 1928243"/>
              <a:gd name="connsiteY0" fmla="*/ 982129 h 982129"/>
              <a:gd name="connsiteX1" fmla="*/ 614616 w 1928243"/>
              <a:gd name="connsiteY1" fmla="*/ 400828 h 982129"/>
              <a:gd name="connsiteX2" fmla="*/ 1151739 w 1928243"/>
              <a:gd name="connsiteY2" fmla="*/ 139493 h 982129"/>
              <a:gd name="connsiteX3" fmla="*/ 1928243 w 1928243"/>
              <a:gd name="connsiteY3" fmla="*/ 0 h 982129"/>
              <a:gd name="connsiteX4" fmla="*/ 1490661 w 1928243"/>
              <a:gd name="connsiteY4" fmla="*/ 478330 h 982129"/>
              <a:gd name="connsiteX5" fmla="*/ 769551 w 1928243"/>
              <a:gd name="connsiteY5" fmla="*/ 863753 h 982129"/>
              <a:gd name="connsiteX6" fmla="*/ 0 w 1928243"/>
              <a:gd name="connsiteY6" fmla="*/ 982129 h 982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8243" h="982129">
                <a:moveTo>
                  <a:pt x="0" y="982129"/>
                </a:moveTo>
                <a:cubicBezTo>
                  <a:pt x="222870" y="793691"/>
                  <a:pt x="414784" y="526469"/>
                  <a:pt x="614616" y="400828"/>
                </a:cubicBezTo>
                <a:cubicBezTo>
                  <a:pt x="814448" y="275187"/>
                  <a:pt x="932801" y="206298"/>
                  <a:pt x="1151739" y="139493"/>
                </a:cubicBezTo>
                <a:cubicBezTo>
                  <a:pt x="1370677" y="72688"/>
                  <a:pt x="1608569" y="14507"/>
                  <a:pt x="1928243" y="0"/>
                </a:cubicBezTo>
                <a:cubicBezTo>
                  <a:pt x="1843665" y="107229"/>
                  <a:pt x="1712682" y="301142"/>
                  <a:pt x="1490661" y="478330"/>
                </a:cubicBezTo>
                <a:cubicBezTo>
                  <a:pt x="1291739" y="616292"/>
                  <a:pt x="1017994" y="779787"/>
                  <a:pt x="769551" y="863753"/>
                </a:cubicBezTo>
                <a:cubicBezTo>
                  <a:pt x="521108" y="947719"/>
                  <a:pt x="268507" y="974216"/>
                  <a:pt x="0" y="982129"/>
                </a:cubicBezTo>
                <a:close/>
              </a:path>
            </a:pathLst>
          </a:custGeom>
          <a:gradFill flip="none" rotWithShape="1">
            <a:gsLst>
              <a:gs pos="37000">
                <a:srgbClr val="86D598"/>
              </a:gs>
              <a:gs pos="14000">
                <a:srgbClr val="3ED06F"/>
              </a:gs>
              <a:gs pos="67000">
                <a:srgbClr val="F1A29C">
                  <a:lumMod val="94000"/>
                </a:srgbClr>
              </a:gs>
              <a:gs pos="50000">
                <a:srgbClr val="E4EBDD">
                  <a:lumMod val="90000"/>
                </a:srgbClr>
              </a:gs>
              <a:gs pos="92000">
                <a:srgbClr val="FB4F4F">
                  <a:lumMod val="98000"/>
                </a:srgbClr>
              </a:gs>
            </a:gsLst>
            <a:lin ang="8100000" scaled="1"/>
            <a:tileRect/>
          </a:gradFill>
          <a:ln>
            <a:noFill/>
          </a:ln>
          <a:extLst/>
        </p:spPr>
        <p:txBody>
          <a:bodyPr wrap="none" lIns="83058" tIns="43190" rIns="83058" bIns="43190"/>
          <a:lstStyle/>
          <a:p>
            <a:pPr defTabSz="844083">
              <a:defRPr/>
            </a:pPr>
            <a:endParaRPr lang="de-DE" sz="1477" dirty="0">
              <a:solidFill>
                <a:srgbClr val="000000"/>
              </a:solidFill>
              <a:latin typeface="Calibri" panose="020F0502020204030204" pitchFamily="34" charset="0"/>
              <a:cs typeface="Arial" charset="0"/>
            </a:endParaRPr>
          </a:p>
        </p:txBody>
      </p:sp>
      <p:grpSp>
        <p:nvGrpSpPr>
          <p:cNvPr id="103" name="Gruppieren 82"/>
          <p:cNvGrpSpPr/>
          <p:nvPr/>
        </p:nvGrpSpPr>
        <p:grpSpPr>
          <a:xfrm>
            <a:off x="1909001" y="3587261"/>
            <a:ext cx="4134247" cy="2039816"/>
            <a:chOff x="1649581" y="3714729"/>
            <a:chExt cx="4516799" cy="2212746"/>
          </a:xfrm>
        </p:grpSpPr>
        <p:sp>
          <p:nvSpPr>
            <p:cNvPr id="104" name="Freihandform 9"/>
            <p:cNvSpPr>
              <a:spLocks noChangeArrowheads="1"/>
            </p:cNvSpPr>
            <p:nvPr/>
          </p:nvSpPr>
          <p:spPr bwMode="auto">
            <a:xfrm>
              <a:off x="1649581" y="3714729"/>
              <a:ext cx="3762451" cy="2212746"/>
            </a:xfrm>
            <a:custGeom>
              <a:avLst/>
              <a:gdLst>
                <a:gd name="T0" fmla="*/ 24855 w 4279231"/>
                <a:gd name="T1" fmla="*/ 1761059 h 1770246"/>
                <a:gd name="T2" fmla="*/ 82581 w 4279231"/>
                <a:gd name="T3" fmla="*/ 1732189 h 1770246"/>
                <a:gd name="T4" fmla="*/ 669470 w 4279231"/>
                <a:gd name="T5" fmla="*/ 1481985 h 1770246"/>
                <a:gd name="T6" fmla="*/ 1593100 w 4279231"/>
                <a:gd name="T7" fmla="*/ 702498 h 1770246"/>
                <a:gd name="T8" fmla="*/ 2093398 w 4279231"/>
                <a:gd name="T9" fmla="*/ 413800 h 1770246"/>
                <a:gd name="T10" fmla="*/ 2978542 w 4279231"/>
                <a:gd name="T11" fmla="*/ 163596 h 1770246"/>
                <a:gd name="T12" fmla="*/ 4277393 w 4279231"/>
                <a:gd name="T13" fmla="*/ 0 h 1770246"/>
                <a:gd name="T14" fmla="*/ 0 60000 65536"/>
                <a:gd name="T15" fmla="*/ 0 60000 65536"/>
                <a:gd name="T16" fmla="*/ 0 60000 65536"/>
                <a:gd name="T17" fmla="*/ 0 60000 65536"/>
                <a:gd name="T18" fmla="*/ 0 60000 65536"/>
                <a:gd name="T19" fmla="*/ 0 60000 65536"/>
                <a:gd name="T20" fmla="*/ 0 60000 65536"/>
                <a:gd name="T21" fmla="*/ 0 w 4279231"/>
                <a:gd name="T22" fmla="*/ 0 h 1770246"/>
                <a:gd name="T23" fmla="*/ 4279231 w 4279231"/>
                <a:gd name="T24" fmla="*/ 1770246 h 1770246"/>
                <a:gd name="connsiteX0" fmla="*/ 0 w 4254366"/>
                <a:gd name="connsiteY0" fmla="*/ 1761423 h 1761423"/>
                <a:gd name="connsiteX1" fmla="*/ 644893 w 4254366"/>
                <a:gd name="connsiteY1" fmla="*/ 1482291 h 1761423"/>
                <a:gd name="connsiteX2" fmla="*/ 1568918 w 4254366"/>
                <a:gd name="connsiteY2" fmla="*/ 702644 h 1761423"/>
                <a:gd name="connsiteX3" fmla="*/ 2069432 w 4254366"/>
                <a:gd name="connsiteY3" fmla="*/ 413886 h 1761423"/>
                <a:gd name="connsiteX4" fmla="*/ 2954956 w 4254366"/>
                <a:gd name="connsiteY4" fmla="*/ 163630 h 1761423"/>
                <a:gd name="connsiteX5" fmla="*/ 4254366 w 4254366"/>
                <a:gd name="connsiteY5" fmla="*/ 0 h 1761423"/>
                <a:gd name="connsiteX0" fmla="*/ 0 w 4703568"/>
                <a:gd name="connsiteY0" fmla="*/ 1726616 h 1726616"/>
                <a:gd name="connsiteX1" fmla="*/ 1094095 w 4703568"/>
                <a:gd name="connsiteY1" fmla="*/ 1482291 h 1726616"/>
                <a:gd name="connsiteX2" fmla="*/ 2018120 w 4703568"/>
                <a:gd name="connsiteY2" fmla="*/ 702644 h 1726616"/>
                <a:gd name="connsiteX3" fmla="*/ 2518634 w 4703568"/>
                <a:gd name="connsiteY3" fmla="*/ 413886 h 1726616"/>
                <a:gd name="connsiteX4" fmla="*/ 3404158 w 4703568"/>
                <a:gd name="connsiteY4" fmla="*/ 163630 h 1726616"/>
                <a:gd name="connsiteX5" fmla="*/ 4703568 w 4703568"/>
                <a:gd name="connsiteY5" fmla="*/ 0 h 1726616"/>
                <a:gd name="connsiteX0" fmla="*/ 0 w 4703568"/>
                <a:gd name="connsiteY0" fmla="*/ 1726616 h 1726616"/>
                <a:gd name="connsiteX1" fmla="*/ 1094095 w 4703568"/>
                <a:gd name="connsiteY1" fmla="*/ 1482291 h 1726616"/>
                <a:gd name="connsiteX2" fmla="*/ 2018120 w 4703568"/>
                <a:gd name="connsiteY2" fmla="*/ 702644 h 1726616"/>
                <a:gd name="connsiteX3" fmla="*/ 2518634 w 4703568"/>
                <a:gd name="connsiteY3" fmla="*/ 413886 h 1726616"/>
                <a:gd name="connsiteX4" fmla="*/ 3404158 w 4703568"/>
                <a:gd name="connsiteY4" fmla="*/ 163630 h 1726616"/>
                <a:gd name="connsiteX5" fmla="*/ 4703568 w 4703568"/>
                <a:gd name="connsiteY5" fmla="*/ 0 h 1726616"/>
                <a:gd name="connsiteX0" fmla="*/ 0 w 4703568"/>
                <a:gd name="connsiteY0" fmla="*/ 1726616 h 1726616"/>
                <a:gd name="connsiteX1" fmla="*/ 1094095 w 4703568"/>
                <a:gd name="connsiteY1" fmla="*/ 1482291 h 1726616"/>
                <a:gd name="connsiteX2" fmla="*/ 2018120 w 4703568"/>
                <a:gd name="connsiteY2" fmla="*/ 702644 h 1726616"/>
                <a:gd name="connsiteX3" fmla="*/ 2518634 w 4703568"/>
                <a:gd name="connsiteY3" fmla="*/ 413886 h 1726616"/>
                <a:gd name="connsiteX4" fmla="*/ 3404158 w 4703568"/>
                <a:gd name="connsiteY4" fmla="*/ 163630 h 1726616"/>
                <a:gd name="connsiteX5" fmla="*/ 4703568 w 4703568"/>
                <a:gd name="connsiteY5" fmla="*/ 0 h 1726616"/>
                <a:gd name="connsiteX0" fmla="*/ 0 w 5164591"/>
                <a:gd name="connsiteY0" fmla="*/ 1747500 h 1747500"/>
                <a:gd name="connsiteX1" fmla="*/ 1555118 w 5164591"/>
                <a:gd name="connsiteY1" fmla="*/ 1482291 h 1747500"/>
                <a:gd name="connsiteX2" fmla="*/ 2479143 w 5164591"/>
                <a:gd name="connsiteY2" fmla="*/ 702644 h 1747500"/>
                <a:gd name="connsiteX3" fmla="*/ 2979657 w 5164591"/>
                <a:gd name="connsiteY3" fmla="*/ 413886 h 1747500"/>
                <a:gd name="connsiteX4" fmla="*/ 3865181 w 5164591"/>
                <a:gd name="connsiteY4" fmla="*/ 163630 h 1747500"/>
                <a:gd name="connsiteX5" fmla="*/ 5164591 w 5164591"/>
                <a:gd name="connsiteY5" fmla="*/ 0 h 1747500"/>
                <a:gd name="connsiteX0" fmla="*/ 0 w 5164591"/>
                <a:gd name="connsiteY0" fmla="*/ 1747500 h 1747500"/>
                <a:gd name="connsiteX1" fmla="*/ 1555118 w 5164591"/>
                <a:gd name="connsiteY1" fmla="*/ 1482291 h 1747500"/>
                <a:gd name="connsiteX2" fmla="*/ 2479143 w 5164591"/>
                <a:gd name="connsiteY2" fmla="*/ 702644 h 1747500"/>
                <a:gd name="connsiteX3" fmla="*/ 2979657 w 5164591"/>
                <a:gd name="connsiteY3" fmla="*/ 413886 h 1747500"/>
                <a:gd name="connsiteX4" fmla="*/ 3865181 w 5164591"/>
                <a:gd name="connsiteY4" fmla="*/ 163630 h 1747500"/>
                <a:gd name="connsiteX5" fmla="*/ 5164591 w 5164591"/>
                <a:gd name="connsiteY5" fmla="*/ 0 h 1747500"/>
                <a:gd name="connsiteX0" fmla="*/ 0 w 4674687"/>
                <a:gd name="connsiteY0" fmla="*/ 1700316 h 1700316"/>
                <a:gd name="connsiteX1" fmla="*/ 1555118 w 4674687"/>
                <a:gd name="connsiteY1" fmla="*/ 1435107 h 1700316"/>
                <a:gd name="connsiteX2" fmla="*/ 2479143 w 4674687"/>
                <a:gd name="connsiteY2" fmla="*/ 655460 h 1700316"/>
                <a:gd name="connsiteX3" fmla="*/ 2979657 w 4674687"/>
                <a:gd name="connsiteY3" fmla="*/ 366702 h 1700316"/>
                <a:gd name="connsiteX4" fmla="*/ 3865181 w 4674687"/>
                <a:gd name="connsiteY4" fmla="*/ 116446 h 1700316"/>
                <a:gd name="connsiteX5" fmla="*/ 4674687 w 4674687"/>
                <a:gd name="connsiteY5" fmla="*/ 0 h 1700316"/>
                <a:gd name="connsiteX0" fmla="*/ 0 w 4674687"/>
                <a:gd name="connsiteY0" fmla="*/ 1700316 h 1700316"/>
                <a:gd name="connsiteX1" fmla="*/ 1555118 w 4674687"/>
                <a:gd name="connsiteY1" fmla="*/ 1435107 h 1700316"/>
                <a:gd name="connsiteX2" fmla="*/ 2479143 w 4674687"/>
                <a:gd name="connsiteY2" fmla="*/ 655460 h 1700316"/>
                <a:gd name="connsiteX3" fmla="*/ 2979657 w 4674687"/>
                <a:gd name="connsiteY3" fmla="*/ 366702 h 1700316"/>
                <a:gd name="connsiteX4" fmla="*/ 3865181 w 4674687"/>
                <a:gd name="connsiteY4" fmla="*/ 116446 h 1700316"/>
                <a:gd name="connsiteX5" fmla="*/ 4674687 w 4674687"/>
                <a:gd name="connsiteY5" fmla="*/ 0 h 1700316"/>
                <a:gd name="connsiteX0" fmla="*/ 0 w 4674687"/>
                <a:gd name="connsiteY0" fmla="*/ 1700316 h 1700316"/>
                <a:gd name="connsiteX1" fmla="*/ 1555118 w 4674687"/>
                <a:gd name="connsiteY1" fmla="*/ 1435107 h 1700316"/>
                <a:gd name="connsiteX2" fmla="*/ 2479143 w 4674687"/>
                <a:gd name="connsiteY2" fmla="*/ 655460 h 1700316"/>
                <a:gd name="connsiteX3" fmla="*/ 2979657 w 4674687"/>
                <a:gd name="connsiteY3" fmla="*/ 366702 h 1700316"/>
                <a:gd name="connsiteX4" fmla="*/ 3865181 w 4674687"/>
                <a:gd name="connsiteY4" fmla="*/ 116446 h 1700316"/>
                <a:gd name="connsiteX5" fmla="*/ 4674687 w 4674687"/>
                <a:gd name="connsiteY5" fmla="*/ 0 h 1700316"/>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589897"/>
                <a:gd name="connsiteY0" fmla="*/ 1659030 h 1659030"/>
                <a:gd name="connsiteX1" fmla="*/ 1555118 w 4589897"/>
                <a:gd name="connsiteY1" fmla="*/ 1393821 h 1659030"/>
                <a:gd name="connsiteX2" fmla="*/ 2479143 w 4589897"/>
                <a:gd name="connsiteY2" fmla="*/ 614174 h 1659030"/>
                <a:gd name="connsiteX3" fmla="*/ 2979657 w 4589897"/>
                <a:gd name="connsiteY3" fmla="*/ 325416 h 1659030"/>
                <a:gd name="connsiteX4" fmla="*/ 3865181 w 4589897"/>
                <a:gd name="connsiteY4" fmla="*/ 75160 h 1659030"/>
                <a:gd name="connsiteX5" fmla="*/ 4589897 w 4589897"/>
                <a:gd name="connsiteY5"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2979657 w 4589897"/>
                <a:gd name="connsiteY3" fmla="*/ 325416 h 1659030"/>
                <a:gd name="connsiteX4" fmla="*/ 3865181 w 4589897"/>
                <a:gd name="connsiteY4" fmla="*/ 75160 h 1659030"/>
                <a:gd name="connsiteX5" fmla="*/ 4589897 w 4589897"/>
                <a:gd name="connsiteY5"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2979657 w 4589897"/>
                <a:gd name="connsiteY3" fmla="*/ 325416 h 1659030"/>
                <a:gd name="connsiteX4" fmla="*/ 4589897 w 4589897"/>
                <a:gd name="connsiteY4"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3215187 w 4589897"/>
                <a:gd name="connsiteY3" fmla="*/ 231048 h 1659030"/>
                <a:gd name="connsiteX4" fmla="*/ 4589897 w 4589897"/>
                <a:gd name="connsiteY4"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3215187 w 4589897"/>
                <a:gd name="connsiteY3" fmla="*/ 231048 h 1659030"/>
                <a:gd name="connsiteX4" fmla="*/ 4589897 w 4589897"/>
                <a:gd name="connsiteY4" fmla="*/ 0 h 1659030"/>
                <a:gd name="connsiteX0" fmla="*/ 0 w 4552211"/>
                <a:gd name="connsiteY0" fmla="*/ 1653132 h 1653132"/>
                <a:gd name="connsiteX1" fmla="*/ 1555118 w 4552211"/>
                <a:gd name="connsiteY1" fmla="*/ 1387923 h 1653132"/>
                <a:gd name="connsiteX2" fmla="*/ 2479143 w 4552211"/>
                <a:gd name="connsiteY2" fmla="*/ 608276 h 1653132"/>
                <a:gd name="connsiteX3" fmla="*/ 3215187 w 4552211"/>
                <a:gd name="connsiteY3" fmla="*/ 225150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15187 w 4552211"/>
                <a:gd name="connsiteY3" fmla="*/ 225150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05766 w 4552211"/>
                <a:gd name="connsiteY3" fmla="*/ 231048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05766 w 4552211"/>
                <a:gd name="connsiteY3" fmla="*/ 231048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05766 w 4552211"/>
                <a:gd name="connsiteY3" fmla="*/ 231048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43452 w 4552211"/>
                <a:gd name="connsiteY3" fmla="*/ 225150 h 1653132"/>
                <a:gd name="connsiteX4" fmla="*/ 4552211 w 4552211"/>
                <a:gd name="connsiteY4" fmla="*/ 0 h 1653132"/>
                <a:gd name="connsiteX0" fmla="*/ 0 w 4533369"/>
                <a:gd name="connsiteY0" fmla="*/ 1623642 h 1623642"/>
                <a:gd name="connsiteX1" fmla="*/ 1555118 w 4533369"/>
                <a:gd name="connsiteY1" fmla="*/ 1358433 h 1623642"/>
                <a:gd name="connsiteX2" fmla="*/ 2479143 w 4533369"/>
                <a:gd name="connsiteY2" fmla="*/ 578786 h 1623642"/>
                <a:gd name="connsiteX3" fmla="*/ 3243452 w 4533369"/>
                <a:gd name="connsiteY3" fmla="*/ 195660 h 1623642"/>
                <a:gd name="connsiteX4" fmla="*/ 4533369 w 4533369"/>
                <a:gd name="connsiteY4" fmla="*/ 0 h 1623642"/>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6806 w 4458000"/>
                <a:gd name="connsiteY3" fmla="*/ 2028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56869 w 4458000"/>
                <a:gd name="connsiteY3" fmla="*/ 2049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56869 w 4458000"/>
                <a:gd name="connsiteY3" fmla="*/ 204954 h 1641336"/>
                <a:gd name="connsiteX4" fmla="*/ 4458000 w 4458000"/>
                <a:gd name="connsiteY4" fmla="*/ 0 h 1641336"/>
                <a:gd name="connsiteX0" fmla="*/ 0 w 4458000"/>
                <a:gd name="connsiteY0" fmla="*/ 1641336 h 1641336"/>
                <a:gd name="connsiteX1" fmla="*/ 1555118 w 4458000"/>
                <a:gd name="connsiteY1" fmla="*/ 1376127 h 1641336"/>
                <a:gd name="connsiteX2" fmla="*/ 2417484 w 4458000"/>
                <a:gd name="connsiteY2" fmla="*/ 582694 h 1641336"/>
                <a:gd name="connsiteX3" fmla="*/ 3256869 w 4458000"/>
                <a:gd name="connsiteY3" fmla="*/ 204954 h 1641336"/>
                <a:gd name="connsiteX4" fmla="*/ 4458000 w 4458000"/>
                <a:gd name="connsiteY4" fmla="*/ 0 h 1641336"/>
                <a:gd name="connsiteX0" fmla="*/ 0 w 4458000"/>
                <a:gd name="connsiteY0" fmla="*/ 1641336 h 1641336"/>
                <a:gd name="connsiteX1" fmla="*/ 1555118 w 4458000"/>
                <a:gd name="connsiteY1" fmla="*/ 1376127 h 1641336"/>
                <a:gd name="connsiteX2" fmla="*/ 2417484 w 4458000"/>
                <a:gd name="connsiteY2" fmla="*/ 582694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8000" h="1641336">
                  <a:moveTo>
                    <a:pt x="0" y="1641336"/>
                  </a:moveTo>
                  <a:cubicBezTo>
                    <a:pt x="689945" y="1617991"/>
                    <a:pt x="1210193" y="1541998"/>
                    <a:pt x="1555118" y="1376127"/>
                  </a:cubicBezTo>
                  <a:cubicBezTo>
                    <a:pt x="1900043" y="1210256"/>
                    <a:pt x="2081742" y="846820"/>
                    <a:pt x="2333803" y="646109"/>
                  </a:cubicBezTo>
                  <a:cubicBezTo>
                    <a:pt x="2585864" y="445398"/>
                    <a:pt x="2898432" y="279553"/>
                    <a:pt x="3252465" y="171868"/>
                  </a:cubicBezTo>
                  <a:cubicBezTo>
                    <a:pt x="3606498" y="64183"/>
                    <a:pt x="4072224" y="2039"/>
                    <a:pt x="4458000" y="0"/>
                  </a:cubicBezTo>
                </a:path>
              </a:pathLst>
            </a:custGeom>
            <a:noFill/>
            <a:ln w="25400" cap="rnd"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lIns="83058" tIns="43190" rIns="83058" bIns="43190"/>
            <a:lstStyle/>
            <a:p>
              <a:pPr defTabSz="844083" eaLnBrk="1" hangingPunct="1">
                <a:spcAft>
                  <a:spcPct val="0"/>
                </a:spcAft>
                <a:defRPr/>
              </a:pPr>
              <a:endParaRPr lang="de-DE" sz="1385" dirty="0">
                <a:solidFill>
                  <a:srgbClr val="000000"/>
                </a:solidFill>
                <a:latin typeface="Calibri" panose="020F0502020204030204" pitchFamily="34" charset="0"/>
                <a:cs typeface="Arial" charset="0"/>
              </a:endParaRPr>
            </a:p>
          </p:txBody>
        </p:sp>
        <p:sp>
          <p:nvSpPr>
            <p:cNvPr id="105" name="Freihandform 57"/>
            <p:cNvSpPr/>
            <p:nvPr/>
          </p:nvSpPr>
          <p:spPr>
            <a:xfrm rot="248835">
              <a:off x="5481242" y="3727012"/>
              <a:ext cx="685138" cy="12277"/>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2091"/>
                <a:gd name="connsiteY0" fmla="*/ 21054 h 21054"/>
                <a:gd name="connsiteX1" fmla="*/ 12091 w 12091"/>
                <a:gd name="connsiteY1" fmla="*/ 0 h 21054"/>
                <a:gd name="connsiteX0" fmla="*/ 0 w 12039"/>
                <a:gd name="connsiteY0" fmla="*/ 4473 h 4473"/>
                <a:gd name="connsiteX1" fmla="*/ 12039 w 12039"/>
                <a:gd name="connsiteY1" fmla="*/ 0 h 4473"/>
                <a:gd name="connsiteX0" fmla="*/ 0 w 10000"/>
                <a:gd name="connsiteY0" fmla="*/ 14454 h 14454"/>
                <a:gd name="connsiteX1" fmla="*/ 10000 w 10000"/>
                <a:gd name="connsiteY1" fmla="*/ 4454 h 14454"/>
                <a:gd name="connsiteX0" fmla="*/ 0 w 10000"/>
                <a:gd name="connsiteY0" fmla="*/ 17863 h 17863"/>
                <a:gd name="connsiteX1" fmla="*/ 10000 w 10000"/>
                <a:gd name="connsiteY1" fmla="*/ 7863 h 17863"/>
              </a:gdLst>
              <a:ahLst/>
              <a:cxnLst>
                <a:cxn ang="0">
                  <a:pos x="connsiteX0" y="connsiteY0"/>
                </a:cxn>
                <a:cxn ang="0">
                  <a:pos x="connsiteX1" y="connsiteY1"/>
                </a:cxn>
              </a:cxnLst>
              <a:rect l="l" t="t" r="r" b="b"/>
              <a:pathLst>
                <a:path w="10000" h="17863">
                  <a:moveTo>
                    <a:pt x="0" y="17863"/>
                  </a:moveTo>
                  <a:cubicBezTo>
                    <a:pt x="3594" y="-1947"/>
                    <a:pt x="6710" y="-5280"/>
                    <a:pt x="10000" y="7863"/>
                  </a:cubicBezTo>
                </a:path>
              </a:pathLst>
            </a:custGeom>
            <a:noFill/>
            <a:ln w="25400" cap="rnd" algn="ctr">
              <a:solidFill>
                <a:schemeClr val="bg2"/>
              </a:solidFill>
              <a:prstDash val="sysDash"/>
              <a:round/>
              <a:headEnd/>
              <a:tailEnd/>
            </a:ln>
          </p:spPr>
          <p:txBody>
            <a:bodyPr wrap="none" lIns="83058" tIns="43190" rIns="83058" bIns="43190"/>
            <a:lstStyle/>
            <a:p>
              <a:pPr defTabSz="844083" eaLnBrk="1" hangingPunct="1">
                <a:spcAft>
                  <a:spcPct val="0"/>
                </a:spcAft>
                <a:defRPr/>
              </a:pPr>
              <a:endParaRPr lang="de-DE" sz="1385" dirty="0">
                <a:solidFill>
                  <a:srgbClr val="000000"/>
                </a:solidFill>
                <a:latin typeface="Calibri" panose="020F0502020204030204" pitchFamily="34" charset="0"/>
                <a:cs typeface="Arial" charset="0"/>
              </a:endParaRPr>
            </a:p>
          </p:txBody>
        </p:sp>
        <p:sp>
          <p:nvSpPr>
            <p:cNvPr id="106" name="Freihandform 58"/>
            <p:cNvSpPr/>
            <p:nvPr/>
          </p:nvSpPr>
          <p:spPr>
            <a:xfrm rot="1324690">
              <a:off x="5454736" y="3808489"/>
              <a:ext cx="661156" cy="71226"/>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6488 h 16488"/>
                <a:gd name="connsiteX1" fmla="*/ 10000 w 10000"/>
                <a:gd name="connsiteY1" fmla="*/ 6488 h 16488"/>
                <a:gd name="connsiteX0" fmla="*/ 0 w 10000"/>
                <a:gd name="connsiteY0" fmla="*/ 31774 h 31774"/>
                <a:gd name="connsiteX1" fmla="*/ 10000 w 10000"/>
                <a:gd name="connsiteY1" fmla="*/ 21774 h 31774"/>
                <a:gd name="connsiteX0" fmla="*/ 0 w 10000"/>
                <a:gd name="connsiteY0" fmla="*/ 38044 h 38044"/>
                <a:gd name="connsiteX1" fmla="*/ 10000 w 10000"/>
                <a:gd name="connsiteY1" fmla="*/ 28044 h 38044"/>
                <a:gd name="connsiteX0" fmla="*/ 0 w 11374"/>
                <a:gd name="connsiteY0" fmla="*/ 24544 h 50576"/>
                <a:gd name="connsiteX1" fmla="*/ 11374 w 11374"/>
                <a:gd name="connsiteY1" fmla="*/ 50576 h 50576"/>
                <a:gd name="connsiteX0" fmla="*/ 0 w 11374"/>
                <a:gd name="connsiteY0" fmla="*/ 14232 h 40264"/>
                <a:gd name="connsiteX1" fmla="*/ 11374 w 11374"/>
                <a:gd name="connsiteY1" fmla="*/ 40264 h 40264"/>
                <a:gd name="connsiteX0" fmla="*/ 0 w 11374"/>
                <a:gd name="connsiteY0" fmla="*/ 9796 h 35828"/>
                <a:gd name="connsiteX1" fmla="*/ 11374 w 11374"/>
                <a:gd name="connsiteY1" fmla="*/ 35828 h 35828"/>
                <a:gd name="connsiteX0" fmla="*/ 0 w 11374"/>
                <a:gd name="connsiteY0" fmla="*/ 20322 h 46354"/>
                <a:gd name="connsiteX1" fmla="*/ 11374 w 11374"/>
                <a:gd name="connsiteY1" fmla="*/ 46354 h 46354"/>
              </a:gdLst>
              <a:ahLst/>
              <a:cxnLst>
                <a:cxn ang="0">
                  <a:pos x="connsiteX0" y="connsiteY0"/>
                </a:cxn>
                <a:cxn ang="0">
                  <a:pos x="connsiteX1" y="connsiteY1"/>
                </a:cxn>
              </a:cxnLst>
              <a:rect l="l" t="t" r="r" b="b"/>
              <a:pathLst>
                <a:path w="11374" h="46354">
                  <a:moveTo>
                    <a:pt x="0" y="20322"/>
                  </a:moveTo>
                  <a:cubicBezTo>
                    <a:pt x="4921" y="-22895"/>
                    <a:pt x="8385" y="10968"/>
                    <a:pt x="11374" y="46354"/>
                  </a:cubicBezTo>
                </a:path>
              </a:pathLst>
            </a:custGeom>
            <a:noFill/>
            <a:ln w="25400" cap="rnd" algn="ctr">
              <a:solidFill>
                <a:schemeClr val="bg2"/>
              </a:solidFill>
              <a:prstDash val="sysDash"/>
              <a:round/>
              <a:headEnd/>
              <a:tailEnd/>
            </a:ln>
          </p:spPr>
          <p:txBody>
            <a:bodyPr wrap="none" lIns="83058" tIns="43190" rIns="83058" bIns="43190"/>
            <a:lstStyle/>
            <a:p>
              <a:pPr defTabSz="844083" eaLnBrk="1" hangingPunct="1">
                <a:spcAft>
                  <a:spcPct val="0"/>
                </a:spcAft>
                <a:defRPr/>
              </a:pPr>
              <a:endParaRPr lang="de-DE" sz="1385" dirty="0">
                <a:solidFill>
                  <a:srgbClr val="000000"/>
                </a:solidFill>
                <a:latin typeface="Calibri" panose="020F0502020204030204" pitchFamily="34" charset="0"/>
                <a:cs typeface="Arial" charset="0"/>
              </a:endParaRPr>
            </a:p>
          </p:txBody>
        </p:sp>
      </p:grpSp>
      <p:sp>
        <p:nvSpPr>
          <p:cNvPr id="108" name="Textfeld 60"/>
          <p:cNvSpPr txBox="1">
            <a:spLocks noChangeArrowheads="1"/>
          </p:cNvSpPr>
          <p:nvPr/>
        </p:nvSpPr>
        <p:spPr bwMode="auto">
          <a:xfrm>
            <a:off x="7056602" y="5755283"/>
            <a:ext cx="438150" cy="298105"/>
          </a:xfrm>
          <a:prstGeom prst="rect">
            <a:avLst/>
          </a:prstGeom>
          <a:noFill/>
          <a:ln w="9525">
            <a:noFill/>
            <a:miter lim="800000"/>
            <a:headEnd/>
            <a:tailEnd/>
          </a:ln>
        </p:spPr>
        <p:txBody>
          <a:bodyPr wrap="none" lIns="84146" tIns="42074" rIns="84146" bIns="42074">
            <a:spAutoFit/>
          </a:bodyPr>
          <a:lstStyle/>
          <a:p>
            <a:pPr defTabSz="844083" eaLnBrk="1" hangingPunct="1">
              <a:spcAft>
                <a:spcPct val="0"/>
              </a:spcAft>
              <a:defRPr/>
            </a:pPr>
            <a:r>
              <a:rPr lang="de-DE" sz="1385" dirty="0">
                <a:solidFill>
                  <a:srgbClr val="000000"/>
                </a:solidFill>
                <a:latin typeface="Calibri" panose="020F0502020204030204" pitchFamily="34" charset="0"/>
                <a:cs typeface="Arial" charset="0"/>
              </a:rPr>
              <a:t>Zeit</a:t>
            </a:r>
          </a:p>
        </p:txBody>
      </p:sp>
      <p:sp>
        <p:nvSpPr>
          <p:cNvPr id="110" name="Freihandform 10"/>
          <p:cNvSpPr>
            <a:spLocks noChangeArrowheads="1"/>
          </p:cNvSpPr>
          <p:nvPr/>
        </p:nvSpPr>
        <p:spPr bwMode="auto">
          <a:xfrm>
            <a:off x="2950314" y="2335833"/>
            <a:ext cx="3173918" cy="2855275"/>
          </a:xfrm>
          <a:custGeom>
            <a:avLst/>
            <a:gdLst>
              <a:gd name="T0" fmla="*/ 0 w 4591250"/>
              <a:gd name="T1" fmla="*/ 2743200 h 2743200"/>
              <a:gd name="T2" fmla="*/ 914320 w 4591250"/>
              <a:gd name="T3" fmla="*/ 2579570 h 2743200"/>
              <a:gd name="T4" fmla="*/ 1491787 w 4591250"/>
              <a:gd name="T5" fmla="*/ 2367814 h 2743200"/>
              <a:gd name="T6" fmla="*/ 2059628 w 4591250"/>
              <a:gd name="T7" fmla="*/ 1896177 h 2743200"/>
              <a:gd name="T8" fmla="*/ 2637094 w 4591250"/>
              <a:gd name="T9" fmla="*/ 1241659 h 2743200"/>
              <a:gd name="T10" fmla="*/ 3118314 w 4591250"/>
              <a:gd name="T11" fmla="*/ 750770 h 2743200"/>
              <a:gd name="T12" fmla="*/ 3926766 w 4591250"/>
              <a:gd name="T13" fmla="*/ 231006 h 2743200"/>
              <a:gd name="T14" fmla="*/ 4590851 w 4591250"/>
              <a:gd name="T15" fmla="*/ 0 h 2743200"/>
              <a:gd name="T16" fmla="*/ 0 60000 65536"/>
              <a:gd name="T17" fmla="*/ 0 60000 65536"/>
              <a:gd name="T18" fmla="*/ 0 60000 65536"/>
              <a:gd name="T19" fmla="*/ 0 60000 65536"/>
              <a:gd name="T20" fmla="*/ 0 60000 65536"/>
              <a:gd name="T21" fmla="*/ 0 60000 65536"/>
              <a:gd name="T22" fmla="*/ 0 60000 65536"/>
              <a:gd name="T23" fmla="*/ 0 60000 65536"/>
              <a:gd name="T24" fmla="*/ 0 w 4591250"/>
              <a:gd name="T25" fmla="*/ 0 h 2743200"/>
              <a:gd name="T26" fmla="*/ 4591250 w 4591250"/>
              <a:gd name="T27" fmla="*/ 2743200 h 2743200"/>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463353 w 5140203"/>
              <a:gd name="connsiteY1" fmla="*/ 2579570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575639 w 5140203"/>
              <a:gd name="connsiteY1" fmla="*/ 2549342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575639 w 5140203"/>
              <a:gd name="connsiteY1" fmla="*/ 2549342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575639 w 5140203"/>
              <a:gd name="connsiteY1" fmla="*/ 2549342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302393"/>
              <a:gd name="connsiteY0" fmla="*/ 2780986 h 2780986"/>
              <a:gd name="connsiteX1" fmla="*/ 1737829 w 5302393"/>
              <a:gd name="connsiteY1" fmla="*/ 2549342 h 2780986"/>
              <a:gd name="connsiteX2" fmla="*/ 2770949 w 5302393"/>
              <a:gd name="connsiteY2" fmla="*/ 1896177 h 2780986"/>
              <a:gd name="connsiteX3" fmla="*/ 3348465 w 5302393"/>
              <a:gd name="connsiteY3" fmla="*/ 1241659 h 2780986"/>
              <a:gd name="connsiteX4" fmla="*/ 3829728 w 5302393"/>
              <a:gd name="connsiteY4" fmla="*/ 750770 h 2780986"/>
              <a:gd name="connsiteX5" fmla="*/ 4638250 w 5302393"/>
              <a:gd name="connsiteY5" fmla="*/ 231006 h 2780986"/>
              <a:gd name="connsiteX6" fmla="*/ 5302393 w 5302393"/>
              <a:gd name="connsiteY6" fmla="*/ 0 h 2780986"/>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3829728 w 5302393"/>
              <a:gd name="connsiteY4" fmla="*/ 750770 h 2781033"/>
              <a:gd name="connsiteX5" fmla="*/ 4638250 w 5302393"/>
              <a:gd name="connsiteY5" fmla="*/ 231006 h 2781033"/>
              <a:gd name="connsiteX6" fmla="*/ 5302393 w 5302393"/>
              <a:gd name="connsiteY6"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3954491 w 5302393"/>
              <a:gd name="connsiteY4" fmla="*/ 614743 h 2781033"/>
              <a:gd name="connsiteX5" fmla="*/ 4638250 w 5302393"/>
              <a:gd name="connsiteY5" fmla="*/ 231006 h 2781033"/>
              <a:gd name="connsiteX6" fmla="*/ 5302393 w 5302393"/>
              <a:gd name="connsiteY6"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3954491 w 5302393"/>
              <a:gd name="connsiteY4" fmla="*/ 61474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4864764"/>
              <a:gd name="connsiteY0" fmla="*/ 2762806 h 2762862"/>
              <a:gd name="connsiteX1" fmla="*/ 1300200 w 4864764"/>
              <a:gd name="connsiteY1" fmla="*/ 2549342 h 2762862"/>
              <a:gd name="connsiteX2" fmla="*/ 2333320 w 4864764"/>
              <a:gd name="connsiteY2" fmla="*/ 1896177 h 2762862"/>
              <a:gd name="connsiteX3" fmla="*/ 2910836 w 4864764"/>
              <a:gd name="connsiteY3" fmla="*/ 1241659 h 2762862"/>
              <a:gd name="connsiteX4" fmla="*/ 3716480 w 4864764"/>
              <a:gd name="connsiteY4" fmla="*/ 463603 h 2762862"/>
              <a:gd name="connsiteX5" fmla="*/ 4864764 w 4864764"/>
              <a:gd name="connsiteY5" fmla="*/ 0 h 2762862"/>
              <a:gd name="connsiteX0" fmla="*/ 0 w 4864764"/>
              <a:gd name="connsiteY0" fmla="*/ 2762806 h 2762806"/>
              <a:gd name="connsiteX1" fmla="*/ 1300200 w 4864764"/>
              <a:gd name="connsiteY1" fmla="*/ 2549342 h 2762806"/>
              <a:gd name="connsiteX2" fmla="*/ 2333320 w 4864764"/>
              <a:gd name="connsiteY2" fmla="*/ 1896177 h 2762806"/>
              <a:gd name="connsiteX3" fmla="*/ 2910836 w 4864764"/>
              <a:gd name="connsiteY3" fmla="*/ 1241659 h 2762806"/>
              <a:gd name="connsiteX4" fmla="*/ 3716480 w 4864764"/>
              <a:gd name="connsiteY4" fmla="*/ 463603 h 2762806"/>
              <a:gd name="connsiteX5" fmla="*/ 4864764 w 4864764"/>
              <a:gd name="connsiteY5" fmla="*/ 0 h 2762806"/>
              <a:gd name="connsiteX0" fmla="*/ 0 w 4798337"/>
              <a:gd name="connsiteY0" fmla="*/ 2759751 h 2759751"/>
              <a:gd name="connsiteX1" fmla="*/ 1233773 w 4798337"/>
              <a:gd name="connsiteY1" fmla="*/ 2549342 h 2759751"/>
              <a:gd name="connsiteX2" fmla="*/ 2266893 w 4798337"/>
              <a:gd name="connsiteY2" fmla="*/ 1896177 h 2759751"/>
              <a:gd name="connsiteX3" fmla="*/ 2844409 w 4798337"/>
              <a:gd name="connsiteY3" fmla="*/ 1241659 h 2759751"/>
              <a:gd name="connsiteX4" fmla="*/ 3650053 w 4798337"/>
              <a:gd name="connsiteY4" fmla="*/ 463603 h 2759751"/>
              <a:gd name="connsiteX5" fmla="*/ 4798337 w 4798337"/>
              <a:gd name="connsiteY5" fmla="*/ 0 h 2759751"/>
              <a:gd name="connsiteX0" fmla="*/ 0 w 4788394"/>
              <a:gd name="connsiteY0" fmla="*/ 2695724 h 2695724"/>
              <a:gd name="connsiteX1" fmla="*/ 1233773 w 4788394"/>
              <a:gd name="connsiteY1" fmla="*/ 2485315 h 2695724"/>
              <a:gd name="connsiteX2" fmla="*/ 2266893 w 4788394"/>
              <a:gd name="connsiteY2" fmla="*/ 1832150 h 2695724"/>
              <a:gd name="connsiteX3" fmla="*/ 2844409 w 4788394"/>
              <a:gd name="connsiteY3" fmla="*/ 1177632 h 2695724"/>
              <a:gd name="connsiteX4" fmla="*/ 3650053 w 4788394"/>
              <a:gd name="connsiteY4" fmla="*/ 399576 h 2695724"/>
              <a:gd name="connsiteX5" fmla="*/ 4788394 w 4788394"/>
              <a:gd name="connsiteY5" fmla="*/ 0 h 2695724"/>
              <a:gd name="connsiteX0" fmla="*/ 0 w 4788394"/>
              <a:gd name="connsiteY0" fmla="*/ 2695724 h 2695724"/>
              <a:gd name="connsiteX1" fmla="*/ 1233773 w 4788394"/>
              <a:gd name="connsiteY1" fmla="*/ 2485315 h 2695724"/>
              <a:gd name="connsiteX2" fmla="*/ 2266893 w 4788394"/>
              <a:gd name="connsiteY2" fmla="*/ 1832150 h 2695724"/>
              <a:gd name="connsiteX3" fmla="*/ 2844409 w 4788394"/>
              <a:gd name="connsiteY3" fmla="*/ 1177632 h 2695724"/>
              <a:gd name="connsiteX4" fmla="*/ 3650053 w 4788394"/>
              <a:gd name="connsiteY4" fmla="*/ 399576 h 2695724"/>
              <a:gd name="connsiteX5" fmla="*/ 4788394 w 4788394"/>
              <a:gd name="connsiteY5" fmla="*/ 0 h 2695724"/>
              <a:gd name="connsiteX0" fmla="*/ 0 w 4916465"/>
              <a:gd name="connsiteY0" fmla="*/ 2701614 h 2701614"/>
              <a:gd name="connsiteX1" fmla="*/ 1233773 w 4916465"/>
              <a:gd name="connsiteY1" fmla="*/ 2491205 h 2701614"/>
              <a:gd name="connsiteX2" fmla="*/ 2266893 w 4916465"/>
              <a:gd name="connsiteY2" fmla="*/ 1838040 h 2701614"/>
              <a:gd name="connsiteX3" fmla="*/ 2844409 w 4916465"/>
              <a:gd name="connsiteY3" fmla="*/ 1183522 h 2701614"/>
              <a:gd name="connsiteX4" fmla="*/ 3650053 w 4916465"/>
              <a:gd name="connsiteY4" fmla="*/ 405466 h 2701614"/>
              <a:gd name="connsiteX5" fmla="*/ 4916465 w 4916465"/>
              <a:gd name="connsiteY5" fmla="*/ 0 h 2701614"/>
              <a:gd name="connsiteX0" fmla="*/ 0 w 4916465"/>
              <a:gd name="connsiteY0" fmla="*/ 2701614 h 2701614"/>
              <a:gd name="connsiteX1" fmla="*/ 1233773 w 4916465"/>
              <a:gd name="connsiteY1" fmla="*/ 2491205 h 2701614"/>
              <a:gd name="connsiteX2" fmla="*/ 2266893 w 4916465"/>
              <a:gd name="connsiteY2" fmla="*/ 1838040 h 2701614"/>
              <a:gd name="connsiteX3" fmla="*/ 2844409 w 4916465"/>
              <a:gd name="connsiteY3" fmla="*/ 1183522 h 2701614"/>
              <a:gd name="connsiteX4" fmla="*/ 3650053 w 4916465"/>
              <a:gd name="connsiteY4" fmla="*/ 405466 h 2701614"/>
              <a:gd name="connsiteX5" fmla="*/ 4916465 w 4916465"/>
              <a:gd name="connsiteY5" fmla="*/ 0 h 2701614"/>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650053 w 4916465"/>
              <a:gd name="connsiteY4" fmla="*/ 429028 h 2725176"/>
              <a:gd name="connsiteX5" fmla="*/ 4916465 w 4916465"/>
              <a:gd name="connsiteY5" fmla="*/ 0 h 2725176"/>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650053 w 4916465"/>
              <a:gd name="connsiteY4" fmla="*/ 429028 h 2725176"/>
              <a:gd name="connsiteX5" fmla="*/ 4916465 w 4916465"/>
              <a:gd name="connsiteY5" fmla="*/ 0 h 2725176"/>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650053 w 4916465"/>
              <a:gd name="connsiteY4" fmla="*/ 429028 h 2725176"/>
              <a:gd name="connsiteX5" fmla="*/ 4916465 w 4916465"/>
              <a:gd name="connsiteY5" fmla="*/ 0 h 2725176"/>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517090 w 4916465"/>
              <a:gd name="connsiteY4" fmla="*/ 566015 h 2725176"/>
              <a:gd name="connsiteX5" fmla="*/ 4916465 w 4916465"/>
              <a:gd name="connsiteY5" fmla="*/ 0 h 2725176"/>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517090 w 4770205"/>
              <a:gd name="connsiteY4" fmla="*/ 437590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517090 w 4770205"/>
              <a:gd name="connsiteY4" fmla="*/ 437590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485473 w 4733318"/>
              <a:gd name="connsiteY3" fmla="*/ 440983 h 2556033"/>
              <a:gd name="connsiteX4" fmla="*/ 4733318 w 4733318"/>
              <a:gd name="connsiteY4"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333414 w 4733318"/>
              <a:gd name="connsiteY3" fmla="*/ 542813 h 2556033"/>
              <a:gd name="connsiteX4" fmla="*/ 4733318 w 4733318"/>
              <a:gd name="connsiteY4"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333414 w 4733318"/>
              <a:gd name="connsiteY3" fmla="*/ 542813 h 2556033"/>
              <a:gd name="connsiteX4" fmla="*/ 4733318 w 4733318"/>
              <a:gd name="connsiteY4"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333414 w 4733318"/>
              <a:gd name="connsiteY3" fmla="*/ 542813 h 2556033"/>
              <a:gd name="connsiteX4" fmla="*/ 4733318 w 4733318"/>
              <a:gd name="connsiteY4" fmla="*/ 0 h 2556033"/>
              <a:gd name="connsiteX0" fmla="*/ 0 w 4727237"/>
              <a:gd name="connsiteY0" fmla="*/ 2505119 h 2505119"/>
              <a:gd name="connsiteX1" fmla="*/ 1233773 w 4727237"/>
              <a:gd name="connsiteY1" fmla="*/ 2294710 h 2505119"/>
              <a:gd name="connsiteX2" fmla="*/ 2266893 w 4727237"/>
              <a:gd name="connsiteY2" fmla="*/ 1641545 h 2505119"/>
              <a:gd name="connsiteX3" fmla="*/ 3333414 w 4727237"/>
              <a:gd name="connsiteY3" fmla="*/ 491899 h 2505119"/>
              <a:gd name="connsiteX4" fmla="*/ 4727237 w 4727237"/>
              <a:gd name="connsiteY4" fmla="*/ 0 h 2505119"/>
              <a:gd name="connsiteX0" fmla="*/ 0 w 4727237"/>
              <a:gd name="connsiteY0" fmla="*/ 2520785 h 2520785"/>
              <a:gd name="connsiteX1" fmla="*/ 1233773 w 4727237"/>
              <a:gd name="connsiteY1" fmla="*/ 2310376 h 2520785"/>
              <a:gd name="connsiteX2" fmla="*/ 2266893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266893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07326 w 4405495"/>
              <a:gd name="connsiteY3" fmla="*/ 457173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37576 h 2456394"/>
              <a:gd name="connsiteX4" fmla="*/ 4405495 w 4405495"/>
              <a:gd name="connsiteY4" fmla="*/ 0 h 2456394"/>
              <a:gd name="connsiteX0" fmla="*/ 0 w 4370711"/>
              <a:gd name="connsiteY0" fmla="*/ 2464793 h 2464793"/>
              <a:gd name="connsiteX1" fmla="*/ 1233773 w 4370711"/>
              <a:gd name="connsiteY1" fmla="*/ 2254384 h 2464793"/>
              <a:gd name="connsiteX2" fmla="*/ 2309469 w 4370711"/>
              <a:gd name="connsiteY2" fmla="*/ 1601219 h 2464793"/>
              <a:gd name="connsiteX3" fmla="*/ 3333414 w 4370711"/>
              <a:gd name="connsiteY3" fmla="*/ 445975 h 2464793"/>
              <a:gd name="connsiteX4" fmla="*/ 4370711 w 4370711"/>
              <a:gd name="connsiteY4" fmla="*/ 0 h 2464793"/>
              <a:gd name="connsiteX0" fmla="*/ 0 w 4370711"/>
              <a:gd name="connsiteY0" fmla="*/ 2464793 h 2464793"/>
              <a:gd name="connsiteX1" fmla="*/ 1233773 w 4370711"/>
              <a:gd name="connsiteY1" fmla="*/ 2254384 h 2464793"/>
              <a:gd name="connsiteX2" fmla="*/ 2309469 w 4370711"/>
              <a:gd name="connsiteY2" fmla="*/ 1601219 h 2464793"/>
              <a:gd name="connsiteX3" fmla="*/ 3333414 w 4370711"/>
              <a:gd name="connsiteY3" fmla="*/ 445975 h 2464793"/>
              <a:gd name="connsiteX4" fmla="*/ 4370711 w 4370711"/>
              <a:gd name="connsiteY4" fmla="*/ 0 h 2464793"/>
              <a:gd name="connsiteX0" fmla="*/ 0 w 4370711"/>
              <a:gd name="connsiteY0" fmla="*/ 2464793 h 2464793"/>
              <a:gd name="connsiteX1" fmla="*/ 1233773 w 4370711"/>
              <a:gd name="connsiteY1" fmla="*/ 2254384 h 2464793"/>
              <a:gd name="connsiteX2" fmla="*/ 2337359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337359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374545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360600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370711"/>
              <a:gd name="connsiteY0" fmla="*/ 2464793 h 2464793"/>
              <a:gd name="connsiteX1" fmla="*/ 1411583 w 4370711"/>
              <a:gd name="connsiteY1" fmla="*/ 2228356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370711"/>
              <a:gd name="connsiteY0" fmla="*/ 2464793 h 2464793"/>
              <a:gd name="connsiteX1" fmla="*/ 1411583 w 4370711"/>
              <a:gd name="connsiteY1" fmla="*/ 2228356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89629"/>
              <a:gd name="connsiteY0" fmla="*/ 2471045 h 2471045"/>
              <a:gd name="connsiteX1" fmla="*/ 1411583 w 4289629"/>
              <a:gd name="connsiteY1" fmla="*/ 2234608 h 2471045"/>
              <a:gd name="connsiteX2" fmla="*/ 2405346 w 4289629"/>
              <a:gd name="connsiteY2" fmla="*/ 1609007 h 2471045"/>
              <a:gd name="connsiteX3" fmla="*/ 3333414 w 4289629"/>
              <a:gd name="connsiteY3" fmla="*/ 452227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3414 w 4289629"/>
              <a:gd name="connsiteY3" fmla="*/ 452227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3414 w 4289629"/>
              <a:gd name="connsiteY3" fmla="*/ 452227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99838"/>
              <a:gd name="connsiteY0" fmla="*/ 2490768 h 2490768"/>
              <a:gd name="connsiteX1" fmla="*/ 1411583 w 4299838"/>
              <a:gd name="connsiteY1" fmla="*/ 2254331 h 2490768"/>
              <a:gd name="connsiteX2" fmla="*/ 2405346 w 4299838"/>
              <a:gd name="connsiteY2" fmla="*/ 1628730 h 2490768"/>
              <a:gd name="connsiteX3" fmla="*/ 3339563 w 4299838"/>
              <a:gd name="connsiteY3" fmla="*/ 462053 h 2490768"/>
              <a:gd name="connsiteX4" fmla="*/ 4299838 w 4299838"/>
              <a:gd name="connsiteY4" fmla="*/ 0 h 2490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9838" h="2490768">
                <a:moveTo>
                  <a:pt x="0" y="2490768"/>
                </a:moveTo>
                <a:cubicBezTo>
                  <a:pt x="587319" y="2465864"/>
                  <a:pt x="1000749" y="2410809"/>
                  <a:pt x="1411583" y="2254331"/>
                </a:cubicBezTo>
                <a:cubicBezTo>
                  <a:pt x="1822417" y="2097853"/>
                  <a:pt x="2084016" y="1927443"/>
                  <a:pt x="2405346" y="1628730"/>
                </a:cubicBezTo>
                <a:cubicBezTo>
                  <a:pt x="2726676" y="1330017"/>
                  <a:pt x="3023814" y="733508"/>
                  <a:pt x="3339563" y="462053"/>
                </a:cubicBezTo>
                <a:cubicBezTo>
                  <a:pt x="3655312" y="190598"/>
                  <a:pt x="3999976" y="68859"/>
                  <a:pt x="4299838" y="0"/>
                </a:cubicBezTo>
              </a:path>
            </a:pathLst>
          </a:custGeom>
          <a:noFill/>
          <a:ln w="25400" cap="rnd" algn="ctr">
            <a:solidFill>
              <a:srgbClr val="00B050"/>
            </a:solidFill>
            <a:round/>
            <a:headEnd/>
            <a:tailEnd/>
          </a:ln>
          <a:extLst>
            <a:ext uri="{909E8E84-426E-40DD-AFC4-6F175D3DCCD1}">
              <a14:hiddenFill xmlns:a14="http://schemas.microsoft.com/office/drawing/2010/main">
                <a:solidFill>
                  <a:srgbClr val="FFFFFF"/>
                </a:solidFill>
              </a14:hiddenFill>
            </a:ext>
          </a:extLst>
        </p:spPr>
        <p:txBody>
          <a:bodyPr wrap="none" lIns="83058" tIns="43190" rIns="83058" bIns="43190"/>
          <a:lstStyle/>
          <a:p>
            <a:pPr defTabSz="844083">
              <a:defRPr/>
            </a:pPr>
            <a:endParaRPr lang="de-DE" sz="1477" dirty="0">
              <a:solidFill>
                <a:srgbClr val="000000"/>
              </a:solidFill>
              <a:latin typeface="Calibri" panose="020F0502020204030204" pitchFamily="34" charset="0"/>
              <a:cs typeface="Arial" charset="0"/>
            </a:endParaRPr>
          </a:p>
        </p:txBody>
      </p:sp>
      <p:grpSp>
        <p:nvGrpSpPr>
          <p:cNvPr id="111" name="Group 110"/>
          <p:cNvGrpSpPr/>
          <p:nvPr/>
        </p:nvGrpSpPr>
        <p:grpSpPr>
          <a:xfrm>
            <a:off x="2357246" y="5107570"/>
            <a:ext cx="565326" cy="165787"/>
            <a:chOff x="2204432" y="5090329"/>
            <a:chExt cx="612437" cy="179603"/>
          </a:xfrm>
        </p:grpSpPr>
        <p:sp>
          <p:nvSpPr>
            <p:cNvPr id="112" name="Freihandform 50"/>
            <p:cNvSpPr/>
            <p:nvPr/>
          </p:nvSpPr>
          <p:spPr>
            <a:xfrm rot="224175">
              <a:off x="2204432" y="5162018"/>
              <a:ext cx="600577" cy="45719"/>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0000 h 10000"/>
                <a:gd name="connsiteX1" fmla="*/ 10000 w 10000"/>
                <a:gd name="connsiteY1" fmla="*/ 0 h 10000"/>
                <a:gd name="connsiteX0" fmla="*/ 0 w 10000"/>
                <a:gd name="connsiteY0" fmla="*/ 10000 h 10000"/>
                <a:gd name="connsiteX1" fmla="*/ 10000 w 10000"/>
                <a:gd name="connsiteY1" fmla="*/ 0 h 10000"/>
              </a:gdLst>
              <a:ahLst/>
              <a:cxnLst>
                <a:cxn ang="0">
                  <a:pos x="connsiteX0" y="connsiteY0"/>
                </a:cxn>
                <a:cxn ang="0">
                  <a:pos x="connsiteX1" y="connsiteY1"/>
                </a:cxn>
              </a:cxnLst>
              <a:rect l="l" t="t" r="r" b="b"/>
              <a:pathLst>
                <a:path w="10000" h="10000">
                  <a:moveTo>
                    <a:pt x="0" y="10000"/>
                  </a:moveTo>
                  <a:cubicBezTo>
                    <a:pt x="3501" y="9958"/>
                    <a:pt x="5938" y="6625"/>
                    <a:pt x="10000" y="0"/>
                  </a:cubicBezTo>
                </a:path>
              </a:pathLst>
            </a:custGeom>
            <a:noFill/>
            <a:ln w="25400" cap="rnd" algn="ctr">
              <a:solidFill>
                <a:srgbClr val="00B050">
                  <a:alpha val="59000"/>
                </a:srgbClr>
              </a:solidFill>
              <a:prstDash val="sysDash"/>
              <a:round/>
              <a:headEnd/>
              <a:tailEnd/>
            </a:ln>
          </p:spPr>
          <p:txBody>
            <a:bodyPr wrap="none" lIns="83058" tIns="43190" rIns="83058" bIns="43190"/>
            <a:lstStyle/>
            <a:p>
              <a:pPr defTabSz="844083" eaLnBrk="1" hangingPunct="1">
                <a:spcAft>
                  <a:spcPct val="0"/>
                </a:spcAft>
                <a:defRPr/>
              </a:pPr>
              <a:endParaRPr lang="de-DE" sz="1477" dirty="0">
                <a:solidFill>
                  <a:srgbClr val="000000"/>
                </a:solidFill>
                <a:latin typeface="Calibri" panose="020F0502020204030204" pitchFamily="34" charset="0"/>
                <a:cs typeface="Arial" charset="0"/>
              </a:endParaRPr>
            </a:p>
          </p:txBody>
        </p:sp>
        <p:sp>
          <p:nvSpPr>
            <p:cNvPr id="113" name="Freihandform 50"/>
            <p:cNvSpPr/>
            <p:nvPr/>
          </p:nvSpPr>
          <p:spPr>
            <a:xfrm rot="21054672">
              <a:off x="2211858" y="5224213"/>
              <a:ext cx="600576" cy="45719"/>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0000 h 10000"/>
                <a:gd name="connsiteX1" fmla="*/ 10000 w 10000"/>
                <a:gd name="connsiteY1" fmla="*/ 0 h 10000"/>
                <a:gd name="connsiteX0" fmla="*/ 0 w 10000"/>
                <a:gd name="connsiteY0" fmla="*/ 10000 h 10000"/>
                <a:gd name="connsiteX1" fmla="*/ 10000 w 10000"/>
                <a:gd name="connsiteY1" fmla="*/ 0 h 10000"/>
                <a:gd name="connsiteX0" fmla="*/ 0 w 10000"/>
                <a:gd name="connsiteY0" fmla="*/ 10643 h 10643"/>
                <a:gd name="connsiteX1" fmla="*/ 10000 w 10000"/>
                <a:gd name="connsiteY1" fmla="*/ 643 h 10643"/>
                <a:gd name="connsiteX0" fmla="*/ 0 w 10000"/>
                <a:gd name="connsiteY0" fmla="*/ 11318 h 11318"/>
                <a:gd name="connsiteX1" fmla="*/ 10000 w 10000"/>
                <a:gd name="connsiteY1" fmla="*/ 1318 h 11318"/>
              </a:gdLst>
              <a:ahLst/>
              <a:cxnLst>
                <a:cxn ang="0">
                  <a:pos x="connsiteX0" y="connsiteY0"/>
                </a:cxn>
                <a:cxn ang="0">
                  <a:pos x="connsiteX1" y="connsiteY1"/>
                </a:cxn>
              </a:cxnLst>
              <a:rect l="l" t="t" r="r" b="b"/>
              <a:pathLst>
                <a:path w="10000" h="11318">
                  <a:moveTo>
                    <a:pt x="0" y="11318"/>
                  </a:moveTo>
                  <a:cubicBezTo>
                    <a:pt x="3951" y="2027"/>
                    <a:pt x="5808" y="-2409"/>
                    <a:pt x="10000" y="1318"/>
                  </a:cubicBezTo>
                </a:path>
              </a:pathLst>
            </a:custGeom>
            <a:noFill/>
            <a:ln w="25400" cap="rnd" algn="ctr">
              <a:solidFill>
                <a:srgbClr val="00B050">
                  <a:alpha val="59000"/>
                </a:srgbClr>
              </a:solidFill>
              <a:prstDash val="sysDash"/>
              <a:round/>
              <a:headEnd/>
              <a:tailEnd/>
            </a:ln>
          </p:spPr>
          <p:txBody>
            <a:bodyPr wrap="none" lIns="83058" tIns="43190" rIns="83058" bIns="43190"/>
            <a:lstStyle/>
            <a:p>
              <a:pPr defTabSz="844083" eaLnBrk="1" hangingPunct="1">
                <a:spcAft>
                  <a:spcPct val="0"/>
                </a:spcAft>
                <a:defRPr/>
              </a:pPr>
              <a:endParaRPr lang="de-DE" sz="1477" dirty="0">
                <a:solidFill>
                  <a:srgbClr val="000000"/>
                </a:solidFill>
                <a:latin typeface="Calibri" panose="020F0502020204030204" pitchFamily="34" charset="0"/>
                <a:cs typeface="Arial" charset="0"/>
              </a:endParaRPr>
            </a:p>
          </p:txBody>
        </p:sp>
        <p:sp>
          <p:nvSpPr>
            <p:cNvPr id="114" name="Freihandform 50"/>
            <p:cNvSpPr/>
            <p:nvPr/>
          </p:nvSpPr>
          <p:spPr>
            <a:xfrm rot="1088803">
              <a:off x="2216292" y="5090329"/>
              <a:ext cx="600577" cy="60275"/>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0000 h 10000"/>
                <a:gd name="connsiteX1" fmla="*/ 10000 w 10000"/>
                <a:gd name="connsiteY1" fmla="*/ 0 h 10000"/>
                <a:gd name="connsiteX0" fmla="*/ 0 w 10000"/>
                <a:gd name="connsiteY0" fmla="*/ 10000 h 10000"/>
                <a:gd name="connsiteX1" fmla="*/ 10000 w 10000"/>
                <a:gd name="connsiteY1" fmla="*/ 0 h 10000"/>
                <a:gd name="connsiteX0" fmla="*/ 0 w 10000"/>
                <a:gd name="connsiteY0" fmla="*/ 10000 h 15047"/>
                <a:gd name="connsiteX1" fmla="*/ 10000 w 10000"/>
                <a:gd name="connsiteY1" fmla="*/ 0 h 15047"/>
                <a:gd name="connsiteX0" fmla="*/ 0 w 10000"/>
                <a:gd name="connsiteY0" fmla="*/ 10000 h 17401"/>
                <a:gd name="connsiteX1" fmla="*/ 10000 w 10000"/>
                <a:gd name="connsiteY1" fmla="*/ 0 h 17401"/>
              </a:gdLst>
              <a:ahLst/>
              <a:cxnLst>
                <a:cxn ang="0">
                  <a:pos x="connsiteX0" y="connsiteY0"/>
                </a:cxn>
                <a:cxn ang="0">
                  <a:pos x="connsiteX1" y="connsiteY1"/>
                </a:cxn>
              </a:cxnLst>
              <a:rect l="l" t="t" r="r" b="b"/>
              <a:pathLst>
                <a:path w="10000" h="17401">
                  <a:moveTo>
                    <a:pt x="0" y="10000"/>
                  </a:moveTo>
                  <a:cubicBezTo>
                    <a:pt x="3575" y="23398"/>
                    <a:pt x="5829" y="17739"/>
                    <a:pt x="10000" y="0"/>
                  </a:cubicBezTo>
                </a:path>
              </a:pathLst>
            </a:custGeom>
            <a:noFill/>
            <a:ln w="25400" cap="rnd" algn="ctr">
              <a:solidFill>
                <a:srgbClr val="00B050">
                  <a:alpha val="59000"/>
                </a:srgbClr>
              </a:solidFill>
              <a:prstDash val="sysDash"/>
              <a:round/>
              <a:headEnd/>
              <a:tailEnd/>
            </a:ln>
          </p:spPr>
          <p:txBody>
            <a:bodyPr wrap="none" lIns="83058" tIns="43190" rIns="83058" bIns="43190"/>
            <a:lstStyle/>
            <a:p>
              <a:pPr defTabSz="844083" eaLnBrk="1" hangingPunct="1">
                <a:spcAft>
                  <a:spcPct val="0"/>
                </a:spcAft>
                <a:defRPr/>
              </a:pPr>
              <a:endParaRPr lang="de-DE" sz="1477" dirty="0">
                <a:solidFill>
                  <a:srgbClr val="000000"/>
                </a:solidFill>
                <a:latin typeface="Calibri" panose="020F0502020204030204" pitchFamily="34" charset="0"/>
                <a:cs typeface="Arial" charset="0"/>
              </a:endParaRPr>
            </a:p>
          </p:txBody>
        </p:sp>
      </p:grpSp>
      <p:pic>
        <p:nvPicPr>
          <p:cNvPr id="28"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3276260" y="3564358"/>
            <a:ext cx="1810326" cy="1557330"/>
          </a:xfrm>
          <a:prstGeom prst="rect">
            <a:avLst/>
          </a:prstGeom>
          <a:noFill/>
          <a:extLst>
            <a:ext uri="{909E8E84-426E-40DD-AFC4-6F175D3DCCD1}">
              <a14:hiddenFill xmlns:a14="http://schemas.microsoft.com/office/drawing/2010/main">
                <a:solidFill>
                  <a:srgbClr val="FFFFFF"/>
                </a:solidFill>
              </a14:hiddenFill>
            </a:ext>
          </a:extLst>
        </p:spPr>
      </p:pic>
      <p:cxnSp>
        <p:nvCxnSpPr>
          <p:cNvPr id="102" name="Gerade Verbindung 114"/>
          <p:cNvCxnSpPr>
            <a:cxnSpLocks noChangeShapeType="1"/>
          </p:cNvCxnSpPr>
          <p:nvPr/>
        </p:nvCxnSpPr>
        <p:spPr bwMode="auto">
          <a:xfrm>
            <a:off x="4169308" y="2066193"/>
            <a:ext cx="0" cy="3926562"/>
          </a:xfrm>
          <a:prstGeom prst="line">
            <a:avLst/>
          </a:prstGeom>
          <a:noFill/>
          <a:ln w="12700" cap="rnd" algn="ctr">
            <a:solidFill>
              <a:schemeClr val="tx1"/>
            </a:solidFill>
            <a:prstDash val="dash"/>
            <a:round/>
            <a:headEnd/>
            <a:tailEnd/>
          </a:ln>
        </p:spPr>
      </p:cxnSp>
      <p:cxnSp>
        <p:nvCxnSpPr>
          <p:cNvPr id="107" name="Gerade Verbindung mit Pfeil 6"/>
          <p:cNvCxnSpPr>
            <a:cxnSpLocks noChangeShapeType="1"/>
          </p:cNvCxnSpPr>
          <p:nvPr/>
        </p:nvCxnSpPr>
        <p:spPr bwMode="auto">
          <a:xfrm flipV="1">
            <a:off x="1904408" y="2066194"/>
            <a:ext cx="0" cy="3705959"/>
          </a:xfrm>
          <a:prstGeom prst="straightConnector1">
            <a:avLst/>
          </a:prstGeom>
          <a:noFill/>
          <a:ln w="12700" cap="rnd" algn="ctr">
            <a:solidFill>
              <a:schemeClr val="tx1"/>
            </a:solidFill>
            <a:round/>
            <a:headEnd/>
            <a:tailEnd type="triangle" w="med" len="med"/>
          </a:ln>
        </p:spPr>
      </p:cxnSp>
      <p:sp>
        <p:nvSpPr>
          <p:cNvPr id="29" name="Kritische Entscheidungszone"/>
          <p:cNvSpPr txBox="1">
            <a:spLocks noChangeArrowheads="1"/>
          </p:cNvSpPr>
          <p:nvPr/>
        </p:nvSpPr>
        <p:spPr bwMode="auto">
          <a:xfrm>
            <a:off x="4519677" y="4608830"/>
            <a:ext cx="2385607" cy="539581"/>
          </a:xfrm>
          <a:prstGeom prst="rect">
            <a:avLst/>
          </a:prstGeom>
          <a:noFill/>
          <a:ln w="9525">
            <a:noFill/>
            <a:miter lim="800000"/>
            <a:headEnd/>
            <a:tailEnd/>
          </a:ln>
        </p:spPr>
        <p:txBody>
          <a:bodyPr wrap="none" lIns="84146" tIns="42074" rIns="84146" bIns="42074">
            <a:spAutoFit/>
          </a:bodyPr>
          <a:lstStyle>
            <a:defPPr>
              <a:defRPr lang="de-DE"/>
            </a:defPPr>
            <a:lvl1pPr>
              <a:spcAft>
                <a:spcPct val="0"/>
              </a:spcAft>
              <a:defRPr sz="1500">
                <a:solidFill>
                  <a:srgbClr val="E20000"/>
                </a:solidFill>
              </a:defRPr>
            </a:lvl1pPr>
          </a:lstStyle>
          <a:p>
            <a:pPr defTabSz="844083" eaLnBrk="1" hangingPunct="1">
              <a:defRPr/>
            </a:pPr>
            <a:r>
              <a:rPr lang="de-DE" sz="1477" b="1" dirty="0">
                <a:solidFill>
                  <a:srgbClr val="E62614"/>
                </a:solidFill>
                <a:latin typeface="Calibri" panose="020F0502020204030204" pitchFamily="34" charset="0"/>
                <a:cs typeface="Arial" charset="0"/>
              </a:rPr>
              <a:t>Kritische</a:t>
            </a:r>
            <a:r>
              <a:rPr lang="de-DE" sz="1477" b="1" dirty="0">
                <a:gradFill flip="none" rotWithShape="1">
                  <a:gsLst>
                    <a:gs pos="0">
                      <a:srgbClr val="4AD378"/>
                    </a:gs>
                    <a:gs pos="50000">
                      <a:srgbClr val="CED6BD"/>
                    </a:gs>
                    <a:gs pos="100000">
                      <a:srgbClr val="E62614"/>
                    </a:gs>
                  </a:gsLst>
                  <a:lin ang="2700000" scaled="1"/>
                  <a:tileRect/>
                </a:gradFill>
                <a:latin typeface="Calibri" panose="020F0502020204030204" pitchFamily="34" charset="0"/>
                <a:cs typeface="Arial" charset="0"/>
              </a:rPr>
              <a:t> </a:t>
            </a:r>
            <a:r>
              <a:rPr lang="de-DE" sz="1477" b="1" dirty="0">
                <a:gradFill flip="none" rotWithShape="1">
                  <a:gsLst>
                    <a:gs pos="32000">
                      <a:srgbClr val="00B050"/>
                    </a:gs>
                    <a:gs pos="41000">
                      <a:srgbClr val="A2625C"/>
                    </a:gs>
                    <a:gs pos="50000">
                      <a:srgbClr val="FF0000"/>
                    </a:gs>
                  </a:gsLst>
                  <a:lin ang="14400000" scaled="0"/>
                  <a:tileRect/>
                </a:gradFill>
                <a:latin typeface="Calibri" panose="020F0502020204030204" pitchFamily="34" charset="0"/>
                <a:cs typeface="Arial" charset="0"/>
              </a:rPr>
              <a:t>Entscheidungszone</a:t>
            </a:r>
            <a:r>
              <a:rPr lang="de-DE" sz="1477" b="1" dirty="0">
                <a:gradFill flip="none" rotWithShape="1">
                  <a:gsLst>
                    <a:gs pos="0">
                      <a:srgbClr val="4AD378"/>
                    </a:gs>
                    <a:gs pos="50000">
                      <a:srgbClr val="CED6BD"/>
                    </a:gs>
                    <a:gs pos="100000">
                      <a:srgbClr val="E62614"/>
                    </a:gs>
                  </a:gsLst>
                  <a:lin ang="2700000" scaled="1"/>
                  <a:tileRect/>
                </a:gradFill>
                <a:latin typeface="Calibri" panose="020F0502020204030204" pitchFamily="34" charset="0"/>
                <a:cs typeface="Arial" charset="0"/>
              </a:rPr>
              <a:t/>
            </a:r>
            <a:br>
              <a:rPr lang="de-DE" sz="1477" b="1" dirty="0">
                <a:gradFill flip="none" rotWithShape="1">
                  <a:gsLst>
                    <a:gs pos="0">
                      <a:srgbClr val="4AD378"/>
                    </a:gs>
                    <a:gs pos="50000">
                      <a:srgbClr val="CED6BD"/>
                    </a:gs>
                    <a:gs pos="100000">
                      <a:srgbClr val="E62614"/>
                    </a:gs>
                  </a:gsLst>
                  <a:lin ang="2700000" scaled="1"/>
                  <a:tileRect/>
                </a:gradFill>
                <a:latin typeface="Calibri" panose="020F0502020204030204" pitchFamily="34" charset="0"/>
                <a:cs typeface="Arial" charset="0"/>
              </a:rPr>
            </a:br>
            <a:r>
              <a:rPr lang="de-DE" sz="1477" b="1" dirty="0">
                <a:gradFill flip="none" rotWithShape="1">
                  <a:gsLst>
                    <a:gs pos="55000">
                      <a:srgbClr val="15935A"/>
                    </a:gs>
                    <a:gs pos="65000">
                      <a:srgbClr val="A2625C"/>
                    </a:gs>
                    <a:gs pos="73000">
                      <a:srgbClr val="E62614"/>
                    </a:gs>
                  </a:gsLst>
                  <a:lin ang="14400000" scaled="0"/>
                  <a:tileRect/>
                </a:gradFill>
                <a:latin typeface="Calibri" panose="020F0502020204030204" pitchFamily="34" charset="0"/>
                <a:cs typeface="Arial" charset="0"/>
              </a:rPr>
              <a:t>Verlagerung</a:t>
            </a:r>
            <a:r>
              <a:rPr lang="de-DE" sz="1477" b="1" dirty="0">
                <a:gradFill flip="none" rotWithShape="1">
                  <a:gsLst>
                    <a:gs pos="0">
                      <a:srgbClr val="4AD378"/>
                    </a:gs>
                    <a:gs pos="50000">
                      <a:srgbClr val="CED6BD"/>
                    </a:gs>
                    <a:gs pos="100000">
                      <a:srgbClr val="E62614"/>
                    </a:gs>
                  </a:gsLst>
                  <a:lin ang="2700000" scaled="1"/>
                  <a:tileRect/>
                </a:gradFill>
                <a:latin typeface="Calibri" panose="020F0502020204030204" pitchFamily="34" charset="0"/>
                <a:cs typeface="Arial" charset="0"/>
              </a:rPr>
              <a:t> </a:t>
            </a:r>
            <a:r>
              <a:rPr lang="de-DE" sz="1477" b="1" dirty="0">
                <a:solidFill>
                  <a:srgbClr val="00B050"/>
                </a:solidFill>
                <a:latin typeface="Calibri" panose="020F0502020204030204" pitchFamily="34" charset="0"/>
                <a:cs typeface="Arial" charset="0"/>
              </a:rPr>
              <a:t>von</a:t>
            </a:r>
            <a:r>
              <a:rPr lang="de-DE" sz="1477" b="1" dirty="0">
                <a:gradFill flip="none" rotWithShape="1">
                  <a:gsLst>
                    <a:gs pos="0">
                      <a:srgbClr val="4AD378"/>
                    </a:gs>
                    <a:gs pos="50000">
                      <a:srgbClr val="CED6BD"/>
                    </a:gs>
                    <a:gs pos="100000">
                      <a:srgbClr val="E62614"/>
                    </a:gs>
                  </a:gsLst>
                  <a:lin ang="2700000" scaled="1"/>
                  <a:tileRect/>
                </a:gradFill>
                <a:latin typeface="Calibri" panose="020F0502020204030204" pitchFamily="34" charset="0"/>
                <a:cs typeface="Arial" charset="0"/>
              </a:rPr>
              <a:t> </a:t>
            </a:r>
            <a:r>
              <a:rPr lang="de-DE" sz="1477" b="1" dirty="0">
                <a:solidFill>
                  <a:srgbClr val="00B050"/>
                </a:solidFill>
                <a:latin typeface="Calibri" panose="020F0502020204030204" pitchFamily="34" charset="0"/>
                <a:cs typeface="Arial" charset="0"/>
              </a:rPr>
              <a:t>Ressourcen</a:t>
            </a:r>
          </a:p>
        </p:txBody>
      </p:sp>
      <p:sp>
        <p:nvSpPr>
          <p:cNvPr id="30" name="Abgerundetes Rechteck 29"/>
          <p:cNvSpPr/>
          <p:nvPr/>
        </p:nvSpPr>
        <p:spPr bwMode="auto">
          <a:xfrm rot="21030533">
            <a:off x="2235366" y="2008163"/>
            <a:ext cx="599772" cy="260309"/>
          </a:xfrm>
          <a:prstGeom prst="roundRect">
            <a:avLst>
              <a:gd name="adj" fmla="val 50000"/>
            </a:avLst>
          </a:prstGeom>
          <a:solidFill>
            <a:srgbClr val="FFFF00"/>
          </a:solidFill>
          <a:ln w="9525" cap="flat" cmpd="sng" algn="ctr">
            <a:solidFill>
              <a:schemeClr val="accent4"/>
            </a:solidFill>
            <a:prstDash val="solid"/>
            <a:round/>
            <a:headEnd type="none" w="med" len="med"/>
            <a:tailEnd type="none" w="med" len="med"/>
          </a:ln>
          <a:effectLst/>
        </p:spPr>
        <p:txBody>
          <a:bodyPr vert="horz" wrap="square" lIns="33231" tIns="43200" rIns="33231" bIns="43200" numCol="1" rtlCol="0" anchor="ctr" anchorCtr="0" compatLnSpc="1">
            <a:prstTxWarp prst="textNoShape">
              <a:avLst/>
            </a:prstTxWarp>
          </a:bodyPr>
          <a:lstStyle/>
          <a:p>
            <a:pPr algn="ctr" defTabSz="844083">
              <a:spcBef>
                <a:spcPts val="0"/>
              </a:spcBef>
              <a:spcAft>
                <a:spcPts val="0"/>
              </a:spcAft>
              <a:defRPr/>
            </a:pPr>
            <a:r>
              <a:rPr lang="de-DE" sz="1108" dirty="0" err="1">
                <a:solidFill>
                  <a:srgbClr val="000000"/>
                </a:solidFill>
                <a:latin typeface="Calibri"/>
              </a:rPr>
              <a:t>click</a:t>
            </a:r>
            <a:r>
              <a:rPr lang="de-DE" sz="1108" dirty="0">
                <a:solidFill>
                  <a:srgbClr val="000000"/>
                </a:solidFill>
                <a:latin typeface="Calibri"/>
              </a:rPr>
              <a:t> </a:t>
            </a:r>
            <a:endParaRPr lang="de-CH" sz="1108" dirty="0" err="1">
              <a:solidFill>
                <a:srgbClr val="000000"/>
              </a:solidFill>
              <a:latin typeface="Calibri"/>
            </a:endParaRPr>
          </a:p>
        </p:txBody>
      </p:sp>
      <p:sp>
        <p:nvSpPr>
          <p:cNvPr id="31" name="Abgerundetes Rechteck 87">
            <a:hlinkClick r:id="rId4" action="ppaction://hlinksldjump"/>
          </p:cNvPr>
          <p:cNvSpPr/>
          <p:nvPr/>
        </p:nvSpPr>
        <p:spPr bwMode="auto">
          <a:xfrm>
            <a:off x="4604077" y="360486"/>
            <a:ext cx="697846" cy="232615"/>
          </a:xfrm>
          <a:prstGeom prst="roundRect">
            <a:avLst/>
          </a:prstGeom>
          <a:solidFill>
            <a:schemeClr val="accent6">
              <a:lumMod val="20000"/>
              <a:lumOff val="80000"/>
            </a:schemeClr>
          </a:solidFill>
          <a:ln w="9525" cap="flat" cmpd="sng" algn="ctr">
            <a:solidFill>
              <a:schemeClr val="accent4"/>
            </a:solidFill>
            <a:prstDash val="solid"/>
            <a:round/>
            <a:headEnd type="none" w="med" len="med"/>
            <a:tailEnd type="none" w="med" len="med"/>
          </a:ln>
          <a:effectLst/>
        </p:spPr>
        <p:txBody>
          <a:bodyPr vert="horz" wrap="square" lIns="83077" tIns="43200" rIns="83077" bIns="43200" numCol="1" rtlCol="0" anchor="ctr" anchorCtr="0" compatLnSpc="1">
            <a:prstTxWarp prst="textNoShape">
              <a:avLst/>
            </a:prstTxWarp>
          </a:bodyPr>
          <a:lstStyle/>
          <a:p>
            <a:pPr algn="ctr" defTabSz="844083">
              <a:defRPr/>
            </a:pPr>
            <a:r>
              <a:rPr lang="de-DE" sz="738" dirty="0">
                <a:solidFill>
                  <a:srgbClr val="000000"/>
                </a:solidFill>
                <a:latin typeface="Arial"/>
                <a:cs typeface="Arial" charset="0"/>
              </a:rPr>
              <a:t>Ohne</a:t>
            </a:r>
            <a:br>
              <a:rPr lang="de-DE" sz="738" dirty="0">
                <a:solidFill>
                  <a:srgbClr val="000000"/>
                </a:solidFill>
                <a:latin typeface="Arial"/>
                <a:cs typeface="Arial" charset="0"/>
              </a:rPr>
            </a:br>
            <a:r>
              <a:rPr lang="de-DE" sz="738" dirty="0">
                <a:solidFill>
                  <a:srgbClr val="000000"/>
                </a:solidFill>
                <a:latin typeface="Arial"/>
                <a:cs typeface="Arial" charset="0"/>
              </a:rPr>
              <a:t>Animation</a:t>
            </a:r>
          </a:p>
        </p:txBody>
      </p:sp>
    </p:spTree>
    <p:extLst>
      <p:ext uri="{BB962C8B-B14F-4D97-AF65-F5344CB8AC3E}">
        <p14:creationId xmlns:p14="http://schemas.microsoft.com/office/powerpoint/2010/main" val="318465514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wipe(left)">
                                      <p:cBhvr>
                                        <p:cTn id="7" dur="2000"/>
                                        <p:tgtEl>
                                          <p:spTgt spid="103"/>
                                        </p:tgtEl>
                                      </p:cBhvr>
                                    </p:animEffect>
                                  </p:childTnLst>
                                </p:cTn>
                              </p:par>
                              <p:par>
                                <p:cTn id="8" presetID="10" presetClass="entr" presetSubtype="0" fill="hold" grpId="0" nodeType="withEffect">
                                  <p:stCondLst>
                                    <p:cond delay="1500"/>
                                  </p:stCondLst>
                                  <p:childTnLst>
                                    <p:set>
                                      <p:cBhvr>
                                        <p:cTn id="9" dur="1" fill="hold">
                                          <p:stCondLst>
                                            <p:cond delay="0"/>
                                          </p:stCondLst>
                                        </p:cTn>
                                        <p:tgtEl>
                                          <p:spTgt spid="94"/>
                                        </p:tgtEl>
                                        <p:attrNameLst>
                                          <p:attrName>style.visibility</p:attrName>
                                        </p:attrNameLst>
                                      </p:cBhvr>
                                      <p:to>
                                        <p:strVal val="visible"/>
                                      </p:to>
                                    </p:set>
                                    <p:animEffect transition="in" filter="fade">
                                      <p:cBhvr>
                                        <p:cTn id="10" dur="1400"/>
                                        <p:tgtEl>
                                          <p:spTgt spid="9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111"/>
                                        </p:tgtEl>
                                        <p:attrNameLst>
                                          <p:attrName>style.visibility</p:attrName>
                                        </p:attrNameLst>
                                      </p:cBhvr>
                                      <p:to>
                                        <p:strVal val="visible"/>
                                      </p:to>
                                    </p:set>
                                    <p:animEffect transition="in" filter="wipe(left)">
                                      <p:cBhvr>
                                        <p:cTn id="15" dur="1500"/>
                                        <p:tgtEl>
                                          <p:spTgt spid="111"/>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110"/>
                                        </p:tgtEl>
                                        <p:attrNameLst>
                                          <p:attrName>style.visibility</p:attrName>
                                        </p:attrNameLst>
                                      </p:cBhvr>
                                      <p:to>
                                        <p:strVal val="visible"/>
                                      </p:to>
                                    </p:set>
                                    <p:animEffect transition="in" filter="wipe(left)">
                                      <p:cBhvr>
                                        <p:cTn id="19" dur="2000"/>
                                        <p:tgtEl>
                                          <p:spTgt spid="110"/>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93"/>
                                        </p:tgtEl>
                                        <p:attrNameLst>
                                          <p:attrName>style.visibility</p:attrName>
                                        </p:attrNameLst>
                                      </p:cBhvr>
                                      <p:to>
                                        <p:strVal val="visible"/>
                                      </p:to>
                                    </p:set>
                                    <p:animEffect transition="in" filter="fade">
                                      <p:cBhvr>
                                        <p:cTn id="22" dur="1400"/>
                                        <p:tgtEl>
                                          <p:spTgt spid="9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1"/>
                                        </p:tgtEl>
                                        <p:attrNameLst>
                                          <p:attrName>style.visibility</p:attrName>
                                        </p:attrNameLst>
                                      </p:cBhvr>
                                      <p:to>
                                        <p:strVal val="visible"/>
                                      </p:to>
                                    </p:set>
                                    <p:animEffect transition="in" filter="fade">
                                      <p:cBhvr>
                                        <p:cTn id="27" dur="2000"/>
                                        <p:tgtEl>
                                          <p:spTgt spid="101"/>
                                        </p:tgtEl>
                                      </p:cBhvr>
                                    </p:animEffect>
                                  </p:childTnLst>
                                </p:cTn>
                              </p:par>
                              <p:par>
                                <p:cTn id="28" presetID="10" presetClass="entr" presetSubtype="0" fill="hold" grpId="0" nodeType="withEffect">
                                  <p:stCondLst>
                                    <p:cond delay="90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1100"/>
                                        <p:tgtEl>
                                          <p:spTgt spid="2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02"/>
                                        </p:tgtEl>
                                        <p:attrNameLst>
                                          <p:attrName>style.visibility</p:attrName>
                                        </p:attrNameLst>
                                      </p:cBhvr>
                                      <p:to>
                                        <p:strVal val="visible"/>
                                      </p:to>
                                    </p:set>
                                    <p:animEffect transition="in" filter="fade">
                                      <p:cBhvr>
                                        <p:cTn id="35" dur="500"/>
                                        <p:tgtEl>
                                          <p:spTgt spid="10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97"/>
                                        </p:tgtEl>
                                        <p:attrNameLst>
                                          <p:attrName>style.visibility</p:attrName>
                                        </p:attrNameLst>
                                      </p:cBhvr>
                                      <p:to>
                                        <p:strVal val="visible"/>
                                      </p:to>
                                    </p:set>
                                    <p:animEffect transition="in" filter="fade">
                                      <p:cBhvr>
                                        <p:cTn id="38" dur="500"/>
                                        <p:tgtEl>
                                          <p:spTgt spid="97"/>
                                        </p:tgtEl>
                                      </p:cBhvr>
                                    </p:animEffect>
                                  </p:childTnLst>
                                </p:cTn>
                              </p:par>
                              <p:par>
                                <p:cTn id="39" presetID="22" presetClass="entr" presetSubtype="2" fill="hold" nodeType="withEffect">
                                  <p:stCondLst>
                                    <p:cond delay="100"/>
                                  </p:stCondLst>
                                  <p:childTnLst>
                                    <p:set>
                                      <p:cBhvr>
                                        <p:cTn id="40" dur="1" fill="hold">
                                          <p:stCondLst>
                                            <p:cond delay="0"/>
                                          </p:stCondLst>
                                        </p:cTn>
                                        <p:tgtEl>
                                          <p:spTgt spid="100"/>
                                        </p:tgtEl>
                                        <p:attrNameLst>
                                          <p:attrName>style.visibility</p:attrName>
                                        </p:attrNameLst>
                                      </p:cBhvr>
                                      <p:to>
                                        <p:strVal val="visible"/>
                                      </p:to>
                                    </p:set>
                                    <p:animEffect transition="in" filter="wipe(right)">
                                      <p:cBhvr>
                                        <p:cTn id="41" dur="500"/>
                                        <p:tgtEl>
                                          <p:spTgt spid="100"/>
                                        </p:tgtEl>
                                      </p:cBhvr>
                                    </p:animEffect>
                                  </p:childTnLst>
                                </p:cTn>
                              </p:par>
                              <p:par>
                                <p:cTn id="42" presetID="10" presetClass="entr" presetSubtype="0" fill="hold" grpId="0" nodeType="withEffect">
                                  <p:stCondLst>
                                    <p:cond delay="200"/>
                                  </p:stCondLst>
                                  <p:childTnLst>
                                    <p:set>
                                      <p:cBhvr>
                                        <p:cTn id="43" dur="1" fill="hold">
                                          <p:stCondLst>
                                            <p:cond delay="0"/>
                                          </p:stCondLst>
                                        </p:cTn>
                                        <p:tgtEl>
                                          <p:spTgt spid="96"/>
                                        </p:tgtEl>
                                        <p:attrNameLst>
                                          <p:attrName>style.visibility</p:attrName>
                                        </p:attrNameLst>
                                      </p:cBhvr>
                                      <p:to>
                                        <p:strVal val="visible"/>
                                      </p:to>
                                    </p:set>
                                    <p:animEffect transition="in" filter="fade">
                                      <p:cBhvr>
                                        <p:cTn id="44" dur="500"/>
                                        <p:tgtEl>
                                          <p:spTgt spid="96"/>
                                        </p:tgtEl>
                                      </p:cBhvr>
                                    </p:animEffect>
                                  </p:childTnLst>
                                </p:cTn>
                              </p:par>
                              <p:par>
                                <p:cTn id="45" presetID="22" presetClass="entr" presetSubtype="8" fill="hold" nodeType="withEffect">
                                  <p:stCondLst>
                                    <p:cond delay="100"/>
                                  </p:stCondLst>
                                  <p:childTnLst>
                                    <p:set>
                                      <p:cBhvr>
                                        <p:cTn id="46" dur="1" fill="hold">
                                          <p:stCondLst>
                                            <p:cond delay="0"/>
                                          </p:stCondLst>
                                        </p:cTn>
                                        <p:tgtEl>
                                          <p:spTgt spid="99"/>
                                        </p:tgtEl>
                                        <p:attrNameLst>
                                          <p:attrName>style.visibility</p:attrName>
                                        </p:attrNameLst>
                                      </p:cBhvr>
                                      <p:to>
                                        <p:strVal val="visible"/>
                                      </p:to>
                                    </p:set>
                                    <p:animEffect transition="in" filter="wipe(left)">
                                      <p:cBhvr>
                                        <p:cTn id="47" dur="500"/>
                                        <p:tgtEl>
                                          <p:spTgt spid="99"/>
                                        </p:tgtEl>
                                      </p:cBhvr>
                                    </p:animEffect>
                                  </p:childTnLst>
                                </p:cTn>
                              </p:par>
                              <p:par>
                                <p:cTn id="48" presetID="10" presetClass="entr" presetSubtype="0" fill="hold" grpId="0" nodeType="withEffect">
                                  <p:stCondLst>
                                    <p:cond delay="200"/>
                                  </p:stCondLst>
                                  <p:childTnLst>
                                    <p:set>
                                      <p:cBhvr>
                                        <p:cTn id="49" dur="1" fill="hold">
                                          <p:stCondLst>
                                            <p:cond delay="0"/>
                                          </p:stCondLst>
                                        </p:cTn>
                                        <p:tgtEl>
                                          <p:spTgt spid="98"/>
                                        </p:tgtEl>
                                        <p:attrNameLst>
                                          <p:attrName>style.visibility</p:attrName>
                                        </p:attrNameLst>
                                      </p:cBhvr>
                                      <p:to>
                                        <p:strVal val="visible"/>
                                      </p:to>
                                    </p:set>
                                    <p:animEffect transition="in" filter="fade">
                                      <p:cBhvr>
                                        <p:cTn id="50"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p:bldP spid="94" grpId="0"/>
      <p:bldP spid="96" grpId="0"/>
      <p:bldP spid="97" grpId="0"/>
      <p:bldP spid="98" grpId="0"/>
      <p:bldP spid="101" grpId="0" animBg="1"/>
      <p:bldP spid="110" grpId="0" animBg="1"/>
      <p:bldP spid="2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el 1"/>
          <p:cNvSpPr>
            <a:spLocks noGrp="1"/>
          </p:cNvSpPr>
          <p:nvPr>
            <p:ph type="title"/>
          </p:nvPr>
        </p:nvSpPr>
        <p:spPr>
          <a:xfrm>
            <a:off x="964223" y="884998"/>
            <a:ext cx="7977554" cy="882288"/>
          </a:xfrm>
        </p:spPr>
        <p:txBody>
          <a:bodyPr/>
          <a:lstStyle/>
          <a:p>
            <a:r>
              <a:rPr lang="de-DE" dirty="0"/>
              <a:t>Die </a:t>
            </a:r>
            <a:r>
              <a:rPr lang="de-DE" dirty="0" err="1"/>
              <a:t>Grosse</a:t>
            </a:r>
            <a:r>
              <a:rPr lang="de-DE" dirty="0"/>
              <a:t> Transformation21.  Das Grundgesetz des Wandels </a:t>
            </a:r>
            <a:br>
              <a:rPr lang="de-DE" dirty="0"/>
            </a:br>
            <a:r>
              <a:rPr lang="de-DE" dirty="0"/>
              <a:t>Von der Alten Welt, die wir kennen, zu einer Neuen Welt</a:t>
            </a:r>
            <a:br>
              <a:rPr lang="de-DE" dirty="0"/>
            </a:br>
            <a:r>
              <a:rPr lang="de-DE" dirty="0"/>
              <a:t>die wir noch nicht kennen. </a:t>
            </a:r>
            <a:r>
              <a:rPr lang="de-DE" dirty="0" smtClean="0"/>
              <a:t>Das Bild des Wandels durch Substitution.</a:t>
            </a:r>
            <a:br>
              <a:rPr lang="de-DE" dirty="0" smtClean="0"/>
            </a:br>
            <a:endParaRPr lang="de-DE" dirty="0"/>
          </a:p>
        </p:txBody>
      </p:sp>
      <p:cxnSp>
        <p:nvCxnSpPr>
          <p:cNvPr id="92" name="Gerade Verbindung mit Pfeil 8"/>
          <p:cNvCxnSpPr>
            <a:cxnSpLocks noChangeShapeType="1"/>
          </p:cNvCxnSpPr>
          <p:nvPr/>
        </p:nvCxnSpPr>
        <p:spPr bwMode="auto">
          <a:xfrm flipV="1">
            <a:off x="1904409" y="5775174"/>
            <a:ext cx="5666387" cy="6"/>
          </a:xfrm>
          <a:prstGeom prst="straightConnector1">
            <a:avLst/>
          </a:prstGeom>
          <a:noFill/>
          <a:ln w="12700" cap="rnd" algn="ctr">
            <a:solidFill>
              <a:schemeClr val="tx1"/>
            </a:solidFill>
            <a:round/>
            <a:headEnd/>
            <a:tailEnd type="triangle" w="med" len="med"/>
          </a:ln>
        </p:spPr>
      </p:cxnSp>
      <p:sp>
        <p:nvSpPr>
          <p:cNvPr id="93" name="Textfeld 53"/>
          <p:cNvSpPr txBox="1">
            <a:spLocks noChangeArrowheads="1"/>
          </p:cNvSpPr>
          <p:nvPr/>
        </p:nvSpPr>
        <p:spPr bwMode="auto">
          <a:xfrm>
            <a:off x="6201643" y="2060579"/>
            <a:ext cx="1803396" cy="511240"/>
          </a:xfrm>
          <a:prstGeom prst="rect">
            <a:avLst/>
          </a:prstGeom>
          <a:noFill/>
          <a:ln w="9525">
            <a:noFill/>
            <a:miter lim="800000"/>
            <a:headEnd/>
            <a:tailEnd/>
          </a:ln>
        </p:spPr>
        <p:txBody>
          <a:bodyPr wrap="none" lIns="84146" tIns="42074" rIns="84146" bIns="42074">
            <a:spAutoFit/>
          </a:bodyPr>
          <a:lstStyle/>
          <a:p>
            <a:pPr defTabSz="844083" eaLnBrk="1" hangingPunct="1">
              <a:spcAft>
                <a:spcPct val="0"/>
              </a:spcAft>
              <a:defRPr/>
            </a:pPr>
            <a:r>
              <a:rPr lang="de-DE" sz="1385" dirty="0">
                <a:solidFill>
                  <a:srgbClr val="009E47"/>
                </a:solidFill>
                <a:latin typeface="Arial"/>
                <a:cs typeface="Arial" charset="0"/>
              </a:rPr>
              <a:t>Grundlagen der </a:t>
            </a:r>
          </a:p>
          <a:p>
            <a:pPr defTabSz="844083" eaLnBrk="1" hangingPunct="1">
              <a:spcAft>
                <a:spcPct val="0"/>
              </a:spcAft>
              <a:defRPr/>
            </a:pPr>
            <a:r>
              <a:rPr lang="de-DE" sz="1385" dirty="0">
                <a:solidFill>
                  <a:srgbClr val="009E47"/>
                </a:solidFill>
                <a:latin typeface="Arial"/>
                <a:cs typeface="Arial" charset="0"/>
              </a:rPr>
              <a:t>zukünftigen Existenz</a:t>
            </a:r>
          </a:p>
        </p:txBody>
      </p:sp>
      <p:sp>
        <p:nvSpPr>
          <p:cNvPr id="94" name="Textfeld 54"/>
          <p:cNvSpPr txBox="1">
            <a:spLocks noChangeArrowheads="1"/>
          </p:cNvSpPr>
          <p:nvPr/>
        </p:nvSpPr>
        <p:spPr bwMode="auto">
          <a:xfrm>
            <a:off x="6065480" y="3538681"/>
            <a:ext cx="2063082" cy="511240"/>
          </a:xfrm>
          <a:prstGeom prst="rect">
            <a:avLst/>
          </a:prstGeom>
          <a:noFill/>
          <a:ln w="9525">
            <a:noFill/>
            <a:miter lim="800000"/>
            <a:headEnd/>
            <a:tailEnd/>
          </a:ln>
        </p:spPr>
        <p:txBody>
          <a:bodyPr wrap="none" lIns="84146" tIns="42074" rIns="84146" bIns="42074">
            <a:spAutoFit/>
          </a:bodyPr>
          <a:lstStyle>
            <a:defPPr>
              <a:defRPr lang="de-DE"/>
            </a:defPPr>
            <a:lvl1pPr>
              <a:spcAft>
                <a:spcPct val="0"/>
              </a:spcAft>
              <a:defRPr sz="1500">
                <a:solidFill>
                  <a:srgbClr val="E20000"/>
                </a:solidFill>
              </a:defRPr>
            </a:lvl1pPr>
          </a:lstStyle>
          <a:p>
            <a:pPr defTabSz="844083" eaLnBrk="1" hangingPunct="1">
              <a:defRPr/>
            </a:pPr>
            <a:r>
              <a:rPr lang="de-DE" sz="1385" dirty="0">
                <a:latin typeface="Arial"/>
                <a:cs typeface="Arial" charset="0"/>
              </a:rPr>
              <a:t>Grundlagen der </a:t>
            </a:r>
          </a:p>
          <a:p>
            <a:pPr defTabSz="844083" eaLnBrk="1" hangingPunct="1">
              <a:defRPr/>
            </a:pPr>
            <a:r>
              <a:rPr lang="de-DE" sz="1385" dirty="0">
                <a:latin typeface="Arial"/>
                <a:cs typeface="Arial" charset="0"/>
              </a:rPr>
              <a:t>gegenwärtigen Existenz</a:t>
            </a:r>
          </a:p>
        </p:txBody>
      </p:sp>
      <p:sp>
        <p:nvSpPr>
          <p:cNvPr id="95" name="Textfeld 57"/>
          <p:cNvSpPr txBox="1">
            <a:spLocks noChangeArrowheads="1"/>
          </p:cNvSpPr>
          <p:nvPr/>
        </p:nvSpPr>
        <p:spPr bwMode="auto">
          <a:xfrm rot="16200000">
            <a:off x="-140943" y="3696631"/>
            <a:ext cx="3776684" cy="298105"/>
          </a:xfrm>
          <a:prstGeom prst="rect">
            <a:avLst/>
          </a:prstGeom>
          <a:noFill/>
          <a:ln w="9525">
            <a:noFill/>
            <a:miter lim="800000"/>
            <a:headEnd/>
            <a:tailEnd/>
          </a:ln>
        </p:spPr>
        <p:txBody>
          <a:bodyPr wrap="none" lIns="0" tIns="42074" rIns="84146" bIns="42074">
            <a:spAutoFit/>
          </a:bodyPr>
          <a:lstStyle/>
          <a:p>
            <a:pPr defTabSz="844083" eaLnBrk="1" hangingPunct="1">
              <a:spcAft>
                <a:spcPct val="0"/>
              </a:spcAft>
              <a:defRPr/>
            </a:pPr>
            <a:r>
              <a:rPr lang="de-DE" sz="1385" dirty="0">
                <a:solidFill>
                  <a:srgbClr val="000000"/>
                </a:solidFill>
                <a:latin typeface="Arial"/>
                <a:cs typeface="Arial" charset="0"/>
              </a:rPr>
              <a:t>Entwicklungsverläufe wichtiger Systemaspekte</a:t>
            </a:r>
          </a:p>
        </p:txBody>
      </p:sp>
      <p:sp>
        <p:nvSpPr>
          <p:cNvPr id="96" name="Textfeld 58"/>
          <p:cNvSpPr txBox="1">
            <a:spLocks noChangeArrowheads="1"/>
          </p:cNvSpPr>
          <p:nvPr/>
        </p:nvSpPr>
        <p:spPr bwMode="auto">
          <a:xfrm>
            <a:off x="2273865" y="5755283"/>
            <a:ext cx="1322302" cy="298105"/>
          </a:xfrm>
          <a:prstGeom prst="rect">
            <a:avLst/>
          </a:prstGeom>
          <a:noFill/>
          <a:ln w="9525">
            <a:noFill/>
            <a:miter lim="800000"/>
            <a:headEnd/>
            <a:tailEnd/>
          </a:ln>
        </p:spPr>
        <p:txBody>
          <a:bodyPr wrap="none" lIns="84146" tIns="42074" rIns="84146" bIns="42074">
            <a:spAutoFit/>
          </a:bodyPr>
          <a:lstStyle/>
          <a:p>
            <a:pPr defTabSz="844083" eaLnBrk="1" hangingPunct="1">
              <a:spcAft>
                <a:spcPct val="0"/>
              </a:spcAft>
              <a:defRPr/>
            </a:pPr>
            <a:r>
              <a:rPr lang="de-DE" sz="1385" dirty="0">
                <a:solidFill>
                  <a:srgbClr val="000000"/>
                </a:solidFill>
                <a:latin typeface="Arial"/>
                <a:cs typeface="Arial" charset="0"/>
              </a:rPr>
              <a:t>Vergangenheit</a:t>
            </a:r>
          </a:p>
        </p:txBody>
      </p:sp>
      <p:sp>
        <p:nvSpPr>
          <p:cNvPr id="97" name="Textfeld 59"/>
          <p:cNvSpPr txBox="1">
            <a:spLocks noChangeArrowheads="1"/>
          </p:cNvSpPr>
          <p:nvPr/>
        </p:nvSpPr>
        <p:spPr bwMode="auto">
          <a:xfrm>
            <a:off x="3865152" y="6022033"/>
            <a:ext cx="646028" cy="298105"/>
          </a:xfrm>
          <a:prstGeom prst="rect">
            <a:avLst/>
          </a:prstGeom>
          <a:noFill/>
          <a:ln w="9525">
            <a:noFill/>
            <a:miter lim="800000"/>
            <a:headEnd/>
            <a:tailEnd/>
          </a:ln>
        </p:spPr>
        <p:txBody>
          <a:bodyPr wrap="none" lIns="84146" tIns="42074" rIns="84146" bIns="42074">
            <a:spAutoFit/>
          </a:bodyPr>
          <a:lstStyle/>
          <a:p>
            <a:pPr defTabSz="844083" eaLnBrk="1" hangingPunct="1">
              <a:spcAft>
                <a:spcPct val="0"/>
              </a:spcAft>
              <a:defRPr/>
            </a:pPr>
            <a:r>
              <a:rPr lang="de-DE" sz="1385" dirty="0">
                <a:solidFill>
                  <a:srgbClr val="000000"/>
                </a:solidFill>
                <a:latin typeface="Arial"/>
                <a:cs typeface="Arial" charset="0"/>
              </a:rPr>
              <a:t>Heute</a:t>
            </a:r>
          </a:p>
        </p:txBody>
      </p:sp>
      <p:sp>
        <p:nvSpPr>
          <p:cNvPr id="98" name="Textfeld 60"/>
          <p:cNvSpPr txBox="1">
            <a:spLocks noChangeArrowheads="1"/>
          </p:cNvSpPr>
          <p:nvPr/>
        </p:nvSpPr>
        <p:spPr bwMode="auto">
          <a:xfrm>
            <a:off x="4764363" y="5755283"/>
            <a:ext cx="764650" cy="298105"/>
          </a:xfrm>
          <a:prstGeom prst="rect">
            <a:avLst/>
          </a:prstGeom>
          <a:noFill/>
          <a:ln w="9525">
            <a:noFill/>
            <a:miter lim="800000"/>
            <a:headEnd/>
            <a:tailEnd/>
          </a:ln>
        </p:spPr>
        <p:txBody>
          <a:bodyPr wrap="none" lIns="84146" tIns="42074" rIns="84146" bIns="42074">
            <a:spAutoFit/>
          </a:bodyPr>
          <a:lstStyle/>
          <a:p>
            <a:pPr defTabSz="844083" eaLnBrk="1" hangingPunct="1">
              <a:spcAft>
                <a:spcPct val="0"/>
              </a:spcAft>
              <a:defRPr/>
            </a:pPr>
            <a:r>
              <a:rPr lang="de-DE" sz="1385" dirty="0">
                <a:solidFill>
                  <a:srgbClr val="000000"/>
                </a:solidFill>
                <a:latin typeface="Arial"/>
                <a:cs typeface="Arial" charset="0"/>
              </a:rPr>
              <a:t>Zukunft</a:t>
            </a:r>
          </a:p>
        </p:txBody>
      </p:sp>
      <p:cxnSp>
        <p:nvCxnSpPr>
          <p:cNvPr id="99" name="Gerade Verbindung mit Pfeil 117"/>
          <p:cNvCxnSpPr>
            <a:cxnSpLocks noChangeShapeType="1"/>
          </p:cNvCxnSpPr>
          <p:nvPr/>
        </p:nvCxnSpPr>
        <p:spPr bwMode="auto">
          <a:xfrm>
            <a:off x="4238542" y="5904305"/>
            <a:ext cx="517874" cy="0"/>
          </a:xfrm>
          <a:prstGeom prst="straightConnector1">
            <a:avLst/>
          </a:prstGeom>
          <a:noFill/>
          <a:ln w="9525" algn="ctr">
            <a:solidFill>
              <a:schemeClr val="tx1"/>
            </a:solidFill>
            <a:round/>
            <a:headEnd/>
            <a:tailEnd type="triangle" w="med" len="med"/>
          </a:ln>
        </p:spPr>
      </p:cxnSp>
      <p:cxnSp>
        <p:nvCxnSpPr>
          <p:cNvPr id="100" name="Gerade Verbindung mit Pfeil 118"/>
          <p:cNvCxnSpPr>
            <a:cxnSpLocks noChangeShapeType="1"/>
          </p:cNvCxnSpPr>
          <p:nvPr/>
        </p:nvCxnSpPr>
        <p:spPr bwMode="auto">
          <a:xfrm flipH="1">
            <a:off x="3581943" y="5904305"/>
            <a:ext cx="517874" cy="0"/>
          </a:xfrm>
          <a:prstGeom prst="straightConnector1">
            <a:avLst/>
          </a:prstGeom>
          <a:noFill/>
          <a:ln w="9525" algn="ctr">
            <a:solidFill>
              <a:schemeClr val="tx1"/>
            </a:solidFill>
            <a:round/>
            <a:headEnd/>
            <a:tailEnd type="triangle" w="med" len="med"/>
          </a:ln>
        </p:spPr>
      </p:cxnSp>
      <p:sp>
        <p:nvSpPr>
          <p:cNvPr id="101" name="Freihandform 54"/>
          <p:cNvSpPr>
            <a:spLocks/>
          </p:cNvSpPr>
          <p:nvPr/>
        </p:nvSpPr>
        <p:spPr bwMode="auto">
          <a:xfrm rot="21396569">
            <a:off x="3201916" y="3673408"/>
            <a:ext cx="1865141" cy="1423204"/>
          </a:xfrm>
          <a:custGeom>
            <a:avLst/>
            <a:gdLst>
              <a:gd name="T0" fmla="*/ 4815 w 1944304"/>
              <a:gd name="T1" fmla="*/ 1019810 h 1090863"/>
              <a:gd name="T2" fmla="*/ 678849 w 1944304"/>
              <a:gd name="T3" fmla="*/ 452179 h 1090863"/>
              <a:gd name="T4" fmla="*/ 1131416 w 1944304"/>
              <a:gd name="T5" fmla="*/ 240521 h 1090863"/>
              <a:gd name="T6" fmla="*/ 1901742 w 1944304"/>
              <a:gd name="T7" fmla="*/ 48104 h 1090863"/>
              <a:gd name="T8" fmla="*/ 1391401 w 1944304"/>
              <a:gd name="T9" fmla="*/ 529147 h 1090863"/>
              <a:gd name="T10" fmla="*/ 707737 w 1944304"/>
              <a:gd name="T11" fmla="*/ 875497 h 1090863"/>
              <a:gd name="T12" fmla="*/ 4815 w 1944304"/>
              <a:gd name="T13" fmla="*/ 1019810 h 1090863"/>
              <a:gd name="T14" fmla="*/ 0 60000 65536"/>
              <a:gd name="T15" fmla="*/ 0 60000 65536"/>
              <a:gd name="T16" fmla="*/ 0 60000 65536"/>
              <a:gd name="T17" fmla="*/ 0 60000 65536"/>
              <a:gd name="T18" fmla="*/ 0 60000 65536"/>
              <a:gd name="T19" fmla="*/ 0 60000 65536"/>
              <a:gd name="T20" fmla="*/ 0 60000 65536"/>
              <a:gd name="connsiteX0" fmla="*/ 39 w 1842839"/>
              <a:gd name="connsiteY0" fmla="*/ 959272 h 981220"/>
              <a:gd name="connsiteX1" fmla="*/ 616799 w 1842839"/>
              <a:gd name="connsiteY1" fmla="*/ 412589 h 981220"/>
              <a:gd name="connsiteX2" fmla="*/ 1069187 w 1842839"/>
              <a:gd name="connsiteY2" fmla="*/ 200833 h 981220"/>
              <a:gd name="connsiteX3" fmla="*/ 1839208 w 1842839"/>
              <a:gd name="connsiteY3" fmla="*/ 8328 h 981220"/>
              <a:gd name="connsiteX4" fmla="*/ 1329069 w 1842839"/>
              <a:gd name="connsiteY4" fmla="*/ 489591 h 981220"/>
              <a:gd name="connsiteX5" fmla="*/ 645675 w 1842839"/>
              <a:gd name="connsiteY5" fmla="*/ 836101 h 981220"/>
              <a:gd name="connsiteX6" fmla="*/ 39 w 1842839"/>
              <a:gd name="connsiteY6" fmla="*/ 959272 h 981220"/>
              <a:gd name="connsiteX0" fmla="*/ 463 w 1843263"/>
              <a:gd name="connsiteY0" fmla="*/ 959272 h 981747"/>
              <a:gd name="connsiteX1" fmla="*/ 617223 w 1843263"/>
              <a:gd name="connsiteY1" fmla="*/ 412589 h 981747"/>
              <a:gd name="connsiteX2" fmla="*/ 1069611 w 1843263"/>
              <a:gd name="connsiteY2" fmla="*/ 200833 h 981747"/>
              <a:gd name="connsiteX3" fmla="*/ 1839632 w 1843263"/>
              <a:gd name="connsiteY3" fmla="*/ 8328 h 981747"/>
              <a:gd name="connsiteX4" fmla="*/ 1329493 w 1843263"/>
              <a:gd name="connsiteY4" fmla="*/ 489591 h 981747"/>
              <a:gd name="connsiteX5" fmla="*/ 719223 w 1843263"/>
              <a:gd name="connsiteY5" fmla="*/ 838859 h 981747"/>
              <a:gd name="connsiteX6" fmla="*/ 463 w 1843263"/>
              <a:gd name="connsiteY6" fmla="*/ 959272 h 981747"/>
              <a:gd name="connsiteX0" fmla="*/ 55759 w 1898559"/>
              <a:gd name="connsiteY0" fmla="*/ 959272 h 960290"/>
              <a:gd name="connsiteX1" fmla="*/ 672519 w 1898559"/>
              <a:gd name="connsiteY1" fmla="*/ 412589 h 960290"/>
              <a:gd name="connsiteX2" fmla="*/ 1124907 w 1898559"/>
              <a:gd name="connsiteY2" fmla="*/ 200833 h 960290"/>
              <a:gd name="connsiteX3" fmla="*/ 1894928 w 1898559"/>
              <a:gd name="connsiteY3" fmla="*/ 8328 h 960290"/>
              <a:gd name="connsiteX4" fmla="*/ 1384789 w 1898559"/>
              <a:gd name="connsiteY4" fmla="*/ 489591 h 960290"/>
              <a:gd name="connsiteX5" fmla="*/ 774519 w 1898559"/>
              <a:gd name="connsiteY5" fmla="*/ 838859 h 960290"/>
              <a:gd name="connsiteX6" fmla="*/ 55759 w 1898559"/>
              <a:gd name="connsiteY6" fmla="*/ 959272 h 960290"/>
              <a:gd name="connsiteX0" fmla="*/ 55759 w 1898559"/>
              <a:gd name="connsiteY0" fmla="*/ 959272 h 960290"/>
              <a:gd name="connsiteX1" fmla="*/ 672519 w 1898559"/>
              <a:gd name="connsiteY1" fmla="*/ 412589 h 960290"/>
              <a:gd name="connsiteX2" fmla="*/ 1124907 w 1898559"/>
              <a:gd name="connsiteY2" fmla="*/ 200833 h 960290"/>
              <a:gd name="connsiteX3" fmla="*/ 1894928 w 1898559"/>
              <a:gd name="connsiteY3" fmla="*/ 8328 h 960290"/>
              <a:gd name="connsiteX4" fmla="*/ 1384789 w 1898559"/>
              <a:gd name="connsiteY4" fmla="*/ 489591 h 960290"/>
              <a:gd name="connsiteX5" fmla="*/ 774519 w 1898559"/>
              <a:gd name="connsiteY5" fmla="*/ 838859 h 960290"/>
              <a:gd name="connsiteX6" fmla="*/ 55759 w 1898559"/>
              <a:gd name="connsiteY6" fmla="*/ 959272 h 960290"/>
              <a:gd name="connsiteX0" fmla="*/ 0 w 1842800"/>
              <a:gd name="connsiteY0" fmla="*/ 959272 h 959272"/>
              <a:gd name="connsiteX1" fmla="*/ 616760 w 1842800"/>
              <a:gd name="connsiteY1" fmla="*/ 412589 h 959272"/>
              <a:gd name="connsiteX2" fmla="*/ 1069148 w 1842800"/>
              <a:gd name="connsiteY2" fmla="*/ 200833 h 959272"/>
              <a:gd name="connsiteX3" fmla="*/ 1839169 w 1842800"/>
              <a:gd name="connsiteY3" fmla="*/ 8328 h 959272"/>
              <a:gd name="connsiteX4" fmla="*/ 1329030 w 1842800"/>
              <a:gd name="connsiteY4" fmla="*/ 489591 h 959272"/>
              <a:gd name="connsiteX5" fmla="*/ 718760 w 1842800"/>
              <a:gd name="connsiteY5" fmla="*/ 838859 h 959272"/>
              <a:gd name="connsiteX6" fmla="*/ 0 w 1842800"/>
              <a:gd name="connsiteY6" fmla="*/ 959272 h 959272"/>
              <a:gd name="connsiteX0" fmla="*/ 0 w 1842800"/>
              <a:gd name="connsiteY0" fmla="*/ 959272 h 959272"/>
              <a:gd name="connsiteX1" fmla="*/ 616760 w 1842800"/>
              <a:gd name="connsiteY1" fmla="*/ 412589 h 959272"/>
              <a:gd name="connsiteX2" fmla="*/ 1069148 w 1842800"/>
              <a:gd name="connsiteY2" fmla="*/ 200833 h 959272"/>
              <a:gd name="connsiteX3" fmla="*/ 1839169 w 1842800"/>
              <a:gd name="connsiteY3" fmla="*/ 8328 h 959272"/>
              <a:gd name="connsiteX4" fmla="*/ 1329030 w 1842800"/>
              <a:gd name="connsiteY4" fmla="*/ 489591 h 959272"/>
              <a:gd name="connsiteX5" fmla="*/ 718760 w 1842800"/>
              <a:gd name="connsiteY5" fmla="*/ 838859 h 959272"/>
              <a:gd name="connsiteX6" fmla="*/ 0 w 1842800"/>
              <a:gd name="connsiteY6" fmla="*/ 959272 h 959272"/>
              <a:gd name="connsiteX0" fmla="*/ 0 w 1839169"/>
              <a:gd name="connsiteY0" fmla="*/ 959272 h 959272"/>
              <a:gd name="connsiteX1" fmla="*/ 616760 w 1839169"/>
              <a:gd name="connsiteY1" fmla="*/ 412589 h 959272"/>
              <a:gd name="connsiteX2" fmla="*/ 1069148 w 1839169"/>
              <a:gd name="connsiteY2" fmla="*/ 200833 h 959272"/>
              <a:gd name="connsiteX3" fmla="*/ 1839169 w 1839169"/>
              <a:gd name="connsiteY3" fmla="*/ 8328 h 959272"/>
              <a:gd name="connsiteX4" fmla="*/ 1329030 w 1839169"/>
              <a:gd name="connsiteY4" fmla="*/ 489591 h 959272"/>
              <a:gd name="connsiteX5" fmla="*/ 718760 w 1839169"/>
              <a:gd name="connsiteY5" fmla="*/ 838859 h 959272"/>
              <a:gd name="connsiteX6" fmla="*/ 0 w 1839169"/>
              <a:gd name="connsiteY6" fmla="*/ 959272 h 959272"/>
              <a:gd name="connsiteX0" fmla="*/ 0 w 1839169"/>
              <a:gd name="connsiteY0" fmla="*/ 950944 h 950944"/>
              <a:gd name="connsiteX1" fmla="*/ 616760 w 1839169"/>
              <a:gd name="connsiteY1" fmla="*/ 404261 h 950944"/>
              <a:gd name="connsiteX2" fmla="*/ 1069148 w 1839169"/>
              <a:gd name="connsiteY2" fmla="*/ 192505 h 950944"/>
              <a:gd name="connsiteX3" fmla="*/ 1839169 w 1839169"/>
              <a:gd name="connsiteY3" fmla="*/ 0 h 950944"/>
              <a:gd name="connsiteX4" fmla="*/ 1329030 w 1839169"/>
              <a:gd name="connsiteY4" fmla="*/ 481263 h 950944"/>
              <a:gd name="connsiteX5" fmla="*/ 718760 w 1839169"/>
              <a:gd name="connsiteY5" fmla="*/ 830531 h 950944"/>
              <a:gd name="connsiteX6" fmla="*/ 0 w 1839169"/>
              <a:gd name="connsiteY6" fmla="*/ 950944 h 950944"/>
              <a:gd name="connsiteX0" fmla="*/ 0 w 1839169"/>
              <a:gd name="connsiteY0" fmla="*/ 950944 h 950944"/>
              <a:gd name="connsiteX1" fmla="*/ 603513 w 1839169"/>
              <a:gd name="connsiteY1" fmla="*/ 387093 h 950944"/>
              <a:gd name="connsiteX2" fmla="*/ 1069148 w 1839169"/>
              <a:gd name="connsiteY2" fmla="*/ 192505 h 950944"/>
              <a:gd name="connsiteX3" fmla="*/ 1839169 w 1839169"/>
              <a:gd name="connsiteY3" fmla="*/ 0 h 950944"/>
              <a:gd name="connsiteX4" fmla="*/ 1329030 w 1839169"/>
              <a:gd name="connsiteY4" fmla="*/ 481263 h 950944"/>
              <a:gd name="connsiteX5" fmla="*/ 718760 w 1839169"/>
              <a:gd name="connsiteY5" fmla="*/ 830531 h 950944"/>
              <a:gd name="connsiteX6" fmla="*/ 0 w 1839169"/>
              <a:gd name="connsiteY6" fmla="*/ 950944 h 950944"/>
              <a:gd name="connsiteX0" fmla="*/ 0 w 1839169"/>
              <a:gd name="connsiteY0" fmla="*/ 950944 h 950944"/>
              <a:gd name="connsiteX1" fmla="*/ 603513 w 1839169"/>
              <a:gd name="connsiteY1" fmla="*/ 387093 h 950944"/>
              <a:gd name="connsiteX2" fmla="*/ 1118464 w 1839169"/>
              <a:gd name="connsiteY2" fmla="*/ 134591 h 950944"/>
              <a:gd name="connsiteX3" fmla="*/ 1839169 w 1839169"/>
              <a:gd name="connsiteY3" fmla="*/ 0 h 950944"/>
              <a:gd name="connsiteX4" fmla="*/ 1329030 w 1839169"/>
              <a:gd name="connsiteY4" fmla="*/ 481263 h 950944"/>
              <a:gd name="connsiteX5" fmla="*/ 718760 w 1839169"/>
              <a:gd name="connsiteY5" fmla="*/ 830531 h 950944"/>
              <a:gd name="connsiteX6" fmla="*/ 0 w 1839169"/>
              <a:gd name="connsiteY6" fmla="*/ 950944 h 950944"/>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329030 w 1889323"/>
              <a:gd name="connsiteY4" fmla="*/ 492562 h 962243"/>
              <a:gd name="connsiteX5" fmla="*/ 718760 w 1889323"/>
              <a:gd name="connsiteY5" fmla="*/ 841830 h 962243"/>
              <a:gd name="connsiteX6" fmla="*/ 0 w 1889323"/>
              <a:gd name="connsiteY6" fmla="*/ 962243 h 962243"/>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329030 w 1889323"/>
              <a:gd name="connsiteY4" fmla="*/ 492562 h 962243"/>
              <a:gd name="connsiteX5" fmla="*/ 718760 w 1889323"/>
              <a:gd name="connsiteY5" fmla="*/ 841830 h 962243"/>
              <a:gd name="connsiteX6" fmla="*/ 0 w 1889323"/>
              <a:gd name="connsiteY6" fmla="*/ 962243 h 962243"/>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406546 w 1889323"/>
              <a:gd name="connsiteY4" fmla="*/ 505652 h 962243"/>
              <a:gd name="connsiteX5" fmla="*/ 718760 w 1889323"/>
              <a:gd name="connsiteY5" fmla="*/ 841830 h 962243"/>
              <a:gd name="connsiteX6" fmla="*/ 0 w 1889323"/>
              <a:gd name="connsiteY6" fmla="*/ 962243 h 962243"/>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406546 w 1889323"/>
              <a:gd name="connsiteY4" fmla="*/ 505652 h 962243"/>
              <a:gd name="connsiteX5" fmla="*/ 721918 w 1889323"/>
              <a:gd name="connsiteY5" fmla="*/ 861921 h 962243"/>
              <a:gd name="connsiteX6" fmla="*/ 0 w 1889323"/>
              <a:gd name="connsiteY6" fmla="*/ 962243 h 962243"/>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27883 w 1910660"/>
              <a:gd name="connsiteY4" fmla="*/ 505652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27883 w 1910660"/>
              <a:gd name="connsiteY4" fmla="*/ 505652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27883 w 1910660"/>
              <a:gd name="connsiteY4" fmla="*/ 505652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34283 w 1910660"/>
              <a:gd name="connsiteY4" fmla="*/ 518666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34283 w 1910660"/>
              <a:gd name="connsiteY4" fmla="*/ 51866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39801 w 1910660"/>
              <a:gd name="connsiteY2" fmla="*/ 145890 h 981351"/>
              <a:gd name="connsiteX3" fmla="*/ 1910660 w 1910660"/>
              <a:gd name="connsiteY3" fmla="*/ 0 h 981351"/>
              <a:gd name="connsiteX4" fmla="*/ 1434283 w 1910660"/>
              <a:gd name="connsiteY4" fmla="*/ 51866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34283 w 1910660"/>
              <a:gd name="connsiteY4" fmla="*/ 51866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85569 w 1910660"/>
              <a:gd name="connsiteY4" fmla="*/ 49265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85569 w 1910660"/>
              <a:gd name="connsiteY4" fmla="*/ 49265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7205"/>
              <a:gd name="connsiteY0" fmla="*/ 981089 h 981089"/>
              <a:gd name="connsiteX1" fmla="*/ 614616 w 1917205"/>
              <a:gd name="connsiteY1" fmla="*/ 399788 h 981089"/>
              <a:gd name="connsiteX2" fmla="*/ 1151739 w 1917205"/>
              <a:gd name="connsiteY2" fmla="*/ 138453 h 981089"/>
              <a:gd name="connsiteX3" fmla="*/ 1917205 w 1917205"/>
              <a:gd name="connsiteY3" fmla="*/ 0 h 981089"/>
              <a:gd name="connsiteX4" fmla="*/ 1490661 w 1917205"/>
              <a:gd name="connsiteY4" fmla="*/ 477290 h 981089"/>
              <a:gd name="connsiteX5" fmla="*/ 769551 w 1917205"/>
              <a:gd name="connsiteY5" fmla="*/ 862713 h 981089"/>
              <a:gd name="connsiteX6" fmla="*/ 0 w 1917205"/>
              <a:gd name="connsiteY6" fmla="*/ 981089 h 981089"/>
              <a:gd name="connsiteX0" fmla="*/ 0 w 1928243"/>
              <a:gd name="connsiteY0" fmla="*/ 982129 h 982129"/>
              <a:gd name="connsiteX1" fmla="*/ 614616 w 1928243"/>
              <a:gd name="connsiteY1" fmla="*/ 400828 h 982129"/>
              <a:gd name="connsiteX2" fmla="*/ 1151739 w 1928243"/>
              <a:gd name="connsiteY2" fmla="*/ 139493 h 982129"/>
              <a:gd name="connsiteX3" fmla="*/ 1928243 w 1928243"/>
              <a:gd name="connsiteY3" fmla="*/ 0 h 982129"/>
              <a:gd name="connsiteX4" fmla="*/ 1490661 w 1928243"/>
              <a:gd name="connsiteY4" fmla="*/ 478330 h 982129"/>
              <a:gd name="connsiteX5" fmla="*/ 769551 w 1928243"/>
              <a:gd name="connsiteY5" fmla="*/ 863753 h 982129"/>
              <a:gd name="connsiteX6" fmla="*/ 0 w 1928243"/>
              <a:gd name="connsiteY6" fmla="*/ 982129 h 982129"/>
              <a:gd name="connsiteX0" fmla="*/ 0 w 1928243"/>
              <a:gd name="connsiteY0" fmla="*/ 982129 h 982129"/>
              <a:gd name="connsiteX1" fmla="*/ 614616 w 1928243"/>
              <a:gd name="connsiteY1" fmla="*/ 400828 h 982129"/>
              <a:gd name="connsiteX2" fmla="*/ 1151739 w 1928243"/>
              <a:gd name="connsiteY2" fmla="*/ 139493 h 982129"/>
              <a:gd name="connsiteX3" fmla="*/ 1928243 w 1928243"/>
              <a:gd name="connsiteY3" fmla="*/ 0 h 982129"/>
              <a:gd name="connsiteX4" fmla="*/ 1490661 w 1928243"/>
              <a:gd name="connsiteY4" fmla="*/ 478330 h 982129"/>
              <a:gd name="connsiteX5" fmla="*/ 769551 w 1928243"/>
              <a:gd name="connsiteY5" fmla="*/ 863753 h 982129"/>
              <a:gd name="connsiteX6" fmla="*/ 0 w 1928243"/>
              <a:gd name="connsiteY6" fmla="*/ 982129 h 982129"/>
              <a:gd name="connsiteX0" fmla="*/ 0 w 1928243"/>
              <a:gd name="connsiteY0" fmla="*/ 982129 h 982129"/>
              <a:gd name="connsiteX1" fmla="*/ 614616 w 1928243"/>
              <a:gd name="connsiteY1" fmla="*/ 400828 h 982129"/>
              <a:gd name="connsiteX2" fmla="*/ 1151739 w 1928243"/>
              <a:gd name="connsiteY2" fmla="*/ 139493 h 982129"/>
              <a:gd name="connsiteX3" fmla="*/ 1928243 w 1928243"/>
              <a:gd name="connsiteY3" fmla="*/ 0 h 982129"/>
              <a:gd name="connsiteX4" fmla="*/ 1490661 w 1928243"/>
              <a:gd name="connsiteY4" fmla="*/ 478330 h 982129"/>
              <a:gd name="connsiteX5" fmla="*/ 769551 w 1928243"/>
              <a:gd name="connsiteY5" fmla="*/ 863753 h 982129"/>
              <a:gd name="connsiteX6" fmla="*/ 0 w 1928243"/>
              <a:gd name="connsiteY6" fmla="*/ 982129 h 982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8243" h="982129">
                <a:moveTo>
                  <a:pt x="0" y="982129"/>
                </a:moveTo>
                <a:cubicBezTo>
                  <a:pt x="222870" y="793691"/>
                  <a:pt x="414784" y="526469"/>
                  <a:pt x="614616" y="400828"/>
                </a:cubicBezTo>
                <a:cubicBezTo>
                  <a:pt x="814448" y="275187"/>
                  <a:pt x="932801" y="206298"/>
                  <a:pt x="1151739" y="139493"/>
                </a:cubicBezTo>
                <a:cubicBezTo>
                  <a:pt x="1370677" y="72688"/>
                  <a:pt x="1608569" y="14507"/>
                  <a:pt x="1928243" y="0"/>
                </a:cubicBezTo>
                <a:cubicBezTo>
                  <a:pt x="1843665" y="107229"/>
                  <a:pt x="1712682" y="301142"/>
                  <a:pt x="1490661" y="478330"/>
                </a:cubicBezTo>
                <a:cubicBezTo>
                  <a:pt x="1291739" y="616292"/>
                  <a:pt x="1017994" y="779787"/>
                  <a:pt x="769551" y="863753"/>
                </a:cubicBezTo>
                <a:cubicBezTo>
                  <a:pt x="521108" y="947719"/>
                  <a:pt x="268507" y="974216"/>
                  <a:pt x="0" y="982129"/>
                </a:cubicBezTo>
                <a:close/>
              </a:path>
            </a:pathLst>
          </a:custGeom>
          <a:gradFill flip="none" rotWithShape="1">
            <a:gsLst>
              <a:gs pos="37000">
                <a:srgbClr val="86D598"/>
              </a:gs>
              <a:gs pos="14000">
                <a:srgbClr val="3ED06F"/>
              </a:gs>
              <a:gs pos="67000">
                <a:srgbClr val="F1A29C">
                  <a:lumMod val="94000"/>
                </a:srgbClr>
              </a:gs>
              <a:gs pos="50000">
                <a:srgbClr val="E4EBDD">
                  <a:lumMod val="90000"/>
                </a:srgbClr>
              </a:gs>
              <a:gs pos="92000">
                <a:srgbClr val="FB4F4F">
                  <a:lumMod val="98000"/>
                </a:srgbClr>
              </a:gs>
            </a:gsLst>
            <a:lin ang="8100000" scaled="1"/>
            <a:tileRect/>
          </a:gradFill>
          <a:ln>
            <a:noFill/>
          </a:ln>
          <a:extLst/>
        </p:spPr>
        <p:txBody>
          <a:bodyPr wrap="none" lIns="83058" tIns="43190" rIns="83058" bIns="43190"/>
          <a:lstStyle/>
          <a:p>
            <a:pPr defTabSz="844083">
              <a:defRPr/>
            </a:pPr>
            <a:endParaRPr lang="de-DE" sz="1477" dirty="0">
              <a:solidFill>
                <a:srgbClr val="000000"/>
              </a:solidFill>
              <a:latin typeface="Arial"/>
              <a:cs typeface="Arial" charset="0"/>
            </a:endParaRPr>
          </a:p>
        </p:txBody>
      </p:sp>
      <p:grpSp>
        <p:nvGrpSpPr>
          <p:cNvPr id="103" name="Gruppieren 82"/>
          <p:cNvGrpSpPr/>
          <p:nvPr/>
        </p:nvGrpSpPr>
        <p:grpSpPr>
          <a:xfrm>
            <a:off x="1909001" y="3587261"/>
            <a:ext cx="4134247" cy="2039816"/>
            <a:chOff x="1649581" y="3714729"/>
            <a:chExt cx="4516799" cy="2212746"/>
          </a:xfrm>
        </p:grpSpPr>
        <p:sp>
          <p:nvSpPr>
            <p:cNvPr id="104" name="Freihandform 9"/>
            <p:cNvSpPr>
              <a:spLocks noChangeArrowheads="1"/>
            </p:cNvSpPr>
            <p:nvPr/>
          </p:nvSpPr>
          <p:spPr bwMode="auto">
            <a:xfrm>
              <a:off x="1649581" y="3714729"/>
              <a:ext cx="3762451" cy="2212746"/>
            </a:xfrm>
            <a:custGeom>
              <a:avLst/>
              <a:gdLst>
                <a:gd name="T0" fmla="*/ 24855 w 4279231"/>
                <a:gd name="T1" fmla="*/ 1761059 h 1770246"/>
                <a:gd name="T2" fmla="*/ 82581 w 4279231"/>
                <a:gd name="T3" fmla="*/ 1732189 h 1770246"/>
                <a:gd name="T4" fmla="*/ 669470 w 4279231"/>
                <a:gd name="T5" fmla="*/ 1481985 h 1770246"/>
                <a:gd name="T6" fmla="*/ 1593100 w 4279231"/>
                <a:gd name="T7" fmla="*/ 702498 h 1770246"/>
                <a:gd name="T8" fmla="*/ 2093398 w 4279231"/>
                <a:gd name="T9" fmla="*/ 413800 h 1770246"/>
                <a:gd name="T10" fmla="*/ 2978542 w 4279231"/>
                <a:gd name="T11" fmla="*/ 163596 h 1770246"/>
                <a:gd name="T12" fmla="*/ 4277393 w 4279231"/>
                <a:gd name="T13" fmla="*/ 0 h 1770246"/>
                <a:gd name="T14" fmla="*/ 0 60000 65536"/>
                <a:gd name="T15" fmla="*/ 0 60000 65536"/>
                <a:gd name="T16" fmla="*/ 0 60000 65536"/>
                <a:gd name="T17" fmla="*/ 0 60000 65536"/>
                <a:gd name="T18" fmla="*/ 0 60000 65536"/>
                <a:gd name="T19" fmla="*/ 0 60000 65536"/>
                <a:gd name="T20" fmla="*/ 0 60000 65536"/>
                <a:gd name="T21" fmla="*/ 0 w 4279231"/>
                <a:gd name="T22" fmla="*/ 0 h 1770246"/>
                <a:gd name="T23" fmla="*/ 4279231 w 4279231"/>
                <a:gd name="T24" fmla="*/ 1770246 h 1770246"/>
                <a:gd name="connsiteX0" fmla="*/ 0 w 4254366"/>
                <a:gd name="connsiteY0" fmla="*/ 1761423 h 1761423"/>
                <a:gd name="connsiteX1" fmla="*/ 644893 w 4254366"/>
                <a:gd name="connsiteY1" fmla="*/ 1482291 h 1761423"/>
                <a:gd name="connsiteX2" fmla="*/ 1568918 w 4254366"/>
                <a:gd name="connsiteY2" fmla="*/ 702644 h 1761423"/>
                <a:gd name="connsiteX3" fmla="*/ 2069432 w 4254366"/>
                <a:gd name="connsiteY3" fmla="*/ 413886 h 1761423"/>
                <a:gd name="connsiteX4" fmla="*/ 2954956 w 4254366"/>
                <a:gd name="connsiteY4" fmla="*/ 163630 h 1761423"/>
                <a:gd name="connsiteX5" fmla="*/ 4254366 w 4254366"/>
                <a:gd name="connsiteY5" fmla="*/ 0 h 1761423"/>
                <a:gd name="connsiteX0" fmla="*/ 0 w 4703568"/>
                <a:gd name="connsiteY0" fmla="*/ 1726616 h 1726616"/>
                <a:gd name="connsiteX1" fmla="*/ 1094095 w 4703568"/>
                <a:gd name="connsiteY1" fmla="*/ 1482291 h 1726616"/>
                <a:gd name="connsiteX2" fmla="*/ 2018120 w 4703568"/>
                <a:gd name="connsiteY2" fmla="*/ 702644 h 1726616"/>
                <a:gd name="connsiteX3" fmla="*/ 2518634 w 4703568"/>
                <a:gd name="connsiteY3" fmla="*/ 413886 h 1726616"/>
                <a:gd name="connsiteX4" fmla="*/ 3404158 w 4703568"/>
                <a:gd name="connsiteY4" fmla="*/ 163630 h 1726616"/>
                <a:gd name="connsiteX5" fmla="*/ 4703568 w 4703568"/>
                <a:gd name="connsiteY5" fmla="*/ 0 h 1726616"/>
                <a:gd name="connsiteX0" fmla="*/ 0 w 4703568"/>
                <a:gd name="connsiteY0" fmla="*/ 1726616 h 1726616"/>
                <a:gd name="connsiteX1" fmla="*/ 1094095 w 4703568"/>
                <a:gd name="connsiteY1" fmla="*/ 1482291 h 1726616"/>
                <a:gd name="connsiteX2" fmla="*/ 2018120 w 4703568"/>
                <a:gd name="connsiteY2" fmla="*/ 702644 h 1726616"/>
                <a:gd name="connsiteX3" fmla="*/ 2518634 w 4703568"/>
                <a:gd name="connsiteY3" fmla="*/ 413886 h 1726616"/>
                <a:gd name="connsiteX4" fmla="*/ 3404158 w 4703568"/>
                <a:gd name="connsiteY4" fmla="*/ 163630 h 1726616"/>
                <a:gd name="connsiteX5" fmla="*/ 4703568 w 4703568"/>
                <a:gd name="connsiteY5" fmla="*/ 0 h 1726616"/>
                <a:gd name="connsiteX0" fmla="*/ 0 w 4703568"/>
                <a:gd name="connsiteY0" fmla="*/ 1726616 h 1726616"/>
                <a:gd name="connsiteX1" fmla="*/ 1094095 w 4703568"/>
                <a:gd name="connsiteY1" fmla="*/ 1482291 h 1726616"/>
                <a:gd name="connsiteX2" fmla="*/ 2018120 w 4703568"/>
                <a:gd name="connsiteY2" fmla="*/ 702644 h 1726616"/>
                <a:gd name="connsiteX3" fmla="*/ 2518634 w 4703568"/>
                <a:gd name="connsiteY3" fmla="*/ 413886 h 1726616"/>
                <a:gd name="connsiteX4" fmla="*/ 3404158 w 4703568"/>
                <a:gd name="connsiteY4" fmla="*/ 163630 h 1726616"/>
                <a:gd name="connsiteX5" fmla="*/ 4703568 w 4703568"/>
                <a:gd name="connsiteY5" fmla="*/ 0 h 1726616"/>
                <a:gd name="connsiteX0" fmla="*/ 0 w 5164591"/>
                <a:gd name="connsiteY0" fmla="*/ 1747500 h 1747500"/>
                <a:gd name="connsiteX1" fmla="*/ 1555118 w 5164591"/>
                <a:gd name="connsiteY1" fmla="*/ 1482291 h 1747500"/>
                <a:gd name="connsiteX2" fmla="*/ 2479143 w 5164591"/>
                <a:gd name="connsiteY2" fmla="*/ 702644 h 1747500"/>
                <a:gd name="connsiteX3" fmla="*/ 2979657 w 5164591"/>
                <a:gd name="connsiteY3" fmla="*/ 413886 h 1747500"/>
                <a:gd name="connsiteX4" fmla="*/ 3865181 w 5164591"/>
                <a:gd name="connsiteY4" fmla="*/ 163630 h 1747500"/>
                <a:gd name="connsiteX5" fmla="*/ 5164591 w 5164591"/>
                <a:gd name="connsiteY5" fmla="*/ 0 h 1747500"/>
                <a:gd name="connsiteX0" fmla="*/ 0 w 5164591"/>
                <a:gd name="connsiteY0" fmla="*/ 1747500 h 1747500"/>
                <a:gd name="connsiteX1" fmla="*/ 1555118 w 5164591"/>
                <a:gd name="connsiteY1" fmla="*/ 1482291 h 1747500"/>
                <a:gd name="connsiteX2" fmla="*/ 2479143 w 5164591"/>
                <a:gd name="connsiteY2" fmla="*/ 702644 h 1747500"/>
                <a:gd name="connsiteX3" fmla="*/ 2979657 w 5164591"/>
                <a:gd name="connsiteY3" fmla="*/ 413886 h 1747500"/>
                <a:gd name="connsiteX4" fmla="*/ 3865181 w 5164591"/>
                <a:gd name="connsiteY4" fmla="*/ 163630 h 1747500"/>
                <a:gd name="connsiteX5" fmla="*/ 5164591 w 5164591"/>
                <a:gd name="connsiteY5" fmla="*/ 0 h 1747500"/>
                <a:gd name="connsiteX0" fmla="*/ 0 w 4674687"/>
                <a:gd name="connsiteY0" fmla="*/ 1700316 h 1700316"/>
                <a:gd name="connsiteX1" fmla="*/ 1555118 w 4674687"/>
                <a:gd name="connsiteY1" fmla="*/ 1435107 h 1700316"/>
                <a:gd name="connsiteX2" fmla="*/ 2479143 w 4674687"/>
                <a:gd name="connsiteY2" fmla="*/ 655460 h 1700316"/>
                <a:gd name="connsiteX3" fmla="*/ 2979657 w 4674687"/>
                <a:gd name="connsiteY3" fmla="*/ 366702 h 1700316"/>
                <a:gd name="connsiteX4" fmla="*/ 3865181 w 4674687"/>
                <a:gd name="connsiteY4" fmla="*/ 116446 h 1700316"/>
                <a:gd name="connsiteX5" fmla="*/ 4674687 w 4674687"/>
                <a:gd name="connsiteY5" fmla="*/ 0 h 1700316"/>
                <a:gd name="connsiteX0" fmla="*/ 0 w 4674687"/>
                <a:gd name="connsiteY0" fmla="*/ 1700316 h 1700316"/>
                <a:gd name="connsiteX1" fmla="*/ 1555118 w 4674687"/>
                <a:gd name="connsiteY1" fmla="*/ 1435107 h 1700316"/>
                <a:gd name="connsiteX2" fmla="*/ 2479143 w 4674687"/>
                <a:gd name="connsiteY2" fmla="*/ 655460 h 1700316"/>
                <a:gd name="connsiteX3" fmla="*/ 2979657 w 4674687"/>
                <a:gd name="connsiteY3" fmla="*/ 366702 h 1700316"/>
                <a:gd name="connsiteX4" fmla="*/ 3865181 w 4674687"/>
                <a:gd name="connsiteY4" fmla="*/ 116446 h 1700316"/>
                <a:gd name="connsiteX5" fmla="*/ 4674687 w 4674687"/>
                <a:gd name="connsiteY5" fmla="*/ 0 h 1700316"/>
                <a:gd name="connsiteX0" fmla="*/ 0 w 4674687"/>
                <a:gd name="connsiteY0" fmla="*/ 1700316 h 1700316"/>
                <a:gd name="connsiteX1" fmla="*/ 1555118 w 4674687"/>
                <a:gd name="connsiteY1" fmla="*/ 1435107 h 1700316"/>
                <a:gd name="connsiteX2" fmla="*/ 2479143 w 4674687"/>
                <a:gd name="connsiteY2" fmla="*/ 655460 h 1700316"/>
                <a:gd name="connsiteX3" fmla="*/ 2979657 w 4674687"/>
                <a:gd name="connsiteY3" fmla="*/ 366702 h 1700316"/>
                <a:gd name="connsiteX4" fmla="*/ 3865181 w 4674687"/>
                <a:gd name="connsiteY4" fmla="*/ 116446 h 1700316"/>
                <a:gd name="connsiteX5" fmla="*/ 4674687 w 4674687"/>
                <a:gd name="connsiteY5" fmla="*/ 0 h 1700316"/>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589897"/>
                <a:gd name="connsiteY0" fmla="*/ 1659030 h 1659030"/>
                <a:gd name="connsiteX1" fmla="*/ 1555118 w 4589897"/>
                <a:gd name="connsiteY1" fmla="*/ 1393821 h 1659030"/>
                <a:gd name="connsiteX2" fmla="*/ 2479143 w 4589897"/>
                <a:gd name="connsiteY2" fmla="*/ 614174 h 1659030"/>
                <a:gd name="connsiteX3" fmla="*/ 2979657 w 4589897"/>
                <a:gd name="connsiteY3" fmla="*/ 325416 h 1659030"/>
                <a:gd name="connsiteX4" fmla="*/ 3865181 w 4589897"/>
                <a:gd name="connsiteY4" fmla="*/ 75160 h 1659030"/>
                <a:gd name="connsiteX5" fmla="*/ 4589897 w 4589897"/>
                <a:gd name="connsiteY5"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2979657 w 4589897"/>
                <a:gd name="connsiteY3" fmla="*/ 325416 h 1659030"/>
                <a:gd name="connsiteX4" fmla="*/ 3865181 w 4589897"/>
                <a:gd name="connsiteY4" fmla="*/ 75160 h 1659030"/>
                <a:gd name="connsiteX5" fmla="*/ 4589897 w 4589897"/>
                <a:gd name="connsiteY5"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2979657 w 4589897"/>
                <a:gd name="connsiteY3" fmla="*/ 325416 h 1659030"/>
                <a:gd name="connsiteX4" fmla="*/ 4589897 w 4589897"/>
                <a:gd name="connsiteY4"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3215187 w 4589897"/>
                <a:gd name="connsiteY3" fmla="*/ 231048 h 1659030"/>
                <a:gd name="connsiteX4" fmla="*/ 4589897 w 4589897"/>
                <a:gd name="connsiteY4"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3215187 w 4589897"/>
                <a:gd name="connsiteY3" fmla="*/ 231048 h 1659030"/>
                <a:gd name="connsiteX4" fmla="*/ 4589897 w 4589897"/>
                <a:gd name="connsiteY4" fmla="*/ 0 h 1659030"/>
                <a:gd name="connsiteX0" fmla="*/ 0 w 4552211"/>
                <a:gd name="connsiteY0" fmla="*/ 1653132 h 1653132"/>
                <a:gd name="connsiteX1" fmla="*/ 1555118 w 4552211"/>
                <a:gd name="connsiteY1" fmla="*/ 1387923 h 1653132"/>
                <a:gd name="connsiteX2" fmla="*/ 2479143 w 4552211"/>
                <a:gd name="connsiteY2" fmla="*/ 608276 h 1653132"/>
                <a:gd name="connsiteX3" fmla="*/ 3215187 w 4552211"/>
                <a:gd name="connsiteY3" fmla="*/ 225150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15187 w 4552211"/>
                <a:gd name="connsiteY3" fmla="*/ 225150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05766 w 4552211"/>
                <a:gd name="connsiteY3" fmla="*/ 231048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05766 w 4552211"/>
                <a:gd name="connsiteY3" fmla="*/ 231048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05766 w 4552211"/>
                <a:gd name="connsiteY3" fmla="*/ 231048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43452 w 4552211"/>
                <a:gd name="connsiteY3" fmla="*/ 225150 h 1653132"/>
                <a:gd name="connsiteX4" fmla="*/ 4552211 w 4552211"/>
                <a:gd name="connsiteY4" fmla="*/ 0 h 1653132"/>
                <a:gd name="connsiteX0" fmla="*/ 0 w 4533369"/>
                <a:gd name="connsiteY0" fmla="*/ 1623642 h 1623642"/>
                <a:gd name="connsiteX1" fmla="*/ 1555118 w 4533369"/>
                <a:gd name="connsiteY1" fmla="*/ 1358433 h 1623642"/>
                <a:gd name="connsiteX2" fmla="*/ 2479143 w 4533369"/>
                <a:gd name="connsiteY2" fmla="*/ 578786 h 1623642"/>
                <a:gd name="connsiteX3" fmla="*/ 3243452 w 4533369"/>
                <a:gd name="connsiteY3" fmla="*/ 195660 h 1623642"/>
                <a:gd name="connsiteX4" fmla="*/ 4533369 w 4533369"/>
                <a:gd name="connsiteY4" fmla="*/ 0 h 1623642"/>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6806 w 4458000"/>
                <a:gd name="connsiteY3" fmla="*/ 2028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56869 w 4458000"/>
                <a:gd name="connsiteY3" fmla="*/ 2049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56869 w 4458000"/>
                <a:gd name="connsiteY3" fmla="*/ 204954 h 1641336"/>
                <a:gd name="connsiteX4" fmla="*/ 4458000 w 4458000"/>
                <a:gd name="connsiteY4" fmla="*/ 0 h 1641336"/>
                <a:gd name="connsiteX0" fmla="*/ 0 w 4458000"/>
                <a:gd name="connsiteY0" fmla="*/ 1641336 h 1641336"/>
                <a:gd name="connsiteX1" fmla="*/ 1555118 w 4458000"/>
                <a:gd name="connsiteY1" fmla="*/ 1376127 h 1641336"/>
                <a:gd name="connsiteX2" fmla="*/ 2417484 w 4458000"/>
                <a:gd name="connsiteY2" fmla="*/ 582694 h 1641336"/>
                <a:gd name="connsiteX3" fmla="*/ 3256869 w 4458000"/>
                <a:gd name="connsiteY3" fmla="*/ 204954 h 1641336"/>
                <a:gd name="connsiteX4" fmla="*/ 4458000 w 4458000"/>
                <a:gd name="connsiteY4" fmla="*/ 0 h 1641336"/>
                <a:gd name="connsiteX0" fmla="*/ 0 w 4458000"/>
                <a:gd name="connsiteY0" fmla="*/ 1641336 h 1641336"/>
                <a:gd name="connsiteX1" fmla="*/ 1555118 w 4458000"/>
                <a:gd name="connsiteY1" fmla="*/ 1376127 h 1641336"/>
                <a:gd name="connsiteX2" fmla="*/ 2417484 w 4458000"/>
                <a:gd name="connsiteY2" fmla="*/ 582694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8000" h="1641336">
                  <a:moveTo>
                    <a:pt x="0" y="1641336"/>
                  </a:moveTo>
                  <a:cubicBezTo>
                    <a:pt x="689945" y="1617991"/>
                    <a:pt x="1210193" y="1541998"/>
                    <a:pt x="1555118" y="1376127"/>
                  </a:cubicBezTo>
                  <a:cubicBezTo>
                    <a:pt x="1900043" y="1210256"/>
                    <a:pt x="2081742" y="846820"/>
                    <a:pt x="2333803" y="646109"/>
                  </a:cubicBezTo>
                  <a:cubicBezTo>
                    <a:pt x="2585864" y="445398"/>
                    <a:pt x="2898432" y="279553"/>
                    <a:pt x="3252465" y="171868"/>
                  </a:cubicBezTo>
                  <a:cubicBezTo>
                    <a:pt x="3606498" y="64183"/>
                    <a:pt x="4072224" y="2039"/>
                    <a:pt x="4458000" y="0"/>
                  </a:cubicBezTo>
                </a:path>
              </a:pathLst>
            </a:custGeom>
            <a:noFill/>
            <a:ln w="25400" cap="rnd"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lIns="83058" tIns="43190" rIns="83058" bIns="43190"/>
            <a:lstStyle/>
            <a:p>
              <a:pPr defTabSz="844083" eaLnBrk="1" hangingPunct="1">
                <a:spcAft>
                  <a:spcPct val="0"/>
                </a:spcAft>
                <a:defRPr/>
              </a:pPr>
              <a:endParaRPr lang="de-DE" sz="1385" dirty="0">
                <a:solidFill>
                  <a:srgbClr val="000000"/>
                </a:solidFill>
                <a:latin typeface="Arial"/>
                <a:cs typeface="Arial" charset="0"/>
              </a:endParaRPr>
            </a:p>
          </p:txBody>
        </p:sp>
        <p:sp>
          <p:nvSpPr>
            <p:cNvPr id="105" name="Freihandform 57"/>
            <p:cNvSpPr/>
            <p:nvPr/>
          </p:nvSpPr>
          <p:spPr>
            <a:xfrm rot="248835">
              <a:off x="5481242" y="3727012"/>
              <a:ext cx="685138" cy="12277"/>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2091"/>
                <a:gd name="connsiteY0" fmla="*/ 21054 h 21054"/>
                <a:gd name="connsiteX1" fmla="*/ 12091 w 12091"/>
                <a:gd name="connsiteY1" fmla="*/ 0 h 21054"/>
                <a:gd name="connsiteX0" fmla="*/ 0 w 12039"/>
                <a:gd name="connsiteY0" fmla="*/ 4473 h 4473"/>
                <a:gd name="connsiteX1" fmla="*/ 12039 w 12039"/>
                <a:gd name="connsiteY1" fmla="*/ 0 h 4473"/>
                <a:gd name="connsiteX0" fmla="*/ 0 w 10000"/>
                <a:gd name="connsiteY0" fmla="*/ 14454 h 14454"/>
                <a:gd name="connsiteX1" fmla="*/ 10000 w 10000"/>
                <a:gd name="connsiteY1" fmla="*/ 4454 h 14454"/>
                <a:gd name="connsiteX0" fmla="*/ 0 w 10000"/>
                <a:gd name="connsiteY0" fmla="*/ 17863 h 17863"/>
                <a:gd name="connsiteX1" fmla="*/ 10000 w 10000"/>
                <a:gd name="connsiteY1" fmla="*/ 7863 h 17863"/>
              </a:gdLst>
              <a:ahLst/>
              <a:cxnLst>
                <a:cxn ang="0">
                  <a:pos x="connsiteX0" y="connsiteY0"/>
                </a:cxn>
                <a:cxn ang="0">
                  <a:pos x="connsiteX1" y="connsiteY1"/>
                </a:cxn>
              </a:cxnLst>
              <a:rect l="l" t="t" r="r" b="b"/>
              <a:pathLst>
                <a:path w="10000" h="17863">
                  <a:moveTo>
                    <a:pt x="0" y="17863"/>
                  </a:moveTo>
                  <a:cubicBezTo>
                    <a:pt x="3594" y="-1947"/>
                    <a:pt x="6710" y="-5280"/>
                    <a:pt x="10000" y="7863"/>
                  </a:cubicBezTo>
                </a:path>
              </a:pathLst>
            </a:custGeom>
            <a:noFill/>
            <a:ln w="25400" cap="rnd" algn="ctr">
              <a:solidFill>
                <a:schemeClr val="bg2"/>
              </a:solidFill>
              <a:prstDash val="sysDash"/>
              <a:round/>
              <a:headEnd/>
              <a:tailEnd/>
            </a:ln>
          </p:spPr>
          <p:txBody>
            <a:bodyPr wrap="none" lIns="83058" tIns="43190" rIns="83058" bIns="43190"/>
            <a:lstStyle/>
            <a:p>
              <a:pPr defTabSz="844083" eaLnBrk="1" hangingPunct="1">
                <a:spcAft>
                  <a:spcPct val="0"/>
                </a:spcAft>
                <a:defRPr/>
              </a:pPr>
              <a:endParaRPr lang="de-DE" sz="1385" dirty="0">
                <a:solidFill>
                  <a:srgbClr val="000000"/>
                </a:solidFill>
                <a:latin typeface="Arial"/>
                <a:cs typeface="Arial" charset="0"/>
              </a:endParaRPr>
            </a:p>
          </p:txBody>
        </p:sp>
        <p:sp>
          <p:nvSpPr>
            <p:cNvPr id="106" name="Freihandform 58"/>
            <p:cNvSpPr/>
            <p:nvPr/>
          </p:nvSpPr>
          <p:spPr>
            <a:xfrm rot="1324690">
              <a:off x="5454736" y="3808489"/>
              <a:ext cx="661156" cy="71226"/>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6488 h 16488"/>
                <a:gd name="connsiteX1" fmla="*/ 10000 w 10000"/>
                <a:gd name="connsiteY1" fmla="*/ 6488 h 16488"/>
                <a:gd name="connsiteX0" fmla="*/ 0 w 10000"/>
                <a:gd name="connsiteY0" fmla="*/ 31774 h 31774"/>
                <a:gd name="connsiteX1" fmla="*/ 10000 w 10000"/>
                <a:gd name="connsiteY1" fmla="*/ 21774 h 31774"/>
                <a:gd name="connsiteX0" fmla="*/ 0 w 10000"/>
                <a:gd name="connsiteY0" fmla="*/ 38044 h 38044"/>
                <a:gd name="connsiteX1" fmla="*/ 10000 w 10000"/>
                <a:gd name="connsiteY1" fmla="*/ 28044 h 38044"/>
                <a:gd name="connsiteX0" fmla="*/ 0 w 11374"/>
                <a:gd name="connsiteY0" fmla="*/ 24544 h 50576"/>
                <a:gd name="connsiteX1" fmla="*/ 11374 w 11374"/>
                <a:gd name="connsiteY1" fmla="*/ 50576 h 50576"/>
                <a:gd name="connsiteX0" fmla="*/ 0 w 11374"/>
                <a:gd name="connsiteY0" fmla="*/ 14232 h 40264"/>
                <a:gd name="connsiteX1" fmla="*/ 11374 w 11374"/>
                <a:gd name="connsiteY1" fmla="*/ 40264 h 40264"/>
                <a:gd name="connsiteX0" fmla="*/ 0 w 11374"/>
                <a:gd name="connsiteY0" fmla="*/ 9796 h 35828"/>
                <a:gd name="connsiteX1" fmla="*/ 11374 w 11374"/>
                <a:gd name="connsiteY1" fmla="*/ 35828 h 35828"/>
                <a:gd name="connsiteX0" fmla="*/ 0 w 11374"/>
                <a:gd name="connsiteY0" fmla="*/ 20322 h 46354"/>
                <a:gd name="connsiteX1" fmla="*/ 11374 w 11374"/>
                <a:gd name="connsiteY1" fmla="*/ 46354 h 46354"/>
              </a:gdLst>
              <a:ahLst/>
              <a:cxnLst>
                <a:cxn ang="0">
                  <a:pos x="connsiteX0" y="connsiteY0"/>
                </a:cxn>
                <a:cxn ang="0">
                  <a:pos x="connsiteX1" y="connsiteY1"/>
                </a:cxn>
              </a:cxnLst>
              <a:rect l="l" t="t" r="r" b="b"/>
              <a:pathLst>
                <a:path w="11374" h="46354">
                  <a:moveTo>
                    <a:pt x="0" y="20322"/>
                  </a:moveTo>
                  <a:cubicBezTo>
                    <a:pt x="4921" y="-22895"/>
                    <a:pt x="8385" y="10968"/>
                    <a:pt x="11374" y="46354"/>
                  </a:cubicBezTo>
                </a:path>
              </a:pathLst>
            </a:custGeom>
            <a:noFill/>
            <a:ln w="25400" cap="rnd" algn="ctr">
              <a:solidFill>
                <a:schemeClr val="bg2"/>
              </a:solidFill>
              <a:prstDash val="sysDash"/>
              <a:round/>
              <a:headEnd/>
              <a:tailEnd/>
            </a:ln>
          </p:spPr>
          <p:txBody>
            <a:bodyPr wrap="none" lIns="83058" tIns="43190" rIns="83058" bIns="43190"/>
            <a:lstStyle/>
            <a:p>
              <a:pPr defTabSz="844083" eaLnBrk="1" hangingPunct="1">
                <a:spcAft>
                  <a:spcPct val="0"/>
                </a:spcAft>
                <a:defRPr/>
              </a:pPr>
              <a:endParaRPr lang="de-DE" sz="1385" dirty="0">
                <a:solidFill>
                  <a:srgbClr val="000000"/>
                </a:solidFill>
                <a:latin typeface="Arial"/>
                <a:cs typeface="Arial" charset="0"/>
              </a:endParaRPr>
            </a:p>
          </p:txBody>
        </p:sp>
      </p:grpSp>
      <p:sp>
        <p:nvSpPr>
          <p:cNvPr id="108" name="Textfeld 60"/>
          <p:cNvSpPr txBox="1">
            <a:spLocks noChangeArrowheads="1"/>
          </p:cNvSpPr>
          <p:nvPr/>
        </p:nvSpPr>
        <p:spPr bwMode="auto">
          <a:xfrm>
            <a:off x="7056603" y="5755283"/>
            <a:ext cx="468094" cy="298105"/>
          </a:xfrm>
          <a:prstGeom prst="rect">
            <a:avLst/>
          </a:prstGeom>
          <a:noFill/>
          <a:ln w="9525">
            <a:noFill/>
            <a:miter lim="800000"/>
            <a:headEnd/>
            <a:tailEnd/>
          </a:ln>
        </p:spPr>
        <p:txBody>
          <a:bodyPr wrap="none" lIns="84146" tIns="42074" rIns="84146" bIns="42074">
            <a:spAutoFit/>
          </a:bodyPr>
          <a:lstStyle/>
          <a:p>
            <a:pPr defTabSz="844083" eaLnBrk="1" hangingPunct="1">
              <a:spcAft>
                <a:spcPct val="0"/>
              </a:spcAft>
              <a:defRPr/>
            </a:pPr>
            <a:r>
              <a:rPr lang="de-DE" sz="1385" dirty="0">
                <a:solidFill>
                  <a:srgbClr val="000000"/>
                </a:solidFill>
                <a:latin typeface="Arial"/>
                <a:cs typeface="Arial" charset="0"/>
              </a:rPr>
              <a:t>Zeit</a:t>
            </a:r>
          </a:p>
        </p:txBody>
      </p:sp>
      <p:sp>
        <p:nvSpPr>
          <p:cNvPr id="110" name="Freihandform 10"/>
          <p:cNvSpPr>
            <a:spLocks noChangeArrowheads="1"/>
          </p:cNvSpPr>
          <p:nvPr/>
        </p:nvSpPr>
        <p:spPr bwMode="auto">
          <a:xfrm>
            <a:off x="2950314" y="2335833"/>
            <a:ext cx="3173918" cy="2855275"/>
          </a:xfrm>
          <a:custGeom>
            <a:avLst/>
            <a:gdLst>
              <a:gd name="T0" fmla="*/ 0 w 4591250"/>
              <a:gd name="T1" fmla="*/ 2743200 h 2743200"/>
              <a:gd name="T2" fmla="*/ 914320 w 4591250"/>
              <a:gd name="T3" fmla="*/ 2579570 h 2743200"/>
              <a:gd name="T4" fmla="*/ 1491787 w 4591250"/>
              <a:gd name="T5" fmla="*/ 2367814 h 2743200"/>
              <a:gd name="T6" fmla="*/ 2059628 w 4591250"/>
              <a:gd name="T7" fmla="*/ 1896177 h 2743200"/>
              <a:gd name="T8" fmla="*/ 2637094 w 4591250"/>
              <a:gd name="T9" fmla="*/ 1241659 h 2743200"/>
              <a:gd name="T10" fmla="*/ 3118314 w 4591250"/>
              <a:gd name="T11" fmla="*/ 750770 h 2743200"/>
              <a:gd name="T12" fmla="*/ 3926766 w 4591250"/>
              <a:gd name="T13" fmla="*/ 231006 h 2743200"/>
              <a:gd name="T14" fmla="*/ 4590851 w 4591250"/>
              <a:gd name="T15" fmla="*/ 0 h 2743200"/>
              <a:gd name="T16" fmla="*/ 0 60000 65536"/>
              <a:gd name="T17" fmla="*/ 0 60000 65536"/>
              <a:gd name="T18" fmla="*/ 0 60000 65536"/>
              <a:gd name="T19" fmla="*/ 0 60000 65536"/>
              <a:gd name="T20" fmla="*/ 0 60000 65536"/>
              <a:gd name="T21" fmla="*/ 0 60000 65536"/>
              <a:gd name="T22" fmla="*/ 0 60000 65536"/>
              <a:gd name="T23" fmla="*/ 0 60000 65536"/>
              <a:gd name="T24" fmla="*/ 0 w 4591250"/>
              <a:gd name="T25" fmla="*/ 0 h 2743200"/>
              <a:gd name="T26" fmla="*/ 4591250 w 4591250"/>
              <a:gd name="T27" fmla="*/ 2743200 h 2743200"/>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463353 w 5140203"/>
              <a:gd name="connsiteY1" fmla="*/ 2579570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575639 w 5140203"/>
              <a:gd name="connsiteY1" fmla="*/ 2549342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575639 w 5140203"/>
              <a:gd name="connsiteY1" fmla="*/ 2549342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575639 w 5140203"/>
              <a:gd name="connsiteY1" fmla="*/ 2549342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302393"/>
              <a:gd name="connsiteY0" fmla="*/ 2780986 h 2780986"/>
              <a:gd name="connsiteX1" fmla="*/ 1737829 w 5302393"/>
              <a:gd name="connsiteY1" fmla="*/ 2549342 h 2780986"/>
              <a:gd name="connsiteX2" fmla="*/ 2770949 w 5302393"/>
              <a:gd name="connsiteY2" fmla="*/ 1896177 h 2780986"/>
              <a:gd name="connsiteX3" fmla="*/ 3348465 w 5302393"/>
              <a:gd name="connsiteY3" fmla="*/ 1241659 h 2780986"/>
              <a:gd name="connsiteX4" fmla="*/ 3829728 w 5302393"/>
              <a:gd name="connsiteY4" fmla="*/ 750770 h 2780986"/>
              <a:gd name="connsiteX5" fmla="*/ 4638250 w 5302393"/>
              <a:gd name="connsiteY5" fmla="*/ 231006 h 2780986"/>
              <a:gd name="connsiteX6" fmla="*/ 5302393 w 5302393"/>
              <a:gd name="connsiteY6" fmla="*/ 0 h 2780986"/>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3829728 w 5302393"/>
              <a:gd name="connsiteY4" fmla="*/ 750770 h 2781033"/>
              <a:gd name="connsiteX5" fmla="*/ 4638250 w 5302393"/>
              <a:gd name="connsiteY5" fmla="*/ 231006 h 2781033"/>
              <a:gd name="connsiteX6" fmla="*/ 5302393 w 5302393"/>
              <a:gd name="connsiteY6"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3954491 w 5302393"/>
              <a:gd name="connsiteY4" fmla="*/ 614743 h 2781033"/>
              <a:gd name="connsiteX5" fmla="*/ 4638250 w 5302393"/>
              <a:gd name="connsiteY5" fmla="*/ 231006 h 2781033"/>
              <a:gd name="connsiteX6" fmla="*/ 5302393 w 5302393"/>
              <a:gd name="connsiteY6"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3954491 w 5302393"/>
              <a:gd name="connsiteY4" fmla="*/ 61474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4864764"/>
              <a:gd name="connsiteY0" fmla="*/ 2762806 h 2762862"/>
              <a:gd name="connsiteX1" fmla="*/ 1300200 w 4864764"/>
              <a:gd name="connsiteY1" fmla="*/ 2549342 h 2762862"/>
              <a:gd name="connsiteX2" fmla="*/ 2333320 w 4864764"/>
              <a:gd name="connsiteY2" fmla="*/ 1896177 h 2762862"/>
              <a:gd name="connsiteX3" fmla="*/ 2910836 w 4864764"/>
              <a:gd name="connsiteY3" fmla="*/ 1241659 h 2762862"/>
              <a:gd name="connsiteX4" fmla="*/ 3716480 w 4864764"/>
              <a:gd name="connsiteY4" fmla="*/ 463603 h 2762862"/>
              <a:gd name="connsiteX5" fmla="*/ 4864764 w 4864764"/>
              <a:gd name="connsiteY5" fmla="*/ 0 h 2762862"/>
              <a:gd name="connsiteX0" fmla="*/ 0 w 4864764"/>
              <a:gd name="connsiteY0" fmla="*/ 2762806 h 2762806"/>
              <a:gd name="connsiteX1" fmla="*/ 1300200 w 4864764"/>
              <a:gd name="connsiteY1" fmla="*/ 2549342 h 2762806"/>
              <a:gd name="connsiteX2" fmla="*/ 2333320 w 4864764"/>
              <a:gd name="connsiteY2" fmla="*/ 1896177 h 2762806"/>
              <a:gd name="connsiteX3" fmla="*/ 2910836 w 4864764"/>
              <a:gd name="connsiteY3" fmla="*/ 1241659 h 2762806"/>
              <a:gd name="connsiteX4" fmla="*/ 3716480 w 4864764"/>
              <a:gd name="connsiteY4" fmla="*/ 463603 h 2762806"/>
              <a:gd name="connsiteX5" fmla="*/ 4864764 w 4864764"/>
              <a:gd name="connsiteY5" fmla="*/ 0 h 2762806"/>
              <a:gd name="connsiteX0" fmla="*/ 0 w 4798337"/>
              <a:gd name="connsiteY0" fmla="*/ 2759751 h 2759751"/>
              <a:gd name="connsiteX1" fmla="*/ 1233773 w 4798337"/>
              <a:gd name="connsiteY1" fmla="*/ 2549342 h 2759751"/>
              <a:gd name="connsiteX2" fmla="*/ 2266893 w 4798337"/>
              <a:gd name="connsiteY2" fmla="*/ 1896177 h 2759751"/>
              <a:gd name="connsiteX3" fmla="*/ 2844409 w 4798337"/>
              <a:gd name="connsiteY3" fmla="*/ 1241659 h 2759751"/>
              <a:gd name="connsiteX4" fmla="*/ 3650053 w 4798337"/>
              <a:gd name="connsiteY4" fmla="*/ 463603 h 2759751"/>
              <a:gd name="connsiteX5" fmla="*/ 4798337 w 4798337"/>
              <a:gd name="connsiteY5" fmla="*/ 0 h 2759751"/>
              <a:gd name="connsiteX0" fmla="*/ 0 w 4788394"/>
              <a:gd name="connsiteY0" fmla="*/ 2695724 h 2695724"/>
              <a:gd name="connsiteX1" fmla="*/ 1233773 w 4788394"/>
              <a:gd name="connsiteY1" fmla="*/ 2485315 h 2695724"/>
              <a:gd name="connsiteX2" fmla="*/ 2266893 w 4788394"/>
              <a:gd name="connsiteY2" fmla="*/ 1832150 h 2695724"/>
              <a:gd name="connsiteX3" fmla="*/ 2844409 w 4788394"/>
              <a:gd name="connsiteY3" fmla="*/ 1177632 h 2695724"/>
              <a:gd name="connsiteX4" fmla="*/ 3650053 w 4788394"/>
              <a:gd name="connsiteY4" fmla="*/ 399576 h 2695724"/>
              <a:gd name="connsiteX5" fmla="*/ 4788394 w 4788394"/>
              <a:gd name="connsiteY5" fmla="*/ 0 h 2695724"/>
              <a:gd name="connsiteX0" fmla="*/ 0 w 4788394"/>
              <a:gd name="connsiteY0" fmla="*/ 2695724 h 2695724"/>
              <a:gd name="connsiteX1" fmla="*/ 1233773 w 4788394"/>
              <a:gd name="connsiteY1" fmla="*/ 2485315 h 2695724"/>
              <a:gd name="connsiteX2" fmla="*/ 2266893 w 4788394"/>
              <a:gd name="connsiteY2" fmla="*/ 1832150 h 2695724"/>
              <a:gd name="connsiteX3" fmla="*/ 2844409 w 4788394"/>
              <a:gd name="connsiteY3" fmla="*/ 1177632 h 2695724"/>
              <a:gd name="connsiteX4" fmla="*/ 3650053 w 4788394"/>
              <a:gd name="connsiteY4" fmla="*/ 399576 h 2695724"/>
              <a:gd name="connsiteX5" fmla="*/ 4788394 w 4788394"/>
              <a:gd name="connsiteY5" fmla="*/ 0 h 2695724"/>
              <a:gd name="connsiteX0" fmla="*/ 0 w 4916465"/>
              <a:gd name="connsiteY0" fmla="*/ 2701614 h 2701614"/>
              <a:gd name="connsiteX1" fmla="*/ 1233773 w 4916465"/>
              <a:gd name="connsiteY1" fmla="*/ 2491205 h 2701614"/>
              <a:gd name="connsiteX2" fmla="*/ 2266893 w 4916465"/>
              <a:gd name="connsiteY2" fmla="*/ 1838040 h 2701614"/>
              <a:gd name="connsiteX3" fmla="*/ 2844409 w 4916465"/>
              <a:gd name="connsiteY3" fmla="*/ 1183522 h 2701614"/>
              <a:gd name="connsiteX4" fmla="*/ 3650053 w 4916465"/>
              <a:gd name="connsiteY4" fmla="*/ 405466 h 2701614"/>
              <a:gd name="connsiteX5" fmla="*/ 4916465 w 4916465"/>
              <a:gd name="connsiteY5" fmla="*/ 0 h 2701614"/>
              <a:gd name="connsiteX0" fmla="*/ 0 w 4916465"/>
              <a:gd name="connsiteY0" fmla="*/ 2701614 h 2701614"/>
              <a:gd name="connsiteX1" fmla="*/ 1233773 w 4916465"/>
              <a:gd name="connsiteY1" fmla="*/ 2491205 h 2701614"/>
              <a:gd name="connsiteX2" fmla="*/ 2266893 w 4916465"/>
              <a:gd name="connsiteY2" fmla="*/ 1838040 h 2701614"/>
              <a:gd name="connsiteX3" fmla="*/ 2844409 w 4916465"/>
              <a:gd name="connsiteY3" fmla="*/ 1183522 h 2701614"/>
              <a:gd name="connsiteX4" fmla="*/ 3650053 w 4916465"/>
              <a:gd name="connsiteY4" fmla="*/ 405466 h 2701614"/>
              <a:gd name="connsiteX5" fmla="*/ 4916465 w 4916465"/>
              <a:gd name="connsiteY5" fmla="*/ 0 h 2701614"/>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650053 w 4916465"/>
              <a:gd name="connsiteY4" fmla="*/ 429028 h 2725176"/>
              <a:gd name="connsiteX5" fmla="*/ 4916465 w 4916465"/>
              <a:gd name="connsiteY5" fmla="*/ 0 h 2725176"/>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650053 w 4916465"/>
              <a:gd name="connsiteY4" fmla="*/ 429028 h 2725176"/>
              <a:gd name="connsiteX5" fmla="*/ 4916465 w 4916465"/>
              <a:gd name="connsiteY5" fmla="*/ 0 h 2725176"/>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650053 w 4916465"/>
              <a:gd name="connsiteY4" fmla="*/ 429028 h 2725176"/>
              <a:gd name="connsiteX5" fmla="*/ 4916465 w 4916465"/>
              <a:gd name="connsiteY5" fmla="*/ 0 h 2725176"/>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517090 w 4916465"/>
              <a:gd name="connsiteY4" fmla="*/ 566015 h 2725176"/>
              <a:gd name="connsiteX5" fmla="*/ 4916465 w 4916465"/>
              <a:gd name="connsiteY5" fmla="*/ 0 h 2725176"/>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517090 w 4770205"/>
              <a:gd name="connsiteY4" fmla="*/ 437590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517090 w 4770205"/>
              <a:gd name="connsiteY4" fmla="*/ 437590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485473 w 4733318"/>
              <a:gd name="connsiteY3" fmla="*/ 440983 h 2556033"/>
              <a:gd name="connsiteX4" fmla="*/ 4733318 w 4733318"/>
              <a:gd name="connsiteY4"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333414 w 4733318"/>
              <a:gd name="connsiteY3" fmla="*/ 542813 h 2556033"/>
              <a:gd name="connsiteX4" fmla="*/ 4733318 w 4733318"/>
              <a:gd name="connsiteY4"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333414 w 4733318"/>
              <a:gd name="connsiteY3" fmla="*/ 542813 h 2556033"/>
              <a:gd name="connsiteX4" fmla="*/ 4733318 w 4733318"/>
              <a:gd name="connsiteY4"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333414 w 4733318"/>
              <a:gd name="connsiteY3" fmla="*/ 542813 h 2556033"/>
              <a:gd name="connsiteX4" fmla="*/ 4733318 w 4733318"/>
              <a:gd name="connsiteY4" fmla="*/ 0 h 2556033"/>
              <a:gd name="connsiteX0" fmla="*/ 0 w 4727237"/>
              <a:gd name="connsiteY0" fmla="*/ 2505119 h 2505119"/>
              <a:gd name="connsiteX1" fmla="*/ 1233773 w 4727237"/>
              <a:gd name="connsiteY1" fmla="*/ 2294710 h 2505119"/>
              <a:gd name="connsiteX2" fmla="*/ 2266893 w 4727237"/>
              <a:gd name="connsiteY2" fmla="*/ 1641545 h 2505119"/>
              <a:gd name="connsiteX3" fmla="*/ 3333414 w 4727237"/>
              <a:gd name="connsiteY3" fmla="*/ 491899 h 2505119"/>
              <a:gd name="connsiteX4" fmla="*/ 4727237 w 4727237"/>
              <a:gd name="connsiteY4" fmla="*/ 0 h 2505119"/>
              <a:gd name="connsiteX0" fmla="*/ 0 w 4727237"/>
              <a:gd name="connsiteY0" fmla="*/ 2520785 h 2520785"/>
              <a:gd name="connsiteX1" fmla="*/ 1233773 w 4727237"/>
              <a:gd name="connsiteY1" fmla="*/ 2310376 h 2520785"/>
              <a:gd name="connsiteX2" fmla="*/ 2266893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266893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07326 w 4405495"/>
              <a:gd name="connsiteY3" fmla="*/ 457173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37576 h 2456394"/>
              <a:gd name="connsiteX4" fmla="*/ 4405495 w 4405495"/>
              <a:gd name="connsiteY4" fmla="*/ 0 h 2456394"/>
              <a:gd name="connsiteX0" fmla="*/ 0 w 4370711"/>
              <a:gd name="connsiteY0" fmla="*/ 2464793 h 2464793"/>
              <a:gd name="connsiteX1" fmla="*/ 1233773 w 4370711"/>
              <a:gd name="connsiteY1" fmla="*/ 2254384 h 2464793"/>
              <a:gd name="connsiteX2" fmla="*/ 2309469 w 4370711"/>
              <a:gd name="connsiteY2" fmla="*/ 1601219 h 2464793"/>
              <a:gd name="connsiteX3" fmla="*/ 3333414 w 4370711"/>
              <a:gd name="connsiteY3" fmla="*/ 445975 h 2464793"/>
              <a:gd name="connsiteX4" fmla="*/ 4370711 w 4370711"/>
              <a:gd name="connsiteY4" fmla="*/ 0 h 2464793"/>
              <a:gd name="connsiteX0" fmla="*/ 0 w 4370711"/>
              <a:gd name="connsiteY0" fmla="*/ 2464793 h 2464793"/>
              <a:gd name="connsiteX1" fmla="*/ 1233773 w 4370711"/>
              <a:gd name="connsiteY1" fmla="*/ 2254384 h 2464793"/>
              <a:gd name="connsiteX2" fmla="*/ 2309469 w 4370711"/>
              <a:gd name="connsiteY2" fmla="*/ 1601219 h 2464793"/>
              <a:gd name="connsiteX3" fmla="*/ 3333414 w 4370711"/>
              <a:gd name="connsiteY3" fmla="*/ 445975 h 2464793"/>
              <a:gd name="connsiteX4" fmla="*/ 4370711 w 4370711"/>
              <a:gd name="connsiteY4" fmla="*/ 0 h 2464793"/>
              <a:gd name="connsiteX0" fmla="*/ 0 w 4370711"/>
              <a:gd name="connsiteY0" fmla="*/ 2464793 h 2464793"/>
              <a:gd name="connsiteX1" fmla="*/ 1233773 w 4370711"/>
              <a:gd name="connsiteY1" fmla="*/ 2254384 h 2464793"/>
              <a:gd name="connsiteX2" fmla="*/ 2337359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337359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374545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360600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370711"/>
              <a:gd name="connsiteY0" fmla="*/ 2464793 h 2464793"/>
              <a:gd name="connsiteX1" fmla="*/ 1411583 w 4370711"/>
              <a:gd name="connsiteY1" fmla="*/ 2228356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370711"/>
              <a:gd name="connsiteY0" fmla="*/ 2464793 h 2464793"/>
              <a:gd name="connsiteX1" fmla="*/ 1411583 w 4370711"/>
              <a:gd name="connsiteY1" fmla="*/ 2228356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89629"/>
              <a:gd name="connsiteY0" fmla="*/ 2471045 h 2471045"/>
              <a:gd name="connsiteX1" fmla="*/ 1411583 w 4289629"/>
              <a:gd name="connsiteY1" fmla="*/ 2234608 h 2471045"/>
              <a:gd name="connsiteX2" fmla="*/ 2405346 w 4289629"/>
              <a:gd name="connsiteY2" fmla="*/ 1609007 h 2471045"/>
              <a:gd name="connsiteX3" fmla="*/ 3333414 w 4289629"/>
              <a:gd name="connsiteY3" fmla="*/ 452227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3414 w 4289629"/>
              <a:gd name="connsiteY3" fmla="*/ 452227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3414 w 4289629"/>
              <a:gd name="connsiteY3" fmla="*/ 452227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99838"/>
              <a:gd name="connsiteY0" fmla="*/ 2490768 h 2490768"/>
              <a:gd name="connsiteX1" fmla="*/ 1411583 w 4299838"/>
              <a:gd name="connsiteY1" fmla="*/ 2254331 h 2490768"/>
              <a:gd name="connsiteX2" fmla="*/ 2405346 w 4299838"/>
              <a:gd name="connsiteY2" fmla="*/ 1628730 h 2490768"/>
              <a:gd name="connsiteX3" fmla="*/ 3339563 w 4299838"/>
              <a:gd name="connsiteY3" fmla="*/ 462053 h 2490768"/>
              <a:gd name="connsiteX4" fmla="*/ 4299838 w 4299838"/>
              <a:gd name="connsiteY4" fmla="*/ 0 h 2490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9838" h="2490768">
                <a:moveTo>
                  <a:pt x="0" y="2490768"/>
                </a:moveTo>
                <a:cubicBezTo>
                  <a:pt x="587319" y="2465864"/>
                  <a:pt x="1000749" y="2410809"/>
                  <a:pt x="1411583" y="2254331"/>
                </a:cubicBezTo>
                <a:cubicBezTo>
                  <a:pt x="1822417" y="2097853"/>
                  <a:pt x="2084016" y="1927443"/>
                  <a:pt x="2405346" y="1628730"/>
                </a:cubicBezTo>
                <a:cubicBezTo>
                  <a:pt x="2726676" y="1330017"/>
                  <a:pt x="3023814" y="733508"/>
                  <a:pt x="3339563" y="462053"/>
                </a:cubicBezTo>
                <a:cubicBezTo>
                  <a:pt x="3655312" y="190598"/>
                  <a:pt x="3999976" y="68859"/>
                  <a:pt x="4299838" y="0"/>
                </a:cubicBezTo>
              </a:path>
            </a:pathLst>
          </a:custGeom>
          <a:noFill/>
          <a:ln w="25400" cap="rnd" algn="ctr">
            <a:solidFill>
              <a:srgbClr val="00B050"/>
            </a:solidFill>
            <a:round/>
            <a:headEnd/>
            <a:tailEnd/>
          </a:ln>
          <a:extLst>
            <a:ext uri="{909E8E84-426E-40DD-AFC4-6F175D3DCCD1}">
              <a14:hiddenFill xmlns:a14="http://schemas.microsoft.com/office/drawing/2010/main">
                <a:solidFill>
                  <a:srgbClr val="FFFFFF"/>
                </a:solidFill>
              </a14:hiddenFill>
            </a:ext>
          </a:extLst>
        </p:spPr>
        <p:txBody>
          <a:bodyPr wrap="none" lIns="83058" tIns="43190" rIns="83058" bIns="43190"/>
          <a:lstStyle/>
          <a:p>
            <a:pPr defTabSz="844083">
              <a:defRPr/>
            </a:pPr>
            <a:endParaRPr lang="de-DE" sz="1477" dirty="0">
              <a:solidFill>
                <a:srgbClr val="000000"/>
              </a:solidFill>
              <a:latin typeface="Arial"/>
              <a:cs typeface="Arial" charset="0"/>
            </a:endParaRPr>
          </a:p>
        </p:txBody>
      </p:sp>
      <p:grpSp>
        <p:nvGrpSpPr>
          <p:cNvPr id="111" name="Group 110"/>
          <p:cNvGrpSpPr/>
          <p:nvPr/>
        </p:nvGrpSpPr>
        <p:grpSpPr>
          <a:xfrm>
            <a:off x="2357246" y="5107570"/>
            <a:ext cx="565326" cy="165787"/>
            <a:chOff x="2204432" y="5090329"/>
            <a:chExt cx="612437" cy="179603"/>
          </a:xfrm>
        </p:grpSpPr>
        <p:sp>
          <p:nvSpPr>
            <p:cNvPr id="112" name="Freihandform 50"/>
            <p:cNvSpPr/>
            <p:nvPr/>
          </p:nvSpPr>
          <p:spPr>
            <a:xfrm rot="224175">
              <a:off x="2204432" y="5162018"/>
              <a:ext cx="600577" cy="45719"/>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0000 h 10000"/>
                <a:gd name="connsiteX1" fmla="*/ 10000 w 10000"/>
                <a:gd name="connsiteY1" fmla="*/ 0 h 10000"/>
                <a:gd name="connsiteX0" fmla="*/ 0 w 10000"/>
                <a:gd name="connsiteY0" fmla="*/ 10000 h 10000"/>
                <a:gd name="connsiteX1" fmla="*/ 10000 w 10000"/>
                <a:gd name="connsiteY1" fmla="*/ 0 h 10000"/>
              </a:gdLst>
              <a:ahLst/>
              <a:cxnLst>
                <a:cxn ang="0">
                  <a:pos x="connsiteX0" y="connsiteY0"/>
                </a:cxn>
                <a:cxn ang="0">
                  <a:pos x="connsiteX1" y="connsiteY1"/>
                </a:cxn>
              </a:cxnLst>
              <a:rect l="l" t="t" r="r" b="b"/>
              <a:pathLst>
                <a:path w="10000" h="10000">
                  <a:moveTo>
                    <a:pt x="0" y="10000"/>
                  </a:moveTo>
                  <a:cubicBezTo>
                    <a:pt x="3501" y="9958"/>
                    <a:pt x="5938" y="6625"/>
                    <a:pt x="10000" y="0"/>
                  </a:cubicBezTo>
                </a:path>
              </a:pathLst>
            </a:custGeom>
            <a:noFill/>
            <a:ln w="25400" cap="rnd" algn="ctr">
              <a:solidFill>
                <a:srgbClr val="00B050">
                  <a:alpha val="59000"/>
                </a:srgbClr>
              </a:solidFill>
              <a:prstDash val="sysDash"/>
              <a:round/>
              <a:headEnd/>
              <a:tailEnd/>
            </a:ln>
          </p:spPr>
          <p:txBody>
            <a:bodyPr wrap="none" lIns="83058" tIns="43190" rIns="83058" bIns="43190"/>
            <a:lstStyle/>
            <a:p>
              <a:pPr defTabSz="844083" eaLnBrk="1" hangingPunct="1">
                <a:spcAft>
                  <a:spcPct val="0"/>
                </a:spcAft>
                <a:defRPr/>
              </a:pPr>
              <a:endParaRPr lang="de-DE" sz="1477" dirty="0">
                <a:solidFill>
                  <a:srgbClr val="000000"/>
                </a:solidFill>
                <a:latin typeface="Arial"/>
                <a:cs typeface="Arial" charset="0"/>
              </a:endParaRPr>
            </a:p>
          </p:txBody>
        </p:sp>
        <p:sp>
          <p:nvSpPr>
            <p:cNvPr id="113" name="Freihandform 50"/>
            <p:cNvSpPr/>
            <p:nvPr/>
          </p:nvSpPr>
          <p:spPr>
            <a:xfrm rot="21054672">
              <a:off x="2211858" y="5224213"/>
              <a:ext cx="600576" cy="45719"/>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0000 h 10000"/>
                <a:gd name="connsiteX1" fmla="*/ 10000 w 10000"/>
                <a:gd name="connsiteY1" fmla="*/ 0 h 10000"/>
                <a:gd name="connsiteX0" fmla="*/ 0 w 10000"/>
                <a:gd name="connsiteY0" fmla="*/ 10000 h 10000"/>
                <a:gd name="connsiteX1" fmla="*/ 10000 w 10000"/>
                <a:gd name="connsiteY1" fmla="*/ 0 h 10000"/>
                <a:gd name="connsiteX0" fmla="*/ 0 w 10000"/>
                <a:gd name="connsiteY0" fmla="*/ 10643 h 10643"/>
                <a:gd name="connsiteX1" fmla="*/ 10000 w 10000"/>
                <a:gd name="connsiteY1" fmla="*/ 643 h 10643"/>
                <a:gd name="connsiteX0" fmla="*/ 0 w 10000"/>
                <a:gd name="connsiteY0" fmla="*/ 11318 h 11318"/>
                <a:gd name="connsiteX1" fmla="*/ 10000 w 10000"/>
                <a:gd name="connsiteY1" fmla="*/ 1318 h 11318"/>
              </a:gdLst>
              <a:ahLst/>
              <a:cxnLst>
                <a:cxn ang="0">
                  <a:pos x="connsiteX0" y="connsiteY0"/>
                </a:cxn>
                <a:cxn ang="0">
                  <a:pos x="connsiteX1" y="connsiteY1"/>
                </a:cxn>
              </a:cxnLst>
              <a:rect l="l" t="t" r="r" b="b"/>
              <a:pathLst>
                <a:path w="10000" h="11318">
                  <a:moveTo>
                    <a:pt x="0" y="11318"/>
                  </a:moveTo>
                  <a:cubicBezTo>
                    <a:pt x="3951" y="2027"/>
                    <a:pt x="5808" y="-2409"/>
                    <a:pt x="10000" y="1318"/>
                  </a:cubicBezTo>
                </a:path>
              </a:pathLst>
            </a:custGeom>
            <a:noFill/>
            <a:ln w="25400" cap="rnd" algn="ctr">
              <a:solidFill>
                <a:srgbClr val="00B050">
                  <a:alpha val="59000"/>
                </a:srgbClr>
              </a:solidFill>
              <a:prstDash val="sysDash"/>
              <a:round/>
              <a:headEnd/>
              <a:tailEnd/>
            </a:ln>
          </p:spPr>
          <p:txBody>
            <a:bodyPr wrap="none" lIns="83058" tIns="43190" rIns="83058" bIns="43190"/>
            <a:lstStyle/>
            <a:p>
              <a:pPr defTabSz="844083" eaLnBrk="1" hangingPunct="1">
                <a:spcAft>
                  <a:spcPct val="0"/>
                </a:spcAft>
                <a:defRPr/>
              </a:pPr>
              <a:endParaRPr lang="de-DE" sz="1477" dirty="0">
                <a:solidFill>
                  <a:srgbClr val="000000"/>
                </a:solidFill>
                <a:latin typeface="Arial"/>
                <a:cs typeface="Arial" charset="0"/>
              </a:endParaRPr>
            </a:p>
          </p:txBody>
        </p:sp>
        <p:sp>
          <p:nvSpPr>
            <p:cNvPr id="114" name="Freihandform 50"/>
            <p:cNvSpPr/>
            <p:nvPr/>
          </p:nvSpPr>
          <p:spPr>
            <a:xfrm rot="1088803">
              <a:off x="2216292" y="5090329"/>
              <a:ext cx="600577" cy="60275"/>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0000 h 10000"/>
                <a:gd name="connsiteX1" fmla="*/ 10000 w 10000"/>
                <a:gd name="connsiteY1" fmla="*/ 0 h 10000"/>
                <a:gd name="connsiteX0" fmla="*/ 0 w 10000"/>
                <a:gd name="connsiteY0" fmla="*/ 10000 h 10000"/>
                <a:gd name="connsiteX1" fmla="*/ 10000 w 10000"/>
                <a:gd name="connsiteY1" fmla="*/ 0 h 10000"/>
                <a:gd name="connsiteX0" fmla="*/ 0 w 10000"/>
                <a:gd name="connsiteY0" fmla="*/ 10000 h 15047"/>
                <a:gd name="connsiteX1" fmla="*/ 10000 w 10000"/>
                <a:gd name="connsiteY1" fmla="*/ 0 h 15047"/>
                <a:gd name="connsiteX0" fmla="*/ 0 w 10000"/>
                <a:gd name="connsiteY0" fmla="*/ 10000 h 17401"/>
                <a:gd name="connsiteX1" fmla="*/ 10000 w 10000"/>
                <a:gd name="connsiteY1" fmla="*/ 0 h 17401"/>
              </a:gdLst>
              <a:ahLst/>
              <a:cxnLst>
                <a:cxn ang="0">
                  <a:pos x="connsiteX0" y="connsiteY0"/>
                </a:cxn>
                <a:cxn ang="0">
                  <a:pos x="connsiteX1" y="connsiteY1"/>
                </a:cxn>
              </a:cxnLst>
              <a:rect l="l" t="t" r="r" b="b"/>
              <a:pathLst>
                <a:path w="10000" h="17401">
                  <a:moveTo>
                    <a:pt x="0" y="10000"/>
                  </a:moveTo>
                  <a:cubicBezTo>
                    <a:pt x="3575" y="23398"/>
                    <a:pt x="5829" y="17739"/>
                    <a:pt x="10000" y="0"/>
                  </a:cubicBezTo>
                </a:path>
              </a:pathLst>
            </a:custGeom>
            <a:noFill/>
            <a:ln w="25400" cap="rnd" algn="ctr">
              <a:solidFill>
                <a:srgbClr val="00B050">
                  <a:alpha val="59000"/>
                </a:srgbClr>
              </a:solidFill>
              <a:prstDash val="sysDash"/>
              <a:round/>
              <a:headEnd/>
              <a:tailEnd/>
            </a:ln>
          </p:spPr>
          <p:txBody>
            <a:bodyPr wrap="none" lIns="83058" tIns="43190" rIns="83058" bIns="43190"/>
            <a:lstStyle/>
            <a:p>
              <a:pPr defTabSz="844083" eaLnBrk="1" hangingPunct="1">
                <a:spcAft>
                  <a:spcPct val="0"/>
                </a:spcAft>
                <a:defRPr/>
              </a:pPr>
              <a:endParaRPr lang="de-DE" sz="1477" dirty="0">
                <a:solidFill>
                  <a:srgbClr val="000000"/>
                </a:solidFill>
                <a:latin typeface="Arial"/>
                <a:cs typeface="Arial" charset="0"/>
              </a:endParaRPr>
            </a:p>
          </p:txBody>
        </p:sp>
      </p:grpSp>
      <p:pic>
        <p:nvPicPr>
          <p:cNvPr id="28"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3276260" y="3564358"/>
            <a:ext cx="1810326" cy="1557330"/>
          </a:xfrm>
          <a:prstGeom prst="rect">
            <a:avLst/>
          </a:prstGeom>
          <a:noFill/>
          <a:extLst>
            <a:ext uri="{909E8E84-426E-40DD-AFC4-6F175D3DCCD1}">
              <a14:hiddenFill xmlns:a14="http://schemas.microsoft.com/office/drawing/2010/main">
                <a:solidFill>
                  <a:srgbClr val="FFFFFF"/>
                </a:solidFill>
              </a14:hiddenFill>
            </a:ext>
          </a:extLst>
        </p:spPr>
      </p:pic>
      <p:cxnSp>
        <p:nvCxnSpPr>
          <p:cNvPr id="102" name="Gerade Verbindung 114"/>
          <p:cNvCxnSpPr>
            <a:cxnSpLocks noChangeShapeType="1"/>
          </p:cNvCxnSpPr>
          <p:nvPr/>
        </p:nvCxnSpPr>
        <p:spPr bwMode="auto">
          <a:xfrm>
            <a:off x="4169308" y="2066193"/>
            <a:ext cx="0" cy="3926562"/>
          </a:xfrm>
          <a:prstGeom prst="line">
            <a:avLst/>
          </a:prstGeom>
          <a:noFill/>
          <a:ln w="12700" cap="rnd" algn="ctr">
            <a:solidFill>
              <a:schemeClr val="tx1"/>
            </a:solidFill>
            <a:prstDash val="dash"/>
            <a:round/>
            <a:headEnd/>
            <a:tailEnd/>
          </a:ln>
        </p:spPr>
      </p:cxnSp>
      <p:cxnSp>
        <p:nvCxnSpPr>
          <p:cNvPr id="107" name="Gerade Verbindung mit Pfeil 6"/>
          <p:cNvCxnSpPr>
            <a:cxnSpLocks noChangeShapeType="1"/>
          </p:cNvCxnSpPr>
          <p:nvPr/>
        </p:nvCxnSpPr>
        <p:spPr bwMode="auto">
          <a:xfrm flipV="1">
            <a:off x="1904408" y="2066194"/>
            <a:ext cx="0" cy="3705959"/>
          </a:xfrm>
          <a:prstGeom prst="straightConnector1">
            <a:avLst/>
          </a:prstGeom>
          <a:noFill/>
          <a:ln w="12700" cap="rnd" algn="ctr">
            <a:solidFill>
              <a:schemeClr val="tx1"/>
            </a:solidFill>
            <a:round/>
            <a:headEnd/>
            <a:tailEnd type="triangle" w="med" len="med"/>
          </a:ln>
        </p:spPr>
      </p:cxnSp>
      <p:sp>
        <p:nvSpPr>
          <p:cNvPr id="29" name="Kritische Entscheidungszone"/>
          <p:cNvSpPr txBox="1">
            <a:spLocks noChangeArrowheads="1"/>
          </p:cNvSpPr>
          <p:nvPr/>
        </p:nvSpPr>
        <p:spPr bwMode="auto">
          <a:xfrm>
            <a:off x="4519676" y="4608830"/>
            <a:ext cx="2822906" cy="539581"/>
          </a:xfrm>
          <a:prstGeom prst="rect">
            <a:avLst/>
          </a:prstGeom>
          <a:noFill/>
          <a:ln w="9525">
            <a:noFill/>
            <a:miter lim="800000"/>
            <a:headEnd/>
            <a:tailEnd/>
          </a:ln>
        </p:spPr>
        <p:txBody>
          <a:bodyPr wrap="none" lIns="84146" tIns="42074" rIns="84146" bIns="42074">
            <a:spAutoFit/>
          </a:bodyPr>
          <a:lstStyle>
            <a:defPPr>
              <a:defRPr lang="de-DE"/>
            </a:defPPr>
            <a:lvl1pPr>
              <a:spcAft>
                <a:spcPct val="0"/>
              </a:spcAft>
              <a:defRPr sz="1500">
                <a:solidFill>
                  <a:srgbClr val="E20000"/>
                </a:solidFill>
              </a:defRPr>
            </a:lvl1pPr>
          </a:lstStyle>
          <a:p>
            <a:pPr defTabSz="844083" eaLnBrk="1" hangingPunct="1">
              <a:defRPr/>
            </a:pPr>
            <a:r>
              <a:rPr lang="de-DE" sz="1477" b="1" dirty="0">
                <a:solidFill>
                  <a:srgbClr val="E62614"/>
                </a:solidFill>
                <a:latin typeface="Arial"/>
                <a:cs typeface="Arial" charset="0"/>
              </a:rPr>
              <a:t>Kritische</a:t>
            </a:r>
            <a:r>
              <a:rPr lang="de-DE" sz="1477" b="1" dirty="0">
                <a:gradFill flip="none" rotWithShape="1">
                  <a:gsLst>
                    <a:gs pos="0">
                      <a:srgbClr val="4AD378"/>
                    </a:gs>
                    <a:gs pos="50000">
                      <a:srgbClr val="CED6BD"/>
                    </a:gs>
                    <a:gs pos="100000">
                      <a:srgbClr val="E62614"/>
                    </a:gs>
                  </a:gsLst>
                  <a:lin ang="2700000" scaled="1"/>
                  <a:tileRect/>
                </a:gradFill>
                <a:latin typeface="Arial"/>
                <a:cs typeface="Arial" charset="0"/>
              </a:rPr>
              <a:t> </a:t>
            </a:r>
            <a:r>
              <a:rPr lang="de-DE" sz="1477" b="1" dirty="0">
                <a:gradFill flip="none" rotWithShape="1">
                  <a:gsLst>
                    <a:gs pos="32000">
                      <a:srgbClr val="00B050"/>
                    </a:gs>
                    <a:gs pos="41000">
                      <a:srgbClr val="A2625C"/>
                    </a:gs>
                    <a:gs pos="50000">
                      <a:srgbClr val="FF0000"/>
                    </a:gs>
                  </a:gsLst>
                  <a:lin ang="14400000" scaled="0"/>
                  <a:tileRect/>
                </a:gradFill>
                <a:latin typeface="Arial"/>
                <a:cs typeface="Arial" charset="0"/>
              </a:rPr>
              <a:t>Entscheidungszone</a:t>
            </a:r>
            <a:r>
              <a:rPr lang="de-DE" sz="1477" b="1" dirty="0">
                <a:gradFill flip="none" rotWithShape="1">
                  <a:gsLst>
                    <a:gs pos="0">
                      <a:srgbClr val="4AD378"/>
                    </a:gs>
                    <a:gs pos="50000">
                      <a:srgbClr val="CED6BD"/>
                    </a:gs>
                    <a:gs pos="100000">
                      <a:srgbClr val="E62614"/>
                    </a:gs>
                  </a:gsLst>
                  <a:lin ang="2700000" scaled="1"/>
                  <a:tileRect/>
                </a:gradFill>
                <a:latin typeface="Arial"/>
                <a:cs typeface="Arial" charset="0"/>
              </a:rPr>
              <a:t/>
            </a:r>
            <a:br>
              <a:rPr lang="de-DE" sz="1477" b="1" dirty="0">
                <a:gradFill flip="none" rotWithShape="1">
                  <a:gsLst>
                    <a:gs pos="0">
                      <a:srgbClr val="4AD378"/>
                    </a:gs>
                    <a:gs pos="50000">
                      <a:srgbClr val="CED6BD"/>
                    </a:gs>
                    <a:gs pos="100000">
                      <a:srgbClr val="E62614"/>
                    </a:gs>
                  </a:gsLst>
                  <a:lin ang="2700000" scaled="1"/>
                  <a:tileRect/>
                </a:gradFill>
                <a:latin typeface="Arial"/>
                <a:cs typeface="Arial" charset="0"/>
              </a:rPr>
            </a:br>
            <a:r>
              <a:rPr lang="de-DE" sz="1477" b="1" dirty="0">
                <a:gradFill flip="none" rotWithShape="1">
                  <a:gsLst>
                    <a:gs pos="55000">
                      <a:srgbClr val="15935A"/>
                    </a:gs>
                    <a:gs pos="65000">
                      <a:srgbClr val="A2625C"/>
                    </a:gs>
                    <a:gs pos="73000">
                      <a:srgbClr val="E62614"/>
                    </a:gs>
                  </a:gsLst>
                  <a:lin ang="14400000" scaled="0"/>
                  <a:tileRect/>
                </a:gradFill>
                <a:latin typeface="Arial"/>
                <a:cs typeface="Arial" charset="0"/>
              </a:rPr>
              <a:t>Verlagerung</a:t>
            </a:r>
            <a:r>
              <a:rPr lang="de-DE" sz="1477" b="1" dirty="0">
                <a:gradFill flip="none" rotWithShape="1">
                  <a:gsLst>
                    <a:gs pos="0">
                      <a:srgbClr val="4AD378"/>
                    </a:gs>
                    <a:gs pos="50000">
                      <a:srgbClr val="CED6BD"/>
                    </a:gs>
                    <a:gs pos="100000">
                      <a:srgbClr val="E62614"/>
                    </a:gs>
                  </a:gsLst>
                  <a:lin ang="2700000" scaled="1"/>
                  <a:tileRect/>
                </a:gradFill>
                <a:latin typeface="Arial"/>
                <a:cs typeface="Arial" charset="0"/>
              </a:rPr>
              <a:t> </a:t>
            </a:r>
            <a:r>
              <a:rPr lang="de-DE" sz="1477" b="1" dirty="0">
                <a:solidFill>
                  <a:srgbClr val="00B050"/>
                </a:solidFill>
                <a:latin typeface="Arial"/>
                <a:cs typeface="Arial" charset="0"/>
              </a:rPr>
              <a:t>von</a:t>
            </a:r>
            <a:r>
              <a:rPr lang="de-DE" sz="1477" b="1" dirty="0">
                <a:gradFill flip="none" rotWithShape="1">
                  <a:gsLst>
                    <a:gs pos="0">
                      <a:srgbClr val="4AD378"/>
                    </a:gs>
                    <a:gs pos="50000">
                      <a:srgbClr val="CED6BD"/>
                    </a:gs>
                    <a:gs pos="100000">
                      <a:srgbClr val="E62614"/>
                    </a:gs>
                  </a:gsLst>
                  <a:lin ang="2700000" scaled="1"/>
                  <a:tileRect/>
                </a:gradFill>
                <a:latin typeface="Arial"/>
                <a:cs typeface="Arial" charset="0"/>
              </a:rPr>
              <a:t> </a:t>
            </a:r>
            <a:r>
              <a:rPr lang="de-DE" sz="1477" b="1" dirty="0">
                <a:solidFill>
                  <a:srgbClr val="00B050"/>
                </a:solidFill>
                <a:latin typeface="Arial"/>
                <a:cs typeface="Arial" charset="0"/>
              </a:rPr>
              <a:t>Ressourcen</a:t>
            </a:r>
          </a:p>
        </p:txBody>
      </p:sp>
      <p:sp>
        <p:nvSpPr>
          <p:cNvPr id="27" name="Abgerundetes Rechteck 87">
            <a:hlinkClick r:id="rId4" action="ppaction://hlinksldjump"/>
          </p:cNvPr>
          <p:cNvSpPr/>
          <p:nvPr/>
        </p:nvSpPr>
        <p:spPr bwMode="auto">
          <a:xfrm>
            <a:off x="4604077" y="360486"/>
            <a:ext cx="697846" cy="232615"/>
          </a:xfrm>
          <a:prstGeom prst="roundRect">
            <a:avLst/>
          </a:prstGeom>
          <a:solidFill>
            <a:schemeClr val="accent6">
              <a:lumMod val="20000"/>
              <a:lumOff val="80000"/>
            </a:schemeClr>
          </a:solidFill>
          <a:ln w="9525" cap="flat" cmpd="sng" algn="ctr">
            <a:solidFill>
              <a:schemeClr val="accent4"/>
            </a:solidFill>
            <a:prstDash val="solid"/>
            <a:round/>
            <a:headEnd type="none" w="med" len="med"/>
            <a:tailEnd type="none" w="med" len="med"/>
          </a:ln>
          <a:effectLst/>
        </p:spPr>
        <p:txBody>
          <a:bodyPr vert="horz" wrap="square" lIns="83077" tIns="43200" rIns="83077" bIns="43200" numCol="1" rtlCol="0" anchor="ctr" anchorCtr="0" compatLnSpc="1">
            <a:prstTxWarp prst="textNoShape">
              <a:avLst/>
            </a:prstTxWarp>
          </a:bodyPr>
          <a:lstStyle/>
          <a:p>
            <a:pPr algn="ctr" defTabSz="844083">
              <a:defRPr/>
            </a:pPr>
            <a:r>
              <a:rPr lang="de-DE" sz="738" dirty="0">
                <a:solidFill>
                  <a:srgbClr val="000000"/>
                </a:solidFill>
                <a:latin typeface="Calibri"/>
                <a:cs typeface="Arial" charset="0"/>
              </a:rPr>
              <a:t>Animation</a:t>
            </a:r>
          </a:p>
        </p:txBody>
      </p:sp>
    </p:spTree>
    <p:extLst>
      <p:ext uri="{BB962C8B-B14F-4D97-AF65-F5344CB8AC3E}">
        <p14:creationId xmlns:p14="http://schemas.microsoft.com/office/powerpoint/2010/main" val="3789565929"/>
      </p:ext>
    </p:extLst>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365459" y="798554"/>
            <a:ext cx="5185754" cy="561600"/>
          </a:xfrm>
        </p:spPr>
        <p:txBody>
          <a:bodyPr/>
          <a:lstStyle/>
          <a:p>
            <a:pPr algn="l"/>
            <a:r>
              <a:rPr lang="de-DE" dirty="0" smtClean="0">
                <a:solidFill>
                  <a:srgbClr val="000000"/>
                </a:solidFill>
              </a:rPr>
              <a:t>WIE WIR DEN WANDEL MEISTERN</a:t>
            </a:r>
            <a:br>
              <a:rPr lang="de-DE" dirty="0" smtClean="0">
                <a:solidFill>
                  <a:srgbClr val="000000"/>
                </a:solidFill>
              </a:rPr>
            </a:br>
            <a:r>
              <a:rPr lang="de-DE" dirty="0">
                <a:solidFill>
                  <a:srgbClr val="000000"/>
                </a:solidFill>
              </a:rPr>
              <a:t/>
            </a:r>
            <a:br>
              <a:rPr lang="de-DE" dirty="0">
                <a:solidFill>
                  <a:srgbClr val="000000"/>
                </a:solidFill>
              </a:rPr>
            </a:br>
            <a:endParaRPr lang="de-CH" dirty="0"/>
          </a:p>
        </p:txBody>
      </p:sp>
      <p:sp>
        <p:nvSpPr>
          <p:cNvPr id="3" name="Inhaltsplatzhalter 2"/>
          <p:cNvSpPr>
            <a:spLocks noGrp="1"/>
          </p:cNvSpPr>
          <p:nvPr>
            <p:ph sz="quarter" idx="13"/>
          </p:nvPr>
        </p:nvSpPr>
        <p:spPr>
          <a:xfrm>
            <a:off x="381000" y="1498882"/>
            <a:ext cx="8628068" cy="4982160"/>
          </a:xfrm>
        </p:spPr>
        <p:txBody>
          <a:bodyPr/>
          <a:lstStyle/>
          <a:p>
            <a:pPr marL="993556" defTabSz="633058">
              <a:lnSpc>
                <a:spcPct val="150000"/>
              </a:lnSpc>
            </a:pPr>
            <a:r>
              <a:rPr lang="de-DE" b="1" dirty="0">
                <a:solidFill>
                  <a:srgbClr val="000000"/>
                </a:solidFill>
              </a:rPr>
              <a:t>Einige der wichtigsten Voraussetzungen sind: </a:t>
            </a:r>
          </a:p>
          <a:p>
            <a:pPr marL="1204576" indent="-211021" defTabSz="633058">
              <a:spcAft>
                <a:spcPts val="277"/>
              </a:spcAft>
              <a:buFont typeface="+mj-lt"/>
              <a:buAutoNum type="arabicPeriod"/>
            </a:pPr>
            <a:r>
              <a:rPr lang="de-DE" b="1" dirty="0">
                <a:solidFill>
                  <a:srgbClr val="000000"/>
                </a:solidFill>
              </a:rPr>
              <a:t>Den Charakter dieses Wandels umfassend verstehen lernen</a:t>
            </a:r>
          </a:p>
          <a:p>
            <a:pPr marL="1204576" indent="-211021" defTabSz="633058">
              <a:spcAft>
                <a:spcPts val="277"/>
              </a:spcAft>
              <a:buFont typeface="+mj-lt"/>
              <a:buAutoNum type="arabicPeriod"/>
            </a:pPr>
            <a:r>
              <a:rPr lang="de-DE" b="1" dirty="0">
                <a:solidFill>
                  <a:srgbClr val="000000"/>
                </a:solidFill>
              </a:rPr>
              <a:t>Die „</a:t>
            </a:r>
            <a:r>
              <a:rPr lang="de-DE" b="1" dirty="0" err="1">
                <a:solidFill>
                  <a:srgbClr val="000000"/>
                </a:solidFill>
              </a:rPr>
              <a:t>Grosse</a:t>
            </a:r>
            <a:r>
              <a:rPr lang="de-DE" b="1" dirty="0">
                <a:solidFill>
                  <a:srgbClr val="000000"/>
                </a:solidFill>
              </a:rPr>
              <a:t> Transformation“ ernst </a:t>
            </a:r>
            <a:r>
              <a:rPr lang="de-DE" b="1" dirty="0" smtClean="0">
                <a:solidFill>
                  <a:srgbClr val="000000"/>
                </a:solidFill>
              </a:rPr>
              <a:t>nehmen und sie lieber </a:t>
            </a:r>
            <a:r>
              <a:rPr lang="de-DE" b="1" dirty="0">
                <a:solidFill>
                  <a:srgbClr val="000000"/>
                </a:solidFill>
              </a:rPr>
              <a:t>überschätzen als unterschätzen.  </a:t>
            </a:r>
          </a:p>
          <a:p>
            <a:pPr marL="1204576" indent="-211021" defTabSz="633058">
              <a:spcAft>
                <a:spcPts val="277"/>
              </a:spcAft>
              <a:buFont typeface="+mj-lt"/>
              <a:buAutoNum type="arabicPeriod"/>
            </a:pPr>
            <a:r>
              <a:rPr lang="de-DE" b="1" dirty="0">
                <a:solidFill>
                  <a:srgbClr val="000000"/>
                </a:solidFill>
              </a:rPr>
              <a:t>Die Führungssysteme grundlegend </a:t>
            </a:r>
            <a:r>
              <a:rPr lang="de-CH" b="1" dirty="0">
                <a:solidFill>
                  <a:srgbClr val="000000"/>
                </a:solidFill>
              </a:rPr>
              <a:t>überdenken und </a:t>
            </a:r>
            <a:r>
              <a:rPr lang="de-DE" b="1" dirty="0">
                <a:solidFill>
                  <a:srgbClr val="000000"/>
                </a:solidFill>
              </a:rPr>
              <a:t>erneuern, denn auch diese müssen auf die „</a:t>
            </a:r>
            <a:r>
              <a:rPr lang="de-DE" b="1" dirty="0">
                <a:solidFill>
                  <a:srgbClr val="00B050"/>
                </a:solidFill>
              </a:rPr>
              <a:t>Grüne Kurve</a:t>
            </a:r>
            <a:r>
              <a:rPr lang="de-DE" b="1" dirty="0">
                <a:solidFill>
                  <a:srgbClr val="000000"/>
                </a:solidFill>
              </a:rPr>
              <a:t>“ kommen. Dazu gehören unter anderem:  </a:t>
            </a:r>
          </a:p>
          <a:p>
            <a:pPr marL="1165225" lvl="1" indent="0" defTabSz="633058">
              <a:spcAft>
                <a:spcPts val="0"/>
              </a:spcAft>
              <a:buFont typeface="+mj-lt"/>
              <a:buAutoNum type="alphaLcPeriod"/>
              <a:tabLst>
                <a:tab pos="360363" algn="l"/>
                <a:tab pos="1612900" algn="l"/>
              </a:tabLst>
            </a:pPr>
            <a:r>
              <a:rPr lang="de-DE" b="1" dirty="0">
                <a:solidFill>
                  <a:srgbClr val="000000"/>
                </a:solidFill>
              </a:rPr>
              <a:t>	</a:t>
            </a:r>
            <a:r>
              <a:rPr lang="de-DE" b="1" dirty="0" smtClean="0">
                <a:solidFill>
                  <a:srgbClr val="000000"/>
                </a:solidFill>
              </a:rPr>
              <a:t>Neue </a:t>
            </a:r>
            <a:r>
              <a:rPr lang="de-DE" b="1" dirty="0">
                <a:solidFill>
                  <a:srgbClr val="000000"/>
                </a:solidFill>
              </a:rPr>
              <a:t>Formen von Strategie, </a:t>
            </a:r>
            <a:r>
              <a:rPr lang="de-DE" b="1" dirty="0" smtClean="0">
                <a:solidFill>
                  <a:srgbClr val="000000"/>
                </a:solidFill>
              </a:rPr>
              <a:t>Organisations-Struktur </a:t>
            </a:r>
            <a:r>
              <a:rPr lang="de-DE" b="1" dirty="0">
                <a:solidFill>
                  <a:srgbClr val="000000"/>
                </a:solidFill>
              </a:rPr>
              <a:t>und </a:t>
            </a:r>
            <a:r>
              <a:rPr lang="de-DE" b="1" dirty="0" smtClean="0">
                <a:solidFill>
                  <a:srgbClr val="000000"/>
                </a:solidFill>
              </a:rPr>
              <a:t>Organisations-Kultur  </a:t>
            </a:r>
            <a:endParaRPr lang="de-DE" b="1" dirty="0">
              <a:solidFill>
                <a:srgbClr val="000000"/>
              </a:solidFill>
            </a:endParaRPr>
          </a:p>
          <a:p>
            <a:pPr marL="1165225" lvl="1" indent="0" defTabSz="633058">
              <a:spcAft>
                <a:spcPts val="0"/>
              </a:spcAft>
              <a:buFont typeface="+mj-lt"/>
              <a:buAutoNum type="alphaLcPeriod"/>
              <a:tabLst>
                <a:tab pos="360363" algn="l"/>
                <a:tab pos="1612900" algn="l"/>
              </a:tabLst>
            </a:pPr>
            <a:r>
              <a:rPr lang="de-DE" b="1" dirty="0">
                <a:solidFill>
                  <a:srgbClr val="000000"/>
                </a:solidFill>
              </a:rPr>
              <a:t>	</a:t>
            </a:r>
            <a:r>
              <a:rPr lang="de-DE" b="1" dirty="0" smtClean="0">
                <a:solidFill>
                  <a:srgbClr val="000000"/>
                </a:solidFill>
              </a:rPr>
              <a:t>Neues </a:t>
            </a:r>
            <a:r>
              <a:rPr lang="de-DE" b="1" dirty="0">
                <a:solidFill>
                  <a:srgbClr val="000000"/>
                </a:solidFill>
              </a:rPr>
              <a:t>Verständnis für </a:t>
            </a:r>
            <a:r>
              <a:rPr lang="de-DE" b="1" dirty="0" smtClean="0">
                <a:solidFill>
                  <a:srgbClr val="000000"/>
                </a:solidFill>
              </a:rPr>
              <a:t>Bürger- und Kundennutzen</a:t>
            </a:r>
            <a:r>
              <a:rPr lang="de-DE" b="1" dirty="0">
                <a:solidFill>
                  <a:srgbClr val="000000"/>
                </a:solidFill>
              </a:rPr>
              <a:t>, </a:t>
            </a:r>
            <a:r>
              <a:rPr lang="de-DE" b="1" dirty="0" smtClean="0">
                <a:solidFill>
                  <a:srgbClr val="000000"/>
                </a:solidFill>
              </a:rPr>
              <a:t>Verwaltung, Führung, Produktivität, und </a:t>
            </a:r>
            <a:r>
              <a:rPr lang="de-DE" b="1" dirty="0" smtClean="0">
                <a:solidFill>
                  <a:srgbClr val="000000"/>
                </a:solidFill>
              </a:rPr>
              <a:t>	Innovation</a:t>
            </a:r>
            <a:endParaRPr lang="de-DE" b="1" dirty="0">
              <a:solidFill>
                <a:srgbClr val="000000"/>
              </a:solidFill>
            </a:endParaRPr>
          </a:p>
          <a:p>
            <a:pPr marL="1165225" lvl="1" indent="0" defTabSz="633058">
              <a:spcAft>
                <a:spcPts val="0"/>
              </a:spcAft>
              <a:buFont typeface="+mj-lt"/>
              <a:buAutoNum type="alphaLcPeriod"/>
              <a:tabLst>
                <a:tab pos="360363" algn="l"/>
                <a:tab pos="1612900" algn="l"/>
              </a:tabLst>
            </a:pPr>
            <a:r>
              <a:rPr lang="de-DE" b="1" dirty="0">
                <a:solidFill>
                  <a:srgbClr val="000000"/>
                </a:solidFill>
              </a:rPr>
              <a:t>	</a:t>
            </a:r>
            <a:r>
              <a:rPr lang="de-DE" b="1" dirty="0" smtClean="0">
                <a:solidFill>
                  <a:srgbClr val="000000"/>
                </a:solidFill>
              </a:rPr>
              <a:t>Professionelle </a:t>
            </a:r>
            <a:r>
              <a:rPr lang="de-DE" b="1" dirty="0">
                <a:solidFill>
                  <a:srgbClr val="000000"/>
                </a:solidFill>
              </a:rPr>
              <a:t>persönliche Effektivität für </a:t>
            </a:r>
            <a:r>
              <a:rPr lang="de-DE" b="1" dirty="0" smtClean="0">
                <a:solidFill>
                  <a:srgbClr val="000000"/>
                </a:solidFill>
              </a:rPr>
              <a:t>eine neue </a:t>
            </a:r>
            <a:r>
              <a:rPr lang="de-DE" b="1" dirty="0">
                <a:solidFill>
                  <a:srgbClr val="000000"/>
                </a:solidFill>
              </a:rPr>
              <a:t>Wirksamkeit</a:t>
            </a:r>
          </a:p>
          <a:p>
            <a:pPr marL="1165225" lvl="1" indent="0" defTabSz="633058">
              <a:spcAft>
                <a:spcPts val="0"/>
              </a:spcAft>
              <a:buFont typeface="+mj-lt"/>
              <a:buAutoNum type="alphaLcPeriod"/>
              <a:tabLst>
                <a:tab pos="360363" algn="l"/>
                <a:tab pos="1612900" algn="l"/>
              </a:tabLst>
            </a:pPr>
            <a:r>
              <a:rPr lang="de-DE" b="1" dirty="0">
                <a:solidFill>
                  <a:srgbClr val="000000"/>
                </a:solidFill>
              </a:rPr>
              <a:t>	</a:t>
            </a:r>
            <a:r>
              <a:rPr lang="de-DE" b="1" dirty="0" smtClean="0">
                <a:solidFill>
                  <a:srgbClr val="000000"/>
                </a:solidFill>
              </a:rPr>
              <a:t>Neue </a:t>
            </a:r>
            <a:r>
              <a:rPr lang="de-DE" b="1" dirty="0">
                <a:solidFill>
                  <a:srgbClr val="000000"/>
                </a:solidFill>
              </a:rPr>
              <a:t>Befähigung von Führungskräften mit neuen Methoden und Formaten </a:t>
            </a:r>
          </a:p>
          <a:p>
            <a:pPr marL="993556" defTabSz="633058">
              <a:spcAft>
                <a:spcPts val="0"/>
              </a:spcAft>
            </a:pPr>
            <a:r>
              <a:rPr lang="de-DE" b="1" dirty="0">
                <a:solidFill>
                  <a:srgbClr val="000000"/>
                </a:solidFill>
              </a:rPr>
              <a:t/>
            </a:r>
            <a:br>
              <a:rPr lang="de-DE" b="1" dirty="0">
                <a:solidFill>
                  <a:srgbClr val="000000"/>
                </a:solidFill>
              </a:rPr>
            </a:br>
            <a:r>
              <a:rPr lang="de-DE" b="1" i="1" dirty="0" smtClean="0">
                <a:solidFill>
                  <a:srgbClr val="FF0000"/>
                </a:solidFill>
              </a:rPr>
              <a:t>Man beachte hier eine </a:t>
            </a:r>
            <a:r>
              <a:rPr lang="de-DE" b="1" i="1" dirty="0">
                <a:solidFill>
                  <a:srgbClr val="FF0000"/>
                </a:solidFill>
              </a:rPr>
              <a:t>potentielle „Falle“: Die Begriffe als solche bleiben häufig unverändert wie bisher, wie zum Beispiel Strategie, Struktur, Kultur. Jedoch müssen deren Inhalte, und die damit verbundenen Methoden und Tools für die Neue Welt und das Neue Management neu und anders sein. </a:t>
            </a:r>
          </a:p>
          <a:p>
            <a:pPr marL="993556" defTabSz="633058">
              <a:spcAft>
                <a:spcPts val="0"/>
              </a:spcAft>
            </a:pPr>
            <a:endParaRPr lang="de-DE" sz="1400" b="1" i="1" dirty="0">
              <a:solidFill>
                <a:srgbClr val="FF0000"/>
              </a:solidFill>
            </a:endParaRPr>
          </a:p>
          <a:p>
            <a:pPr marL="992188" indent="-9525" defTabSz="633058">
              <a:spcAft>
                <a:spcPts val="0"/>
              </a:spcAft>
            </a:pPr>
            <a:r>
              <a:rPr lang="de-DE" b="1" dirty="0">
                <a:solidFill>
                  <a:srgbClr val="000000"/>
                </a:solidFill>
              </a:rPr>
              <a:t>4. </a:t>
            </a:r>
            <a:r>
              <a:rPr lang="de-DE" b="1" dirty="0" smtClean="0">
                <a:solidFill>
                  <a:srgbClr val="000000"/>
                </a:solidFill>
              </a:rPr>
              <a:t>	Die </a:t>
            </a:r>
            <a:r>
              <a:rPr lang="de-CH" b="1" dirty="0">
                <a:solidFill>
                  <a:srgbClr val="000000"/>
                </a:solidFill>
              </a:rPr>
              <a:t>wissenschaftlichen </a:t>
            </a:r>
            <a:r>
              <a:rPr lang="de-DE" b="1" dirty="0">
                <a:solidFill>
                  <a:srgbClr val="000000"/>
                </a:solidFill>
              </a:rPr>
              <a:t>Grundlagen für die neuen Führungssysteme sind die </a:t>
            </a:r>
            <a:r>
              <a:rPr lang="de-DE" b="1" dirty="0" smtClean="0">
                <a:solidFill>
                  <a:srgbClr val="000000"/>
                </a:solidFill>
              </a:rPr>
              <a:t>	Komplexitätswissenschaften</a:t>
            </a:r>
            <a:r>
              <a:rPr lang="de-DE" b="1" dirty="0">
                <a:solidFill>
                  <a:srgbClr val="000000"/>
                </a:solidFill>
              </a:rPr>
              <a:t>: Systemtheorie, Kybernetik, Bionik, Informations- und </a:t>
            </a:r>
            <a:r>
              <a:rPr lang="de-DE" b="1" dirty="0" smtClean="0">
                <a:solidFill>
                  <a:srgbClr val="000000"/>
                </a:solidFill>
              </a:rPr>
              <a:t>	Kommunikationstheorie</a:t>
            </a:r>
            <a:r>
              <a:rPr lang="de-DE" b="1" dirty="0">
                <a:solidFill>
                  <a:srgbClr val="000000"/>
                </a:solidFill>
              </a:rPr>
              <a:t>. Diese kann man </a:t>
            </a:r>
            <a:r>
              <a:rPr lang="de-DE" b="1" dirty="0" smtClean="0">
                <a:solidFill>
                  <a:srgbClr val="000000"/>
                </a:solidFill>
              </a:rPr>
              <a:t>lernen, und zwar schneller </a:t>
            </a:r>
            <a:r>
              <a:rPr lang="de-DE" b="1" dirty="0">
                <a:solidFill>
                  <a:srgbClr val="000000"/>
                </a:solidFill>
              </a:rPr>
              <a:t>und leichter erlernen, als die </a:t>
            </a:r>
            <a:r>
              <a:rPr lang="de-DE" b="1" dirty="0" smtClean="0">
                <a:solidFill>
                  <a:srgbClr val="000000"/>
                </a:solidFill>
              </a:rPr>
              <a:t>	meisten </a:t>
            </a:r>
            <a:r>
              <a:rPr lang="de-DE" b="1" dirty="0" smtClean="0">
                <a:solidFill>
                  <a:srgbClr val="000000"/>
                </a:solidFill>
              </a:rPr>
              <a:t>denken. </a:t>
            </a:r>
            <a:endParaRPr lang="de-DE" b="1" dirty="0">
              <a:solidFill>
                <a:srgbClr val="000000"/>
              </a:solidFill>
            </a:endParaRPr>
          </a:p>
          <a:p>
            <a:pPr marL="993556" defTabSz="633058">
              <a:spcAft>
                <a:spcPts val="0"/>
              </a:spcAft>
            </a:pPr>
            <a:endParaRPr lang="de-DE" sz="1108" b="1" dirty="0">
              <a:solidFill>
                <a:srgbClr val="000000"/>
              </a:solidFill>
            </a:endParaRPr>
          </a:p>
          <a:p>
            <a:pPr marL="993556" defTabSz="633058">
              <a:spcAft>
                <a:spcPts val="0"/>
              </a:spcAft>
            </a:pPr>
            <a:endParaRPr lang="de-DE" sz="1108" b="1" dirty="0">
              <a:solidFill>
                <a:srgbClr val="000000"/>
              </a:solidFill>
            </a:endParaRPr>
          </a:p>
          <a:p>
            <a:pPr marL="993556" defTabSz="633058">
              <a:lnSpc>
                <a:spcPct val="150000"/>
              </a:lnSpc>
              <a:spcAft>
                <a:spcPts val="0"/>
              </a:spcAft>
            </a:pPr>
            <a:endParaRPr lang="de-DE" b="1" dirty="0" smtClean="0">
              <a:solidFill>
                <a:srgbClr val="000000"/>
              </a:solidFill>
              <a:latin typeface="Arial" panose="020B0604020202020204" pitchFamily="34" charset="0"/>
              <a:cs typeface="Arial" panose="020B0604020202020204" pitchFamily="34" charset="0"/>
            </a:endParaRPr>
          </a:p>
          <a:p>
            <a:pPr marL="993556" defTabSz="633058">
              <a:spcAft>
                <a:spcPts val="0"/>
              </a:spcAft>
            </a:pPr>
            <a:endParaRPr lang="de-DE" sz="1292" b="1" dirty="0">
              <a:solidFill>
                <a:srgbClr val="000000"/>
              </a:solidFill>
            </a:endParaRPr>
          </a:p>
          <a:p>
            <a:pPr marL="993556" defTabSz="633058">
              <a:spcAft>
                <a:spcPts val="0"/>
              </a:spcAft>
            </a:pPr>
            <a:endParaRPr lang="de-DE" sz="831" b="1" dirty="0">
              <a:solidFill>
                <a:srgbClr val="000000"/>
              </a:solidFill>
            </a:endParaRPr>
          </a:p>
          <a:p>
            <a:pPr marL="993556" defTabSz="633058">
              <a:lnSpc>
                <a:spcPct val="150000"/>
              </a:lnSpc>
              <a:spcAft>
                <a:spcPts val="0"/>
              </a:spcAft>
            </a:pPr>
            <a:endParaRPr lang="de-DE" sz="1292" b="1" dirty="0">
              <a:solidFill>
                <a:srgbClr val="000000"/>
              </a:solidFill>
            </a:endParaRPr>
          </a:p>
        </p:txBody>
      </p:sp>
    </p:spTree>
    <p:extLst>
      <p:ext uri="{BB962C8B-B14F-4D97-AF65-F5344CB8AC3E}">
        <p14:creationId xmlns:p14="http://schemas.microsoft.com/office/powerpoint/2010/main" val="652155452"/>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p:cNvSpPr>
            <a:spLocks noGrp="1"/>
          </p:cNvSpPr>
          <p:nvPr>
            <p:ph sz="quarter" idx="13"/>
          </p:nvPr>
        </p:nvSpPr>
        <p:spPr>
          <a:xfrm>
            <a:off x="1352551" y="1090614"/>
            <a:ext cx="7823200" cy="5487422"/>
          </a:xfrm>
        </p:spPr>
        <p:txBody>
          <a:bodyPr/>
          <a:lstStyle/>
          <a:p>
            <a:pPr marL="0" indent="0">
              <a:lnSpc>
                <a:spcPct val="100000"/>
              </a:lnSpc>
            </a:pPr>
            <a:r>
              <a:rPr lang="en-US" sz="1050" dirty="0" err="1" smtClean="0"/>
              <a:t>W</a:t>
            </a:r>
            <a:r>
              <a:rPr lang="en-US" sz="1000" dirty="0" err="1" smtClean="0"/>
              <a:t>issenschaftler</a:t>
            </a:r>
            <a:r>
              <a:rPr lang="en-US" sz="1000" dirty="0" smtClean="0"/>
              <a:t>, </a:t>
            </a:r>
            <a:r>
              <a:rPr lang="en-US" sz="1000" dirty="0" err="1" smtClean="0"/>
              <a:t>Buch-Autor</a:t>
            </a:r>
            <a:r>
              <a:rPr lang="en-US" sz="1000" dirty="0" smtClean="0"/>
              <a:t>, </a:t>
            </a:r>
            <a:r>
              <a:rPr lang="en-US" sz="1000" dirty="0" err="1" smtClean="0"/>
              <a:t>Berater</a:t>
            </a:r>
            <a:r>
              <a:rPr lang="en-US" sz="1000" dirty="0" smtClean="0"/>
              <a:t> und Lehrer</a:t>
            </a:r>
            <a:endParaRPr lang="de-DE" sz="1000" dirty="0"/>
          </a:p>
          <a:p>
            <a:pPr marL="171450" indent="-171450">
              <a:lnSpc>
                <a:spcPct val="100000"/>
              </a:lnSpc>
              <a:buFontTx/>
              <a:buChar char="-"/>
            </a:pPr>
            <a:r>
              <a:rPr lang="de-DE" sz="1000" dirty="0" smtClean="0"/>
              <a:t>International </a:t>
            </a:r>
            <a:r>
              <a:rPr lang="de-DE" sz="1000" dirty="0"/>
              <a:t>anerkannter </a:t>
            </a:r>
            <a:r>
              <a:rPr lang="de-DE" sz="1000" dirty="0" smtClean="0"/>
              <a:t>Management-Experte</a:t>
            </a:r>
          </a:p>
          <a:p>
            <a:pPr marL="171450" indent="-171450">
              <a:lnSpc>
                <a:spcPct val="100000"/>
              </a:lnSpc>
              <a:buFontTx/>
              <a:buChar char="-"/>
            </a:pPr>
            <a:r>
              <a:rPr lang="de-DE" sz="1000" dirty="0" smtClean="0"/>
              <a:t>Gilt </a:t>
            </a:r>
            <a:r>
              <a:rPr lang="de-DE" sz="1000" dirty="0"/>
              <a:t>als Vordenker des Ganzheitlichen </a:t>
            </a:r>
            <a:r>
              <a:rPr lang="de-DE" sz="1000" dirty="0" smtClean="0"/>
              <a:t>system-kybernetischen Managements</a:t>
            </a:r>
            <a:r>
              <a:rPr lang="de-DE" sz="1000" dirty="0"/>
              <a:t>. </a:t>
            </a:r>
            <a:endParaRPr lang="de-DE" sz="1000" dirty="0" smtClean="0"/>
          </a:p>
          <a:p>
            <a:pPr marL="171450" indent="-171450">
              <a:lnSpc>
                <a:spcPct val="100000"/>
              </a:lnSpc>
              <a:buFontTx/>
              <a:buChar char="-"/>
            </a:pPr>
            <a:r>
              <a:rPr lang="de-DE" sz="1000" dirty="0" smtClean="0"/>
              <a:t>Vorsitzender </a:t>
            </a:r>
            <a:r>
              <a:rPr lang="de-DE" sz="1000" dirty="0"/>
              <a:t>und Mitglied von </a:t>
            </a:r>
            <a:r>
              <a:rPr lang="de-DE" sz="1000" dirty="0" smtClean="0"/>
              <a:t>Aufsichtsräten und Beiräten in Wirtschaftsunternehmen </a:t>
            </a:r>
            <a:r>
              <a:rPr lang="de-DE" sz="1000" dirty="0"/>
              <a:t>und anderen Organisationen. </a:t>
            </a:r>
            <a:r>
              <a:rPr lang="de-DE" sz="1000" dirty="0" smtClean="0"/>
              <a:t/>
            </a:r>
            <a:br>
              <a:rPr lang="de-DE" sz="1000" dirty="0" smtClean="0"/>
            </a:br>
            <a:endParaRPr lang="de-DE" sz="1000" dirty="0" smtClean="0"/>
          </a:p>
          <a:p>
            <a:pPr marL="171450" indent="-171450">
              <a:lnSpc>
                <a:spcPct val="100000"/>
              </a:lnSpc>
              <a:buFont typeface="Symbol" panose="05050102010706020507" pitchFamily="18" charset="2"/>
              <a:buChar char="-"/>
            </a:pPr>
            <a:r>
              <a:rPr lang="de-DE" sz="900" dirty="0" smtClean="0"/>
              <a:t>Nach dem Abitur und sechs Jahren praktischer Industrieerfahrung Universitätsstudium an den Universitäten Innsbruck und  St. Gallen </a:t>
            </a:r>
          </a:p>
          <a:p>
            <a:pPr marL="171450" indent="-171450">
              <a:lnSpc>
                <a:spcPct val="100000"/>
              </a:lnSpc>
              <a:buFont typeface="Symbol" panose="05050102010706020507" pitchFamily="18" charset="2"/>
              <a:buChar char="-"/>
            </a:pPr>
            <a:r>
              <a:rPr lang="de-DE" sz="900" dirty="0" err="1" smtClean="0"/>
              <a:t>Doktoriat</a:t>
            </a:r>
            <a:r>
              <a:rPr lang="de-DE" sz="900" dirty="0" smtClean="0"/>
              <a:t> und Habilitation in St. Gallen im Rahmen </a:t>
            </a:r>
            <a:r>
              <a:rPr lang="de-DE" sz="900" dirty="0"/>
              <a:t>von zwei Forschungsprojekten des Schweizerischen Nationalfonds für </a:t>
            </a:r>
            <a:r>
              <a:rPr lang="de-DE" sz="900" dirty="0" smtClean="0"/>
              <a:t>Grundlagenforschung,       Forschungsarbeit </a:t>
            </a:r>
            <a:r>
              <a:rPr lang="de-DE" sz="900" dirty="0"/>
              <a:t>über die </a:t>
            </a:r>
            <a:r>
              <a:rPr lang="de-DE" sz="900" dirty="0" smtClean="0"/>
              <a:t>„Strategie </a:t>
            </a:r>
            <a:r>
              <a:rPr lang="de-DE" sz="900" dirty="0"/>
              <a:t>des Managements komplexer </a:t>
            </a:r>
            <a:r>
              <a:rPr lang="de-DE" sz="900" dirty="0" smtClean="0"/>
              <a:t>Systeme“. </a:t>
            </a:r>
            <a:endParaRPr lang="de-DE" sz="900" dirty="0"/>
          </a:p>
          <a:p>
            <a:pPr marL="171450" indent="-171450">
              <a:lnSpc>
                <a:spcPct val="100000"/>
              </a:lnSpc>
              <a:buFont typeface="Symbol" panose="05050102010706020507" pitchFamily="18" charset="2"/>
              <a:buChar char="-"/>
            </a:pPr>
            <a:r>
              <a:rPr lang="de-DE" sz="900" dirty="0" smtClean="0"/>
              <a:t>Lehrtätigkeit </a:t>
            </a:r>
            <a:r>
              <a:rPr lang="de-DE" sz="900" dirty="0"/>
              <a:t>an den Universitäten St. Gallen, Innsbruck und Wien. </a:t>
            </a:r>
            <a:endParaRPr lang="de-DE" sz="900" dirty="0" smtClean="0"/>
          </a:p>
          <a:p>
            <a:pPr marL="171450" indent="-171450">
              <a:lnSpc>
                <a:spcPct val="100000"/>
              </a:lnSpc>
              <a:buFont typeface="Symbol" panose="05050102010706020507" pitchFamily="18" charset="2"/>
              <a:buChar char="-"/>
            </a:pPr>
            <a:r>
              <a:rPr lang="de-DE" sz="900" dirty="0" smtClean="0"/>
              <a:t>Mitglied </a:t>
            </a:r>
            <a:r>
              <a:rPr lang="de-DE" sz="900" dirty="0"/>
              <a:t>des Direktoriums des Instituts für Betriebswirtschaftslehre an der Universität St. Gallen von 1979 – 1984 </a:t>
            </a:r>
            <a:endParaRPr lang="de-DE" sz="900" dirty="0" smtClean="0"/>
          </a:p>
          <a:p>
            <a:pPr marL="171450" indent="-171450">
              <a:lnSpc>
                <a:spcPct val="100000"/>
              </a:lnSpc>
              <a:buFont typeface="Symbol" panose="05050102010706020507" pitchFamily="18" charset="2"/>
              <a:buChar char="-"/>
            </a:pPr>
            <a:r>
              <a:rPr lang="de-DE" sz="900" dirty="0" smtClean="0"/>
              <a:t>Direktor </a:t>
            </a:r>
            <a:r>
              <a:rPr lang="de-DE" sz="900" dirty="0"/>
              <a:t>des Management Zentrums St. Gallen zeitgleich von 1976 - 1984. </a:t>
            </a:r>
            <a:endParaRPr lang="de-DE" sz="900" dirty="0" smtClean="0"/>
          </a:p>
          <a:p>
            <a:pPr marL="171450" indent="-171450">
              <a:lnSpc>
                <a:spcPct val="100000"/>
              </a:lnSpc>
              <a:buFont typeface="Symbol" panose="05050102010706020507" pitchFamily="18" charset="2"/>
              <a:buChar char="-"/>
            </a:pPr>
            <a:r>
              <a:rPr lang="de-DE" sz="900" dirty="0" smtClean="0"/>
              <a:t>Special- </a:t>
            </a:r>
            <a:r>
              <a:rPr lang="de-DE" sz="900" dirty="0"/>
              <a:t>und </a:t>
            </a:r>
            <a:r>
              <a:rPr lang="de-DE" sz="900" dirty="0" err="1"/>
              <a:t>Honorary</a:t>
            </a:r>
            <a:r>
              <a:rPr lang="de-DE" sz="900" dirty="0"/>
              <a:t>-Professor der Capital University of Economics and Business (CUEB) in Beijing, der IMAU und der Jilin University in </a:t>
            </a:r>
            <a:r>
              <a:rPr lang="de-DE" sz="900" dirty="0" smtClean="0"/>
              <a:t>Changchun.</a:t>
            </a:r>
          </a:p>
          <a:p>
            <a:pPr marL="171450" indent="-171450">
              <a:lnSpc>
                <a:spcPct val="100000"/>
              </a:lnSpc>
              <a:buFont typeface="Symbol" panose="05050102010706020507" pitchFamily="18" charset="2"/>
              <a:buChar char="-"/>
            </a:pPr>
            <a:r>
              <a:rPr lang="de-DE" sz="900" dirty="0" smtClean="0"/>
              <a:t>1984 Gründung des Malik </a:t>
            </a:r>
            <a:r>
              <a:rPr lang="de-DE" sz="900" dirty="0"/>
              <a:t>Institute in St. </a:t>
            </a:r>
            <a:r>
              <a:rPr lang="de-DE" sz="900" dirty="0" smtClean="0"/>
              <a:t>Gallen, eine </a:t>
            </a:r>
            <a:r>
              <a:rPr lang="de-DE" sz="900" dirty="0"/>
              <a:t>der führenden Wissensorganisationen in Management, </a:t>
            </a:r>
            <a:r>
              <a:rPr lang="de-DE" sz="900" dirty="0" err="1"/>
              <a:t>Governance</a:t>
            </a:r>
            <a:r>
              <a:rPr lang="de-DE" sz="900" dirty="0"/>
              <a:t> und Leadership, </a:t>
            </a:r>
            <a:r>
              <a:rPr lang="de-DE" sz="900" dirty="0" smtClean="0"/>
              <a:t/>
            </a:r>
            <a:br>
              <a:rPr lang="de-DE" sz="900" dirty="0" smtClean="0"/>
            </a:br>
            <a:r>
              <a:rPr lang="de-DE" sz="900" dirty="0" smtClean="0"/>
              <a:t>Internationale Standorte und globale Partnerschaften</a:t>
            </a:r>
            <a:endParaRPr lang="de-DE" sz="900" dirty="0"/>
          </a:p>
          <a:p>
            <a:pPr marL="171450" indent="-171450">
              <a:lnSpc>
                <a:spcPct val="100000"/>
              </a:lnSpc>
              <a:buFont typeface="Symbol" panose="05050102010706020507" pitchFamily="18" charset="2"/>
              <a:buChar char="-"/>
            </a:pPr>
            <a:r>
              <a:rPr lang="de-DE" sz="900" dirty="0" smtClean="0"/>
              <a:t>Autor </a:t>
            </a:r>
            <a:r>
              <a:rPr lang="de-DE" sz="900" dirty="0"/>
              <a:t>von </a:t>
            </a:r>
            <a:r>
              <a:rPr lang="de-DE" sz="900" dirty="0" smtClean="0"/>
              <a:t>mehr als 15 </a:t>
            </a:r>
            <a:r>
              <a:rPr lang="de-DE" sz="900" dirty="0"/>
              <a:t>Büchern, </a:t>
            </a:r>
            <a:r>
              <a:rPr lang="de-DE" sz="900" dirty="0" smtClean="0"/>
              <a:t>darunter </a:t>
            </a:r>
            <a:r>
              <a:rPr lang="de-DE" sz="900" dirty="0"/>
              <a:t>preisgekrönte Bestseller, </a:t>
            </a:r>
            <a:r>
              <a:rPr lang="de-DE" sz="900" dirty="0" smtClean="0"/>
              <a:t>und 300 weitere Publikationen</a:t>
            </a:r>
            <a:r>
              <a:rPr lang="de-DE" sz="900" dirty="0"/>
              <a:t>. </a:t>
            </a:r>
            <a:r>
              <a:rPr lang="de-DE" sz="900" dirty="0" smtClean="0"/>
              <a:t/>
            </a:r>
            <a:br>
              <a:rPr lang="de-DE" sz="900" dirty="0" smtClean="0"/>
            </a:br>
            <a:r>
              <a:rPr lang="de-DE" sz="900" dirty="0" smtClean="0"/>
              <a:t>Führen </a:t>
            </a:r>
            <a:r>
              <a:rPr lang="de-DE" sz="900" dirty="0"/>
              <a:t>Leisten </a:t>
            </a:r>
            <a:r>
              <a:rPr lang="de-DE" sz="900" dirty="0" smtClean="0"/>
              <a:t>Leben“ ausgezeichnet als eines </a:t>
            </a:r>
            <a:r>
              <a:rPr lang="de-DE" sz="900" dirty="0"/>
              <a:t>der besten 100 Wirtschaftsbücher aller </a:t>
            </a:r>
            <a:r>
              <a:rPr lang="de-DE" sz="900" dirty="0" smtClean="0"/>
              <a:t>Zeiten.</a:t>
            </a:r>
          </a:p>
          <a:p>
            <a:pPr marL="0" indent="0">
              <a:tabLst>
                <a:tab pos="85725" algn="l"/>
              </a:tabLst>
            </a:pPr>
            <a:r>
              <a:rPr lang="en-US" sz="800" b="1" dirty="0" smtClean="0"/>
              <a:t/>
            </a:r>
            <a:br>
              <a:rPr lang="en-US" sz="800" b="1" dirty="0" smtClean="0"/>
            </a:br>
            <a:r>
              <a:rPr lang="en-US" sz="900" b="1" dirty="0" err="1" smtClean="0"/>
              <a:t>Bücher</a:t>
            </a:r>
            <a:r>
              <a:rPr lang="en-US" sz="900" b="1" dirty="0" smtClean="0"/>
              <a:t> (</a:t>
            </a:r>
            <a:r>
              <a:rPr lang="en-US" sz="900" b="1" dirty="0" err="1" smtClean="0"/>
              <a:t>Auswahl</a:t>
            </a:r>
            <a:r>
              <a:rPr lang="en-US" sz="900" b="1" dirty="0" smtClean="0"/>
              <a:t>)</a:t>
            </a:r>
            <a:br>
              <a:rPr lang="en-US" sz="900" b="1" dirty="0" smtClean="0"/>
            </a:br>
            <a:r>
              <a:rPr lang="en-US" sz="900" b="1" dirty="0" smtClean="0"/>
              <a:t>- </a:t>
            </a:r>
            <a:r>
              <a:rPr lang="de-DE" sz="900" dirty="0" smtClean="0"/>
              <a:t>Navigieren </a:t>
            </a:r>
            <a:r>
              <a:rPr lang="de-DE" sz="900" dirty="0"/>
              <a:t>in Zeiten des Umbruchs: Die Welt neu denken und gestalten. </a:t>
            </a:r>
            <a:r>
              <a:rPr lang="de-DE" sz="900" dirty="0" smtClean="0"/>
              <a:t>2015.</a:t>
            </a:r>
            <a:br>
              <a:rPr lang="de-DE" sz="900" dirty="0" smtClean="0"/>
            </a:br>
            <a:r>
              <a:rPr lang="de-DE" sz="900" dirty="0" smtClean="0"/>
              <a:t>- Führen </a:t>
            </a:r>
            <a:r>
              <a:rPr lang="de-DE" sz="900" dirty="0"/>
              <a:t>Leisten Leben: Wirksames Management für eine neue Welt. Neuausgabe und 33. Auflage 2014. (Zählt zu den 100 besten Wirtschaftsbüchern </a:t>
            </a:r>
            <a:r>
              <a:rPr lang="de-DE" sz="900" dirty="0"/>
              <a:t>	</a:t>
            </a:r>
            <a:r>
              <a:rPr lang="de-DE" sz="900" dirty="0" smtClean="0"/>
              <a:t>aller </a:t>
            </a:r>
            <a:r>
              <a:rPr lang="de-DE" sz="900" dirty="0" smtClean="0"/>
              <a:t>Zeiten)</a:t>
            </a:r>
            <a:br>
              <a:rPr lang="de-DE" sz="900" dirty="0" smtClean="0"/>
            </a:br>
            <a:r>
              <a:rPr lang="de-DE" sz="900" dirty="0" smtClean="0"/>
              <a:t>- Management</a:t>
            </a:r>
            <a:r>
              <a:rPr lang="de-DE" sz="900" dirty="0"/>
              <a:t>: Das A und O des Handwerks. 2006, 2013</a:t>
            </a:r>
            <a:r>
              <a:rPr lang="de-DE" sz="900" dirty="0" smtClean="0"/>
              <a:t>.</a:t>
            </a:r>
          </a:p>
          <a:p>
            <a:pPr marL="0" indent="0"/>
            <a:r>
              <a:rPr lang="en-US" sz="900" b="1" dirty="0" err="1" smtClean="0"/>
              <a:t>Auszeichnungen</a:t>
            </a:r>
            <a:r>
              <a:rPr lang="en-US" sz="900" b="1" dirty="0" smtClean="0"/>
              <a:t> (</a:t>
            </a:r>
            <a:r>
              <a:rPr lang="en-US" sz="900" b="1" dirty="0" err="1" smtClean="0"/>
              <a:t>Auswahl</a:t>
            </a:r>
            <a:r>
              <a:rPr lang="en-US" sz="900" b="1" dirty="0" smtClean="0"/>
              <a:t>)</a:t>
            </a:r>
            <a:br>
              <a:rPr lang="en-US" sz="900" b="1" dirty="0" smtClean="0"/>
            </a:br>
            <a:r>
              <a:rPr lang="en-US" sz="900" b="1" dirty="0" smtClean="0"/>
              <a:t>- </a:t>
            </a:r>
            <a:r>
              <a:rPr lang="en-US" sz="900" dirty="0" smtClean="0"/>
              <a:t>Life </a:t>
            </a:r>
            <a:r>
              <a:rPr lang="en-US" sz="900" dirty="0"/>
              <a:t>Achievement Award 2018. </a:t>
            </a:r>
            <a:r>
              <a:rPr lang="de-DE" sz="900" dirty="0"/>
              <a:t>Die höchste Auszeichnung der deutschen Bildungsbranche</a:t>
            </a:r>
            <a:r>
              <a:rPr lang="en-US" sz="900" dirty="0"/>
              <a:t/>
            </a:r>
            <a:br>
              <a:rPr lang="en-US" sz="900" dirty="0"/>
            </a:br>
            <a:r>
              <a:rPr lang="en-US" sz="900" dirty="0" smtClean="0"/>
              <a:t>- </a:t>
            </a:r>
            <a:r>
              <a:rPr lang="de-DE" sz="900" dirty="0" smtClean="0"/>
              <a:t>The </a:t>
            </a:r>
            <a:r>
              <a:rPr lang="de-DE" sz="900" dirty="0" err="1"/>
              <a:t>People's</a:t>
            </a:r>
            <a:r>
              <a:rPr lang="de-DE" sz="900" dirty="0"/>
              <a:t> </a:t>
            </a:r>
            <a:r>
              <a:rPr lang="de-DE" sz="900" dirty="0" err="1"/>
              <a:t>Republic</a:t>
            </a:r>
            <a:r>
              <a:rPr lang="de-DE" sz="900" dirty="0"/>
              <a:t> of China </a:t>
            </a:r>
            <a:r>
              <a:rPr lang="de-DE" sz="900" dirty="0" err="1"/>
              <a:t>Friendship</a:t>
            </a:r>
            <a:r>
              <a:rPr lang="de-DE" sz="900" dirty="0"/>
              <a:t> Award 2016. Chinas höchste Auszeichnung für ausländische Experten</a:t>
            </a:r>
            <a:br>
              <a:rPr lang="de-DE" sz="900" dirty="0"/>
            </a:br>
            <a:r>
              <a:rPr lang="de-DE" sz="900" dirty="0" smtClean="0"/>
              <a:t>- Ehrenkreuz </a:t>
            </a:r>
            <a:r>
              <a:rPr lang="de-DE" sz="900" dirty="0"/>
              <a:t>der Republik Österreich für die Entwicklung seiner Ganzheitlichen Management Systeme, </a:t>
            </a:r>
            <a:r>
              <a:rPr lang="de-DE" sz="900" dirty="0" smtClean="0"/>
              <a:t>2009</a:t>
            </a:r>
          </a:p>
          <a:p>
            <a:pPr marL="0" indent="0"/>
            <a:r>
              <a:rPr lang="de-DE" sz="900" dirty="0" smtClean="0"/>
              <a:t>Malik ist Inhaber aller Rechte am Werk von Prof. Dr. Frederic </a:t>
            </a:r>
            <a:r>
              <a:rPr lang="de-DE" sz="900" dirty="0" err="1" smtClean="0"/>
              <a:t>Vester</a:t>
            </a:r>
            <a:r>
              <a:rPr lang="de-DE" sz="900" dirty="0" smtClean="0"/>
              <a:t>, um es zu erhalten und weiterzuentwickeln. </a:t>
            </a:r>
          </a:p>
          <a:p>
            <a:pPr marL="0" indent="0"/>
            <a:r>
              <a:rPr lang="de-DE" sz="900" dirty="0" smtClean="0"/>
              <a:t>Malik ist seit mehr als 40 Jahren mit Mag. </a:t>
            </a:r>
            <a:r>
              <a:rPr lang="de-DE" sz="900" dirty="0" err="1"/>
              <a:t>o</a:t>
            </a:r>
            <a:r>
              <a:rPr lang="de-DE" sz="900" dirty="0" err="1" smtClean="0"/>
              <a:t>ec</a:t>
            </a:r>
            <a:r>
              <a:rPr lang="de-DE" sz="900" dirty="0" smtClean="0"/>
              <a:t> . Angelika Grupp aus </a:t>
            </a:r>
            <a:r>
              <a:rPr lang="de-DE" sz="900" dirty="0" err="1" smtClean="0"/>
              <a:t>Donzdorf</a:t>
            </a:r>
            <a:r>
              <a:rPr lang="de-DE" sz="900" dirty="0" smtClean="0"/>
              <a:t> in Baden Württemberg verheiratet und hat zwei erwachsene Kinder. </a:t>
            </a:r>
            <a:br>
              <a:rPr lang="de-DE" sz="900" dirty="0" smtClean="0"/>
            </a:br>
            <a:endParaRPr lang="de-DE" sz="900" dirty="0" smtClean="0"/>
          </a:p>
          <a:p>
            <a:pPr marL="0" indent="0"/>
            <a:r>
              <a:rPr lang="de-DE" sz="800" dirty="0" smtClean="0"/>
              <a:t> </a:t>
            </a:r>
            <a:endParaRPr lang="de-DE" sz="800" dirty="0"/>
          </a:p>
          <a:p>
            <a:pPr marL="0" indent="0"/>
            <a:endParaRPr lang="en-US" sz="900" dirty="0" smtClean="0"/>
          </a:p>
          <a:p>
            <a:endParaRPr lang="de-DE" sz="800" dirty="0"/>
          </a:p>
        </p:txBody>
      </p:sp>
      <p:sp>
        <p:nvSpPr>
          <p:cNvPr id="5" name="Titel 4"/>
          <p:cNvSpPr>
            <a:spLocks noGrp="1"/>
          </p:cNvSpPr>
          <p:nvPr>
            <p:ph type="title"/>
          </p:nvPr>
        </p:nvSpPr>
        <p:spPr>
          <a:xfrm>
            <a:off x="638175" y="479425"/>
            <a:ext cx="8642350" cy="611188"/>
          </a:xfrm>
        </p:spPr>
        <p:txBody>
          <a:bodyPr/>
          <a:lstStyle/>
          <a:p>
            <a:r>
              <a:rPr lang="en-US" sz="1200" dirty="0"/>
              <a:t>Prof. Dr. </a:t>
            </a:r>
            <a:r>
              <a:rPr lang="en-US" sz="1200" b="0" dirty="0" err="1"/>
              <a:t>oec</a:t>
            </a:r>
            <a:r>
              <a:rPr lang="en-US" sz="1200" b="0" dirty="0"/>
              <a:t>. </a:t>
            </a:r>
            <a:r>
              <a:rPr lang="en-US" sz="1200" b="0" dirty="0" err="1"/>
              <a:t>habil</a:t>
            </a:r>
            <a:r>
              <a:rPr lang="en-US" sz="1200" b="0" dirty="0"/>
              <a:t>.</a:t>
            </a:r>
            <a:r>
              <a:rPr lang="en-US" sz="1200" dirty="0"/>
              <a:t> Fredmund </a:t>
            </a:r>
            <a:r>
              <a:rPr lang="en-US" sz="1200" dirty="0" smtClean="0"/>
              <a:t>Malik; </a:t>
            </a:r>
            <a:r>
              <a:rPr lang="en-US" sz="1200" dirty="0" err="1" smtClean="0"/>
              <a:t>Vorsitzender</a:t>
            </a:r>
            <a:r>
              <a:rPr lang="en-US" sz="1200" dirty="0" smtClean="0"/>
              <a:t> Malik Institute</a:t>
            </a:r>
            <a:br>
              <a:rPr lang="en-US" sz="1200" dirty="0" smtClean="0"/>
            </a:br>
            <a:r>
              <a:rPr lang="en-US" sz="1200" dirty="0" err="1" smtClean="0"/>
              <a:t>Wirksame</a:t>
            </a:r>
            <a:r>
              <a:rPr lang="en-US" sz="1200" dirty="0" smtClean="0"/>
              <a:t> </a:t>
            </a:r>
            <a:r>
              <a:rPr lang="en-US" sz="1200" dirty="0" err="1" smtClean="0"/>
              <a:t>Lösungen</a:t>
            </a:r>
            <a:r>
              <a:rPr lang="en-US" sz="1200" dirty="0" smtClean="0"/>
              <a:t> </a:t>
            </a:r>
            <a:r>
              <a:rPr lang="en-US" sz="1200" dirty="0" err="1" smtClean="0"/>
              <a:t>für</a:t>
            </a:r>
            <a:r>
              <a:rPr lang="en-US" sz="1200" dirty="0" smtClean="0"/>
              <a:t> die </a:t>
            </a:r>
            <a:r>
              <a:rPr lang="en-US" sz="1200" dirty="0" err="1" smtClean="0"/>
              <a:t>Klima-Herausforderungen</a:t>
            </a:r>
            <a:r>
              <a:rPr lang="en-US" sz="1200" dirty="0" smtClean="0"/>
              <a:t> und </a:t>
            </a:r>
            <a:r>
              <a:rPr lang="en-US" sz="1200" dirty="0" err="1" smtClean="0"/>
              <a:t>ihre</a:t>
            </a:r>
            <a:r>
              <a:rPr lang="en-US" sz="1200" dirty="0" smtClean="0"/>
              <a:t> </a:t>
            </a:r>
            <a:r>
              <a:rPr lang="en-US" sz="1200" dirty="0" err="1" smtClean="0"/>
              <a:t>Komplexität</a:t>
            </a:r>
            <a:r>
              <a:rPr lang="en-US" sz="1200" dirty="0"/>
              <a:t/>
            </a:r>
            <a:br>
              <a:rPr lang="en-US" sz="1200" dirty="0"/>
            </a:br>
            <a:r>
              <a:rPr lang="en-US" sz="1200" dirty="0"/>
              <a:t> </a:t>
            </a:r>
          </a:p>
        </p:txBody>
      </p:sp>
      <p:pic>
        <p:nvPicPr>
          <p:cNvPr id="9" name="Grafik 8"/>
          <p:cNvPicPr/>
          <p:nvPr/>
        </p:nvPicPr>
        <p:blipFill>
          <a:blip r:embed="rId4" cstate="print">
            <a:extLst>
              <a:ext uri="{28A0092B-C50C-407E-A947-70E740481C1C}">
                <a14:useLocalDpi xmlns:a14="http://schemas.microsoft.com/office/drawing/2010/main" val="0"/>
              </a:ext>
            </a:extLst>
          </a:blip>
          <a:stretch>
            <a:fillRect/>
          </a:stretch>
        </p:blipFill>
        <p:spPr>
          <a:xfrm>
            <a:off x="255905" y="1135064"/>
            <a:ext cx="885180" cy="1042546"/>
          </a:xfrm>
          <a:prstGeom prst="rect">
            <a:avLst/>
          </a:prstGeom>
        </p:spPr>
      </p:pic>
    </p:spTree>
    <p:custDataLst>
      <p:tags r:id="rId1"/>
    </p:custDataLst>
    <p:extLst>
      <p:ext uri="{BB962C8B-B14F-4D97-AF65-F5344CB8AC3E}">
        <p14:creationId xmlns:p14="http://schemas.microsoft.com/office/powerpoint/2010/main" val="1924597898"/>
      </p:ext>
    </p:extLst>
  </p:cSld>
  <p:clrMapOvr>
    <a:masterClrMapping/>
  </p:clrMapOvr>
  <p:transition spd="slow"/>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feld 53"/>
          <p:cNvSpPr txBox="1">
            <a:spLocks noChangeArrowheads="1"/>
          </p:cNvSpPr>
          <p:nvPr/>
        </p:nvSpPr>
        <p:spPr bwMode="auto">
          <a:xfrm>
            <a:off x="6201643" y="2060579"/>
            <a:ext cx="1803396" cy="511240"/>
          </a:xfrm>
          <a:prstGeom prst="rect">
            <a:avLst/>
          </a:prstGeom>
          <a:noFill/>
          <a:ln w="9525">
            <a:noFill/>
            <a:miter lim="800000"/>
            <a:headEnd/>
            <a:tailEnd/>
          </a:ln>
        </p:spPr>
        <p:txBody>
          <a:bodyPr wrap="none" lIns="84146" tIns="42074" rIns="84146" bIns="42074">
            <a:spAutoFit/>
          </a:bodyPr>
          <a:lstStyle/>
          <a:p>
            <a:pPr defTabSz="844083" eaLnBrk="1" hangingPunct="1">
              <a:spcAft>
                <a:spcPct val="0"/>
              </a:spcAft>
              <a:defRPr/>
            </a:pPr>
            <a:r>
              <a:rPr lang="de-DE" sz="1385" dirty="0">
                <a:solidFill>
                  <a:srgbClr val="009E47"/>
                </a:solidFill>
                <a:latin typeface="Arial"/>
                <a:cs typeface="Arial" charset="0"/>
              </a:rPr>
              <a:t>Grundlagen der </a:t>
            </a:r>
          </a:p>
          <a:p>
            <a:pPr defTabSz="844083" eaLnBrk="1" hangingPunct="1">
              <a:spcAft>
                <a:spcPct val="0"/>
              </a:spcAft>
              <a:defRPr/>
            </a:pPr>
            <a:r>
              <a:rPr lang="de-DE" sz="1385" dirty="0">
                <a:solidFill>
                  <a:srgbClr val="009E47"/>
                </a:solidFill>
                <a:latin typeface="Arial"/>
                <a:cs typeface="Arial" charset="0"/>
              </a:rPr>
              <a:t>zukünftigen Existenz</a:t>
            </a:r>
          </a:p>
        </p:txBody>
      </p:sp>
      <p:sp>
        <p:nvSpPr>
          <p:cNvPr id="36" name="Textfeld 54"/>
          <p:cNvSpPr txBox="1">
            <a:spLocks noChangeArrowheads="1"/>
          </p:cNvSpPr>
          <p:nvPr/>
        </p:nvSpPr>
        <p:spPr bwMode="auto">
          <a:xfrm>
            <a:off x="6068118" y="3541319"/>
            <a:ext cx="2063082" cy="511240"/>
          </a:xfrm>
          <a:prstGeom prst="rect">
            <a:avLst/>
          </a:prstGeom>
          <a:noFill/>
          <a:ln w="9525">
            <a:noFill/>
            <a:miter lim="800000"/>
            <a:headEnd/>
            <a:tailEnd/>
          </a:ln>
        </p:spPr>
        <p:txBody>
          <a:bodyPr wrap="none" lIns="84146" tIns="42074" rIns="84146" bIns="42074">
            <a:spAutoFit/>
          </a:bodyPr>
          <a:lstStyle>
            <a:defPPr>
              <a:defRPr lang="de-DE"/>
            </a:defPPr>
            <a:lvl1pPr>
              <a:spcAft>
                <a:spcPct val="0"/>
              </a:spcAft>
              <a:defRPr sz="1500">
                <a:solidFill>
                  <a:srgbClr val="E20000"/>
                </a:solidFill>
              </a:defRPr>
            </a:lvl1pPr>
          </a:lstStyle>
          <a:p>
            <a:pPr defTabSz="844083" eaLnBrk="1" hangingPunct="1">
              <a:defRPr/>
            </a:pPr>
            <a:r>
              <a:rPr lang="de-DE" sz="1385" dirty="0">
                <a:latin typeface="Arial"/>
                <a:cs typeface="Arial" charset="0"/>
              </a:rPr>
              <a:t>Grundlagen der </a:t>
            </a:r>
          </a:p>
          <a:p>
            <a:pPr defTabSz="844083" eaLnBrk="1" hangingPunct="1">
              <a:defRPr/>
            </a:pPr>
            <a:r>
              <a:rPr lang="de-DE" sz="1385" dirty="0">
                <a:latin typeface="Arial"/>
                <a:cs typeface="Arial" charset="0"/>
              </a:rPr>
              <a:t>gegenwärtigen Existenz</a:t>
            </a:r>
          </a:p>
        </p:txBody>
      </p:sp>
      <p:sp>
        <p:nvSpPr>
          <p:cNvPr id="37" name="Textfeld 57"/>
          <p:cNvSpPr txBox="1">
            <a:spLocks noChangeArrowheads="1"/>
          </p:cNvSpPr>
          <p:nvPr/>
        </p:nvSpPr>
        <p:spPr bwMode="auto">
          <a:xfrm rot="16200000">
            <a:off x="-140943" y="3697461"/>
            <a:ext cx="3776684" cy="298105"/>
          </a:xfrm>
          <a:prstGeom prst="rect">
            <a:avLst/>
          </a:prstGeom>
          <a:noFill/>
          <a:ln w="9525">
            <a:noFill/>
            <a:miter lim="800000"/>
            <a:headEnd/>
            <a:tailEnd/>
          </a:ln>
        </p:spPr>
        <p:txBody>
          <a:bodyPr wrap="none" lIns="0" tIns="42074" rIns="84146" bIns="42074">
            <a:spAutoFit/>
          </a:bodyPr>
          <a:lstStyle/>
          <a:p>
            <a:pPr defTabSz="844083" eaLnBrk="1" hangingPunct="1">
              <a:spcAft>
                <a:spcPct val="0"/>
              </a:spcAft>
              <a:defRPr/>
            </a:pPr>
            <a:r>
              <a:rPr lang="de-DE" sz="1385" dirty="0">
                <a:solidFill>
                  <a:srgbClr val="000000"/>
                </a:solidFill>
                <a:latin typeface="Arial"/>
                <a:cs typeface="Arial" charset="0"/>
              </a:rPr>
              <a:t>Entwicklungsverläufe wichtiger Systemaspekte</a:t>
            </a:r>
          </a:p>
        </p:txBody>
      </p:sp>
      <p:sp>
        <p:nvSpPr>
          <p:cNvPr id="38" name="Textfeld 58"/>
          <p:cNvSpPr txBox="1">
            <a:spLocks noChangeArrowheads="1"/>
          </p:cNvSpPr>
          <p:nvPr/>
        </p:nvSpPr>
        <p:spPr bwMode="auto">
          <a:xfrm>
            <a:off x="2150852" y="5755283"/>
            <a:ext cx="1322303" cy="298105"/>
          </a:xfrm>
          <a:prstGeom prst="rect">
            <a:avLst/>
          </a:prstGeom>
          <a:noFill/>
          <a:ln w="9525">
            <a:noFill/>
            <a:miter lim="800000"/>
            <a:headEnd/>
            <a:tailEnd/>
          </a:ln>
        </p:spPr>
        <p:txBody>
          <a:bodyPr wrap="none" lIns="84146" tIns="42074" rIns="84146" bIns="42074">
            <a:spAutoFit/>
          </a:bodyPr>
          <a:lstStyle/>
          <a:p>
            <a:pPr algn="r" defTabSz="844083" eaLnBrk="1" hangingPunct="1">
              <a:spcAft>
                <a:spcPct val="0"/>
              </a:spcAft>
              <a:defRPr/>
            </a:pPr>
            <a:r>
              <a:rPr lang="de-DE" sz="1385" dirty="0">
                <a:solidFill>
                  <a:srgbClr val="000000"/>
                </a:solidFill>
                <a:latin typeface="Arial"/>
                <a:cs typeface="Arial" charset="0"/>
              </a:rPr>
              <a:t>Vergangenheit</a:t>
            </a:r>
          </a:p>
        </p:txBody>
      </p:sp>
      <p:sp>
        <p:nvSpPr>
          <p:cNvPr id="39" name="Textfeld 59"/>
          <p:cNvSpPr txBox="1">
            <a:spLocks noChangeArrowheads="1"/>
          </p:cNvSpPr>
          <p:nvPr/>
        </p:nvSpPr>
        <p:spPr bwMode="auto">
          <a:xfrm>
            <a:off x="3839599" y="6022033"/>
            <a:ext cx="646028" cy="298105"/>
          </a:xfrm>
          <a:prstGeom prst="rect">
            <a:avLst/>
          </a:prstGeom>
          <a:noFill/>
          <a:ln w="9525">
            <a:noFill/>
            <a:miter lim="800000"/>
            <a:headEnd/>
            <a:tailEnd/>
          </a:ln>
        </p:spPr>
        <p:txBody>
          <a:bodyPr wrap="none" lIns="84146" tIns="42074" rIns="84146" bIns="42074">
            <a:spAutoFit/>
          </a:bodyPr>
          <a:lstStyle/>
          <a:p>
            <a:pPr algn="ctr" defTabSz="844083" eaLnBrk="1" hangingPunct="1">
              <a:spcAft>
                <a:spcPct val="0"/>
              </a:spcAft>
              <a:defRPr/>
            </a:pPr>
            <a:r>
              <a:rPr lang="de-DE" sz="1385" dirty="0">
                <a:solidFill>
                  <a:srgbClr val="000000"/>
                </a:solidFill>
                <a:latin typeface="Arial"/>
                <a:cs typeface="Arial" charset="0"/>
              </a:rPr>
              <a:t>Heute</a:t>
            </a:r>
          </a:p>
        </p:txBody>
      </p:sp>
      <p:sp>
        <p:nvSpPr>
          <p:cNvPr id="40" name="Textfeld 60"/>
          <p:cNvSpPr txBox="1">
            <a:spLocks noChangeArrowheads="1"/>
          </p:cNvSpPr>
          <p:nvPr/>
        </p:nvSpPr>
        <p:spPr bwMode="auto">
          <a:xfrm>
            <a:off x="4764363" y="5755283"/>
            <a:ext cx="764650" cy="298105"/>
          </a:xfrm>
          <a:prstGeom prst="rect">
            <a:avLst/>
          </a:prstGeom>
          <a:noFill/>
          <a:ln w="9525">
            <a:noFill/>
            <a:miter lim="800000"/>
            <a:headEnd/>
            <a:tailEnd/>
          </a:ln>
        </p:spPr>
        <p:txBody>
          <a:bodyPr wrap="none" lIns="84146" tIns="42074" rIns="84146" bIns="42074">
            <a:spAutoFit/>
          </a:bodyPr>
          <a:lstStyle/>
          <a:p>
            <a:pPr defTabSz="844083" eaLnBrk="1" hangingPunct="1">
              <a:spcAft>
                <a:spcPct val="0"/>
              </a:spcAft>
              <a:defRPr/>
            </a:pPr>
            <a:r>
              <a:rPr lang="de-DE" sz="1385" dirty="0">
                <a:solidFill>
                  <a:srgbClr val="000000"/>
                </a:solidFill>
                <a:latin typeface="Arial"/>
                <a:cs typeface="Arial" charset="0"/>
              </a:rPr>
              <a:t>Zukunft</a:t>
            </a:r>
          </a:p>
        </p:txBody>
      </p:sp>
      <p:cxnSp>
        <p:nvCxnSpPr>
          <p:cNvPr id="42" name="Gerade Verbindung mit Pfeil 117"/>
          <p:cNvCxnSpPr>
            <a:cxnSpLocks noChangeShapeType="1"/>
          </p:cNvCxnSpPr>
          <p:nvPr/>
        </p:nvCxnSpPr>
        <p:spPr bwMode="auto">
          <a:xfrm>
            <a:off x="4238542" y="5904305"/>
            <a:ext cx="517874" cy="0"/>
          </a:xfrm>
          <a:prstGeom prst="straightConnector1">
            <a:avLst/>
          </a:prstGeom>
          <a:noFill/>
          <a:ln w="9525" algn="ctr">
            <a:solidFill>
              <a:schemeClr val="tx1"/>
            </a:solidFill>
            <a:round/>
            <a:headEnd/>
            <a:tailEnd type="triangle" w="med" len="med"/>
          </a:ln>
        </p:spPr>
      </p:cxnSp>
      <p:cxnSp>
        <p:nvCxnSpPr>
          <p:cNvPr id="47" name="Gerade Verbindung mit Pfeil 118"/>
          <p:cNvCxnSpPr>
            <a:cxnSpLocks noChangeShapeType="1"/>
          </p:cNvCxnSpPr>
          <p:nvPr/>
        </p:nvCxnSpPr>
        <p:spPr bwMode="auto">
          <a:xfrm flipH="1">
            <a:off x="3581943" y="5904305"/>
            <a:ext cx="517874" cy="0"/>
          </a:xfrm>
          <a:prstGeom prst="straightConnector1">
            <a:avLst/>
          </a:prstGeom>
          <a:noFill/>
          <a:ln w="9525" algn="ctr">
            <a:solidFill>
              <a:schemeClr val="tx1"/>
            </a:solidFill>
            <a:round/>
            <a:headEnd/>
            <a:tailEnd type="triangle" w="med" len="med"/>
          </a:ln>
        </p:spPr>
      </p:cxnSp>
      <p:sp>
        <p:nvSpPr>
          <p:cNvPr id="48" name="Freihandform 54"/>
          <p:cNvSpPr>
            <a:spLocks/>
          </p:cNvSpPr>
          <p:nvPr/>
        </p:nvSpPr>
        <p:spPr bwMode="auto">
          <a:xfrm rot="21396569">
            <a:off x="3200073" y="3650996"/>
            <a:ext cx="1908114" cy="1459526"/>
          </a:xfrm>
          <a:custGeom>
            <a:avLst/>
            <a:gdLst>
              <a:gd name="T0" fmla="*/ 4815 w 1944304"/>
              <a:gd name="T1" fmla="*/ 1019810 h 1090863"/>
              <a:gd name="T2" fmla="*/ 678849 w 1944304"/>
              <a:gd name="T3" fmla="*/ 452179 h 1090863"/>
              <a:gd name="T4" fmla="*/ 1131416 w 1944304"/>
              <a:gd name="T5" fmla="*/ 240521 h 1090863"/>
              <a:gd name="T6" fmla="*/ 1901742 w 1944304"/>
              <a:gd name="T7" fmla="*/ 48104 h 1090863"/>
              <a:gd name="T8" fmla="*/ 1391401 w 1944304"/>
              <a:gd name="T9" fmla="*/ 529147 h 1090863"/>
              <a:gd name="T10" fmla="*/ 707737 w 1944304"/>
              <a:gd name="T11" fmla="*/ 875497 h 1090863"/>
              <a:gd name="T12" fmla="*/ 4815 w 1944304"/>
              <a:gd name="T13" fmla="*/ 1019810 h 1090863"/>
              <a:gd name="T14" fmla="*/ 0 60000 65536"/>
              <a:gd name="T15" fmla="*/ 0 60000 65536"/>
              <a:gd name="T16" fmla="*/ 0 60000 65536"/>
              <a:gd name="T17" fmla="*/ 0 60000 65536"/>
              <a:gd name="T18" fmla="*/ 0 60000 65536"/>
              <a:gd name="T19" fmla="*/ 0 60000 65536"/>
              <a:gd name="T20" fmla="*/ 0 60000 65536"/>
              <a:gd name="connsiteX0" fmla="*/ 39 w 1842839"/>
              <a:gd name="connsiteY0" fmla="*/ 959272 h 981220"/>
              <a:gd name="connsiteX1" fmla="*/ 616799 w 1842839"/>
              <a:gd name="connsiteY1" fmla="*/ 412589 h 981220"/>
              <a:gd name="connsiteX2" fmla="*/ 1069187 w 1842839"/>
              <a:gd name="connsiteY2" fmla="*/ 200833 h 981220"/>
              <a:gd name="connsiteX3" fmla="*/ 1839208 w 1842839"/>
              <a:gd name="connsiteY3" fmla="*/ 8328 h 981220"/>
              <a:gd name="connsiteX4" fmla="*/ 1329069 w 1842839"/>
              <a:gd name="connsiteY4" fmla="*/ 489591 h 981220"/>
              <a:gd name="connsiteX5" fmla="*/ 645675 w 1842839"/>
              <a:gd name="connsiteY5" fmla="*/ 836101 h 981220"/>
              <a:gd name="connsiteX6" fmla="*/ 39 w 1842839"/>
              <a:gd name="connsiteY6" fmla="*/ 959272 h 981220"/>
              <a:gd name="connsiteX0" fmla="*/ 463 w 1843263"/>
              <a:gd name="connsiteY0" fmla="*/ 959272 h 981747"/>
              <a:gd name="connsiteX1" fmla="*/ 617223 w 1843263"/>
              <a:gd name="connsiteY1" fmla="*/ 412589 h 981747"/>
              <a:gd name="connsiteX2" fmla="*/ 1069611 w 1843263"/>
              <a:gd name="connsiteY2" fmla="*/ 200833 h 981747"/>
              <a:gd name="connsiteX3" fmla="*/ 1839632 w 1843263"/>
              <a:gd name="connsiteY3" fmla="*/ 8328 h 981747"/>
              <a:gd name="connsiteX4" fmla="*/ 1329493 w 1843263"/>
              <a:gd name="connsiteY4" fmla="*/ 489591 h 981747"/>
              <a:gd name="connsiteX5" fmla="*/ 719223 w 1843263"/>
              <a:gd name="connsiteY5" fmla="*/ 838859 h 981747"/>
              <a:gd name="connsiteX6" fmla="*/ 463 w 1843263"/>
              <a:gd name="connsiteY6" fmla="*/ 959272 h 981747"/>
              <a:gd name="connsiteX0" fmla="*/ 55759 w 1898559"/>
              <a:gd name="connsiteY0" fmla="*/ 959272 h 960290"/>
              <a:gd name="connsiteX1" fmla="*/ 672519 w 1898559"/>
              <a:gd name="connsiteY1" fmla="*/ 412589 h 960290"/>
              <a:gd name="connsiteX2" fmla="*/ 1124907 w 1898559"/>
              <a:gd name="connsiteY2" fmla="*/ 200833 h 960290"/>
              <a:gd name="connsiteX3" fmla="*/ 1894928 w 1898559"/>
              <a:gd name="connsiteY3" fmla="*/ 8328 h 960290"/>
              <a:gd name="connsiteX4" fmla="*/ 1384789 w 1898559"/>
              <a:gd name="connsiteY4" fmla="*/ 489591 h 960290"/>
              <a:gd name="connsiteX5" fmla="*/ 774519 w 1898559"/>
              <a:gd name="connsiteY5" fmla="*/ 838859 h 960290"/>
              <a:gd name="connsiteX6" fmla="*/ 55759 w 1898559"/>
              <a:gd name="connsiteY6" fmla="*/ 959272 h 960290"/>
              <a:gd name="connsiteX0" fmla="*/ 55759 w 1898559"/>
              <a:gd name="connsiteY0" fmla="*/ 959272 h 960290"/>
              <a:gd name="connsiteX1" fmla="*/ 672519 w 1898559"/>
              <a:gd name="connsiteY1" fmla="*/ 412589 h 960290"/>
              <a:gd name="connsiteX2" fmla="*/ 1124907 w 1898559"/>
              <a:gd name="connsiteY2" fmla="*/ 200833 h 960290"/>
              <a:gd name="connsiteX3" fmla="*/ 1894928 w 1898559"/>
              <a:gd name="connsiteY3" fmla="*/ 8328 h 960290"/>
              <a:gd name="connsiteX4" fmla="*/ 1384789 w 1898559"/>
              <a:gd name="connsiteY4" fmla="*/ 489591 h 960290"/>
              <a:gd name="connsiteX5" fmla="*/ 774519 w 1898559"/>
              <a:gd name="connsiteY5" fmla="*/ 838859 h 960290"/>
              <a:gd name="connsiteX6" fmla="*/ 55759 w 1898559"/>
              <a:gd name="connsiteY6" fmla="*/ 959272 h 960290"/>
              <a:gd name="connsiteX0" fmla="*/ 0 w 1842800"/>
              <a:gd name="connsiteY0" fmla="*/ 959272 h 959272"/>
              <a:gd name="connsiteX1" fmla="*/ 616760 w 1842800"/>
              <a:gd name="connsiteY1" fmla="*/ 412589 h 959272"/>
              <a:gd name="connsiteX2" fmla="*/ 1069148 w 1842800"/>
              <a:gd name="connsiteY2" fmla="*/ 200833 h 959272"/>
              <a:gd name="connsiteX3" fmla="*/ 1839169 w 1842800"/>
              <a:gd name="connsiteY3" fmla="*/ 8328 h 959272"/>
              <a:gd name="connsiteX4" fmla="*/ 1329030 w 1842800"/>
              <a:gd name="connsiteY4" fmla="*/ 489591 h 959272"/>
              <a:gd name="connsiteX5" fmla="*/ 718760 w 1842800"/>
              <a:gd name="connsiteY5" fmla="*/ 838859 h 959272"/>
              <a:gd name="connsiteX6" fmla="*/ 0 w 1842800"/>
              <a:gd name="connsiteY6" fmla="*/ 959272 h 959272"/>
              <a:gd name="connsiteX0" fmla="*/ 0 w 1842800"/>
              <a:gd name="connsiteY0" fmla="*/ 959272 h 959272"/>
              <a:gd name="connsiteX1" fmla="*/ 616760 w 1842800"/>
              <a:gd name="connsiteY1" fmla="*/ 412589 h 959272"/>
              <a:gd name="connsiteX2" fmla="*/ 1069148 w 1842800"/>
              <a:gd name="connsiteY2" fmla="*/ 200833 h 959272"/>
              <a:gd name="connsiteX3" fmla="*/ 1839169 w 1842800"/>
              <a:gd name="connsiteY3" fmla="*/ 8328 h 959272"/>
              <a:gd name="connsiteX4" fmla="*/ 1329030 w 1842800"/>
              <a:gd name="connsiteY4" fmla="*/ 489591 h 959272"/>
              <a:gd name="connsiteX5" fmla="*/ 718760 w 1842800"/>
              <a:gd name="connsiteY5" fmla="*/ 838859 h 959272"/>
              <a:gd name="connsiteX6" fmla="*/ 0 w 1842800"/>
              <a:gd name="connsiteY6" fmla="*/ 959272 h 959272"/>
              <a:gd name="connsiteX0" fmla="*/ 0 w 1839169"/>
              <a:gd name="connsiteY0" fmla="*/ 959272 h 959272"/>
              <a:gd name="connsiteX1" fmla="*/ 616760 w 1839169"/>
              <a:gd name="connsiteY1" fmla="*/ 412589 h 959272"/>
              <a:gd name="connsiteX2" fmla="*/ 1069148 w 1839169"/>
              <a:gd name="connsiteY2" fmla="*/ 200833 h 959272"/>
              <a:gd name="connsiteX3" fmla="*/ 1839169 w 1839169"/>
              <a:gd name="connsiteY3" fmla="*/ 8328 h 959272"/>
              <a:gd name="connsiteX4" fmla="*/ 1329030 w 1839169"/>
              <a:gd name="connsiteY4" fmla="*/ 489591 h 959272"/>
              <a:gd name="connsiteX5" fmla="*/ 718760 w 1839169"/>
              <a:gd name="connsiteY5" fmla="*/ 838859 h 959272"/>
              <a:gd name="connsiteX6" fmla="*/ 0 w 1839169"/>
              <a:gd name="connsiteY6" fmla="*/ 959272 h 959272"/>
              <a:gd name="connsiteX0" fmla="*/ 0 w 1839169"/>
              <a:gd name="connsiteY0" fmla="*/ 950944 h 950944"/>
              <a:gd name="connsiteX1" fmla="*/ 616760 w 1839169"/>
              <a:gd name="connsiteY1" fmla="*/ 404261 h 950944"/>
              <a:gd name="connsiteX2" fmla="*/ 1069148 w 1839169"/>
              <a:gd name="connsiteY2" fmla="*/ 192505 h 950944"/>
              <a:gd name="connsiteX3" fmla="*/ 1839169 w 1839169"/>
              <a:gd name="connsiteY3" fmla="*/ 0 h 950944"/>
              <a:gd name="connsiteX4" fmla="*/ 1329030 w 1839169"/>
              <a:gd name="connsiteY4" fmla="*/ 481263 h 950944"/>
              <a:gd name="connsiteX5" fmla="*/ 718760 w 1839169"/>
              <a:gd name="connsiteY5" fmla="*/ 830531 h 950944"/>
              <a:gd name="connsiteX6" fmla="*/ 0 w 1839169"/>
              <a:gd name="connsiteY6" fmla="*/ 950944 h 950944"/>
              <a:gd name="connsiteX0" fmla="*/ 0 w 1839169"/>
              <a:gd name="connsiteY0" fmla="*/ 950944 h 950944"/>
              <a:gd name="connsiteX1" fmla="*/ 603513 w 1839169"/>
              <a:gd name="connsiteY1" fmla="*/ 387093 h 950944"/>
              <a:gd name="connsiteX2" fmla="*/ 1069148 w 1839169"/>
              <a:gd name="connsiteY2" fmla="*/ 192505 h 950944"/>
              <a:gd name="connsiteX3" fmla="*/ 1839169 w 1839169"/>
              <a:gd name="connsiteY3" fmla="*/ 0 h 950944"/>
              <a:gd name="connsiteX4" fmla="*/ 1329030 w 1839169"/>
              <a:gd name="connsiteY4" fmla="*/ 481263 h 950944"/>
              <a:gd name="connsiteX5" fmla="*/ 718760 w 1839169"/>
              <a:gd name="connsiteY5" fmla="*/ 830531 h 950944"/>
              <a:gd name="connsiteX6" fmla="*/ 0 w 1839169"/>
              <a:gd name="connsiteY6" fmla="*/ 950944 h 950944"/>
              <a:gd name="connsiteX0" fmla="*/ 0 w 1839169"/>
              <a:gd name="connsiteY0" fmla="*/ 950944 h 950944"/>
              <a:gd name="connsiteX1" fmla="*/ 603513 w 1839169"/>
              <a:gd name="connsiteY1" fmla="*/ 387093 h 950944"/>
              <a:gd name="connsiteX2" fmla="*/ 1118464 w 1839169"/>
              <a:gd name="connsiteY2" fmla="*/ 134591 h 950944"/>
              <a:gd name="connsiteX3" fmla="*/ 1839169 w 1839169"/>
              <a:gd name="connsiteY3" fmla="*/ 0 h 950944"/>
              <a:gd name="connsiteX4" fmla="*/ 1329030 w 1839169"/>
              <a:gd name="connsiteY4" fmla="*/ 481263 h 950944"/>
              <a:gd name="connsiteX5" fmla="*/ 718760 w 1839169"/>
              <a:gd name="connsiteY5" fmla="*/ 830531 h 950944"/>
              <a:gd name="connsiteX6" fmla="*/ 0 w 1839169"/>
              <a:gd name="connsiteY6" fmla="*/ 950944 h 950944"/>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329030 w 1889323"/>
              <a:gd name="connsiteY4" fmla="*/ 492562 h 962243"/>
              <a:gd name="connsiteX5" fmla="*/ 718760 w 1889323"/>
              <a:gd name="connsiteY5" fmla="*/ 841830 h 962243"/>
              <a:gd name="connsiteX6" fmla="*/ 0 w 1889323"/>
              <a:gd name="connsiteY6" fmla="*/ 962243 h 962243"/>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329030 w 1889323"/>
              <a:gd name="connsiteY4" fmla="*/ 492562 h 962243"/>
              <a:gd name="connsiteX5" fmla="*/ 718760 w 1889323"/>
              <a:gd name="connsiteY5" fmla="*/ 841830 h 962243"/>
              <a:gd name="connsiteX6" fmla="*/ 0 w 1889323"/>
              <a:gd name="connsiteY6" fmla="*/ 962243 h 962243"/>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406546 w 1889323"/>
              <a:gd name="connsiteY4" fmla="*/ 505652 h 962243"/>
              <a:gd name="connsiteX5" fmla="*/ 718760 w 1889323"/>
              <a:gd name="connsiteY5" fmla="*/ 841830 h 962243"/>
              <a:gd name="connsiteX6" fmla="*/ 0 w 1889323"/>
              <a:gd name="connsiteY6" fmla="*/ 962243 h 962243"/>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406546 w 1889323"/>
              <a:gd name="connsiteY4" fmla="*/ 505652 h 962243"/>
              <a:gd name="connsiteX5" fmla="*/ 721918 w 1889323"/>
              <a:gd name="connsiteY5" fmla="*/ 861921 h 962243"/>
              <a:gd name="connsiteX6" fmla="*/ 0 w 1889323"/>
              <a:gd name="connsiteY6" fmla="*/ 962243 h 962243"/>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27883 w 1910660"/>
              <a:gd name="connsiteY4" fmla="*/ 505652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27883 w 1910660"/>
              <a:gd name="connsiteY4" fmla="*/ 505652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27883 w 1910660"/>
              <a:gd name="connsiteY4" fmla="*/ 505652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34283 w 1910660"/>
              <a:gd name="connsiteY4" fmla="*/ 518666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34283 w 1910660"/>
              <a:gd name="connsiteY4" fmla="*/ 51866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39801 w 1910660"/>
              <a:gd name="connsiteY2" fmla="*/ 145890 h 981351"/>
              <a:gd name="connsiteX3" fmla="*/ 1910660 w 1910660"/>
              <a:gd name="connsiteY3" fmla="*/ 0 h 981351"/>
              <a:gd name="connsiteX4" fmla="*/ 1434283 w 1910660"/>
              <a:gd name="connsiteY4" fmla="*/ 51866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34283 w 1910660"/>
              <a:gd name="connsiteY4" fmla="*/ 51866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85569 w 1910660"/>
              <a:gd name="connsiteY4" fmla="*/ 49265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85569 w 1910660"/>
              <a:gd name="connsiteY4" fmla="*/ 49265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7205"/>
              <a:gd name="connsiteY0" fmla="*/ 981089 h 981089"/>
              <a:gd name="connsiteX1" fmla="*/ 614616 w 1917205"/>
              <a:gd name="connsiteY1" fmla="*/ 399788 h 981089"/>
              <a:gd name="connsiteX2" fmla="*/ 1151739 w 1917205"/>
              <a:gd name="connsiteY2" fmla="*/ 138453 h 981089"/>
              <a:gd name="connsiteX3" fmla="*/ 1917205 w 1917205"/>
              <a:gd name="connsiteY3" fmla="*/ 0 h 981089"/>
              <a:gd name="connsiteX4" fmla="*/ 1490661 w 1917205"/>
              <a:gd name="connsiteY4" fmla="*/ 477290 h 981089"/>
              <a:gd name="connsiteX5" fmla="*/ 769551 w 1917205"/>
              <a:gd name="connsiteY5" fmla="*/ 862713 h 981089"/>
              <a:gd name="connsiteX6" fmla="*/ 0 w 1917205"/>
              <a:gd name="connsiteY6" fmla="*/ 981089 h 981089"/>
              <a:gd name="connsiteX0" fmla="*/ 0 w 1928243"/>
              <a:gd name="connsiteY0" fmla="*/ 982129 h 982129"/>
              <a:gd name="connsiteX1" fmla="*/ 614616 w 1928243"/>
              <a:gd name="connsiteY1" fmla="*/ 400828 h 982129"/>
              <a:gd name="connsiteX2" fmla="*/ 1151739 w 1928243"/>
              <a:gd name="connsiteY2" fmla="*/ 139493 h 982129"/>
              <a:gd name="connsiteX3" fmla="*/ 1928243 w 1928243"/>
              <a:gd name="connsiteY3" fmla="*/ 0 h 982129"/>
              <a:gd name="connsiteX4" fmla="*/ 1490661 w 1928243"/>
              <a:gd name="connsiteY4" fmla="*/ 478330 h 982129"/>
              <a:gd name="connsiteX5" fmla="*/ 769551 w 1928243"/>
              <a:gd name="connsiteY5" fmla="*/ 863753 h 982129"/>
              <a:gd name="connsiteX6" fmla="*/ 0 w 1928243"/>
              <a:gd name="connsiteY6" fmla="*/ 982129 h 982129"/>
              <a:gd name="connsiteX0" fmla="*/ 0 w 1928243"/>
              <a:gd name="connsiteY0" fmla="*/ 982129 h 982129"/>
              <a:gd name="connsiteX1" fmla="*/ 614616 w 1928243"/>
              <a:gd name="connsiteY1" fmla="*/ 400828 h 982129"/>
              <a:gd name="connsiteX2" fmla="*/ 1151739 w 1928243"/>
              <a:gd name="connsiteY2" fmla="*/ 139493 h 982129"/>
              <a:gd name="connsiteX3" fmla="*/ 1928243 w 1928243"/>
              <a:gd name="connsiteY3" fmla="*/ 0 h 982129"/>
              <a:gd name="connsiteX4" fmla="*/ 1490661 w 1928243"/>
              <a:gd name="connsiteY4" fmla="*/ 478330 h 982129"/>
              <a:gd name="connsiteX5" fmla="*/ 769551 w 1928243"/>
              <a:gd name="connsiteY5" fmla="*/ 863753 h 982129"/>
              <a:gd name="connsiteX6" fmla="*/ 0 w 1928243"/>
              <a:gd name="connsiteY6" fmla="*/ 982129 h 982129"/>
              <a:gd name="connsiteX0" fmla="*/ 0 w 1928243"/>
              <a:gd name="connsiteY0" fmla="*/ 982129 h 982129"/>
              <a:gd name="connsiteX1" fmla="*/ 614616 w 1928243"/>
              <a:gd name="connsiteY1" fmla="*/ 400828 h 982129"/>
              <a:gd name="connsiteX2" fmla="*/ 1151739 w 1928243"/>
              <a:gd name="connsiteY2" fmla="*/ 139493 h 982129"/>
              <a:gd name="connsiteX3" fmla="*/ 1928243 w 1928243"/>
              <a:gd name="connsiteY3" fmla="*/ 0 h 982129"/>
              <a:gd name="connsiteX4" fmla="*/ 1490661 w 1928243"/>
              <a:gd name="connsiteY4" fmla="*/ 478330 h 982129"/>
              <a:gd name="connsiteX5" fmla="*/ 769551 w 1928243"/>
              <a:gd name="connsiteY5" fmla="*/ 863753 h 982129"/>
              <a:gd name="connsiteX6" fmla="*/ 0 w 1928243"/>
              <a:gd name="connsiteY6" fmla="*/ 982129 h 982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8243" h="982129">
                <a:moveTo>
                  <a:pt x="0" y="982129"/>
                </a:moveTo>
                <a:cubicBezTo>
                  <a:pt x="222870" y="793691"/>
                  <a:pt x="414784" y="526469"/>
                  <a:pt x="614616" y="400828"/>
                </a:cubicBezTo>
                <a:cubicBezTo>
                  <a:pt x="814448" y="275187"/>
                  <a:pt x="932801" y="206298"/>
                  <a:pt x="1151739" y="139493"/>
                </a:cubicBezTo>
                <a:cubicBezTo>
                  <a:pt x="1370677" y="72688"/>
                  <a:pt x="1608569" y="14507"/>
                  <a:pt x="1928243" y="0"/>
                </a:cubicBezTo>
                <a:cubicBezTo>
                  <a:pt x="1843665" y="107229"/>
                  <a:pt x="1712682" y="301142"/>
                  <a:pt x="1490661" y="478330"/>
                </a:cubicBezTo>
                <a:cubicBezTo>
                  <a:pt x="1291739" y="616292"/>
                  <a:pt x="1017994" y="779787"/>
                  <a:pt x="769551" y="863753"/>
                </a:cubicBezTo>
                <a:cubicBezTo>
                  <a:pt x="521108" y="947719"/>
                  <a:pt x="268507" y="974216"/>
                  <a:pt x="0" y="982129"/>
                </a:cubicBezTo>
                <a:close/>
              </a:path>
            </a:pathLst>
          </a:custGeom>
          <a:gradFill flip="none" rotWithShape="1">
            <a:gsLst>
              <a:gs pos="37000">
                <a:srgbClr val="86D598"/>
              </a:gs>
              <a:gs pos="14000">
                <a:srgbClr val="3ED06F"/>
              </a:gs>
              <a:gs pos="67000">
                <a:srgbClr val="F1A29C">
                  <a:lumMod val="94000"/>
                </a:srgbClr>
              </a:gs>
              <a:gs pos="50000">
                <a:srgbClr val="E4EBDD">
                  <a:lumMod val="90000"/>
                </a:srgbClr>
              </a:gs>
              <a:gs pos="92000">
                <a:srgbClr val="FB4F4F">
                  <a:lumMod val="98000"/>
                </a:srgbClr>
              </a:gs>
            </a:gsLst>
            <a:lin ang="8100000" scaled="1"/>
            <a:tileRect/>
          </a:gradFill>
          <a:ln>
            <a:noFill/>
          </a:ln>
          <a:extLst/>
        </p:spPr>
        <p:txBody>
          <a:bodyPr wrap="none" lIns="83058" tIns="43190" rIns="83058" bIns="43190"/>
          <a:lstStyle/>
          <a:p>
            <a:pPr defTabSz="844083">
              <a:defRPr/>
            </a:pPr>
            <a:endParaRPr lang="de-DE" sz="1477" dirty="0">
              <a:solidFill>
                <a:srgbClr val="000000"/>
              </a:solidFill>
              <a:latin typeface="Arial"/>
              <a:cs typeface="Arial" charset="0"/>
            </a:endParaRPr>
          </a:p>
        </p:txBody>
      </p:sp>
      <p:grpSp>
        <p:nvGrpSpPr>
          <p:cNvPr id="49" name="Gruppieren 82"/>
          <p:cNvGrpSpPr/>
          <p:nvPr/>
        </p:nvGrpSpPr>
        <p:grpSpPr>
          <a:xfrm>
            <a:off x="1908999" y="3574017"/>
            <a:ext cx="4127214" cy="2042535"/>
            <a:chOff x="1649581" y="3714729"/>
            <a:chExt cx="4516799" cy="2212746"/>
          </a:xfrm>
        </p:grpSpPr>
        <p:sp>
          <p:nvSpPr>
            <p:cNvPr id="50" name="Freihandform 9"/>
            <p:cNvSpPr>
              <a:spLocks noChangeArrowheads="1"/>
            </p:cNvSpPr>
            <p:nvPr/>
          </p:nvSpPr>
          <p:spPr bwMode="auto">
            <a:xfrm>
              <a:off x="1649581" y="3714729"/>
              <a:ext cx="3762451" cy="2212746"/>
            </a:xfrm>
            <a:custGeom>
              <a:avLst/>
              <a:gdLst>
                <a:gd name="T0" fmla="*/ 24855 w 4279231"/>
                <a:gd name="T1" fmla="*/ 1761059 h 1770246"/>
                <a:gd name="T2" fmla="*/ 82581 w 4279231"/>
                <a:gd name="T3" fmla="*/ 1732189 h 1770246"/>
                <a:gd name="T4" fmla="*/ 669470 w 4279231"/>
                <a:gd name="T5" fmla="*/ 1481985 h 1770246"/>
                <a:gd name="T6" fmla="*/ 1593100 w 4279231"/>
                <a:gd name="T7" fmla="*/ 702498 h 1770246"/>
                <a:gd name="T8" fmla="*/ 2093398 w 4279231"/>
                <a:gd name="T9" fmla="*/ 413800 h 1770246"/>
                <a:gd name="T10" fmla="*/ 2978542 w 4279231"/>
                <a:gd name="T11" fmla="*/ 163596 h 1770246"/>
                <a:gd name="T12" fmla="*/ 4277393 w 4279231"/>
                <a:gd name="T13" fmla="*/ 0 h 1770246"/>
                <a:gd name="T14" fmla="*/ 0 60000 65536"/>
                <a:gd name="T15" fmla="*/ 0 60000 65536"/>
                <a:gd name="T16" fmla="*/ 0 60000 65536"/>
                <a:gd name="T17" fmla="*/ 0 60000 65536"/>
                <a:gd name="T18" fmla="*/ 0 60000 65536"/>
                <a:gd name="T19" fmla="*/ 0 60000 65536"/>
                <a:gd name="T20" fmla="*/ 0 60000 65536"/>
                <a:gd name="T21" fmla="*/ 0 w 4279231"/>
                <a:gd name="T22" fmla="*/ 0 h 1770246"/>
                <a:gd name="T23" fmla="*/ 4279231 w 4279231"/>
                <a:gd name="T24" fmla="*/ 1770246 h 1770246"/>
                <a:gd name="connsiteX0" fmla="*/ 0 w 4254366"/>
                <a:gd name="connsiteY0" fmla="*/ 1761423 h 1761423"/>
                <a:gd name="connsiteX1" fmla="*/ 644893 w 4254366"/>
                <a:gd name="connsiteY1" fmla="*/ 1482291 h 1761423"/>
                <a:gd name="connsiteX2" fmla="*/ 1568918 w 4254366"/>
                <a:gd name="connsiteY2" fmla="*/ 702644 h 1761423"/>
                <a:gd name="connsiteX3" fmla="*/ 2069432 w 4254366"/>
                <a:gd name="connsiteY3" fmla="*/ 413886 h 1761423"/>
                <a:gd name="connsiteX4" fmla="*/ 2954956 w 4254366"/>
                <a:gd name="connsiteY4" fmla="*/ 163630 h 1761423"/>
                <a:gd name="connsiteX5" fmla="*/ 4254366 w 4254366"/>
                <a:gd name="connsiteY5" fmla="*/ 0 h 1761423"/>
                <a:gd name="connsiteX0" fmla="*/ 0 w 4703568"/>
                <a:gd name="connsiteY0" fmla="*/ 1726616 h 1726616"/>
                <a:gd name="connsiteX1" fmla="*/ 1094095 w 4703568"/>
                <a:gd name="connsiteY1" fmla="*/ 1482291 h 1726616"/>
                <a:gd name="connsiteX2" fmla="*/ 2018120 w 4703568"/>
                <a:gd name="connsiteY2" fmla="*/ 702644 h 1726616"/>
                <a:gd name="connsiteX3" fmla="*/ 2518634 w 4703568"/>
                <a:gd name="connsiteY3" fmla="*/ 413886 h 1726616"/>
                <a:gd name="connsiteX4" fmla="*/ 3404158 w 4703568"/>
                <a:gd name="connsiteY4" fmla="*/ 163630 h 1726616"/>
                <a:gd name="connsiteX5" fmla="*/ 4703568 w 4703568"/>
                <a:gd name="connsiteY5" fmla="*/ 0 h 1726616"/>
                <a:gd name="connsiteX0" fmla="*/ 0 w 4703568"/>
                <a:gd name="connsiteY0" fmla="*/ 1726616 h 1726616"/>
                <a:gd name="connsiteX1" fmla="*/ 1094095 w 4703568"/>
                <a:gd name="connsiteY1" fmla="*/ 1482291 h 1726616"/>
                <a:gd name="connsiteX2" fmla="*/ 2018120 w 4703568"/>
                <a:gd name="connsiteY2" fmla="*/ 702644 h 1726616"/>
                <a:gd name="connsiteX3" fmla="*/ 2518634 w 4703568"/>
                <a:gd name="connsiteY3" fmla="*/ 413886 h 1726616"/>
                <a:gd name="connsiteX4" fmla="*/ 3404158 w 4703568"/>
                <a:gd name="connsiteY4" fmla="*/ 163630 h 1726616"/>
                <a:gd name="connsiteX5" fmla="*/ 4703568 w 4703568"/>
                <a:gd name="connsiteY5" fmla="*/ 0 h 1726616"/>
                <a:gd name="connsiteX0" fmla="*/ 0 w 4703568"/>
                <a:gd name="connsiteY0" fmla="*/ 1726616 h 1726616"/>
                <a:gd name="connsiteX1" fmla="*/ 1094095 w 4703568"/>
                <a:gd name="connsiteY1" fmla="*/ 1482291 h 1726616"/>
                <a:gd name="connsiteX2" fmla="*/ 2018120 w 4703568"/>
                <a:gd name="connsiteY2" fmla="*/ 702644 h 1726616"/>
                <a:gd name="connsiteX3" fmla="*/ 2518634 w 4703568"/>
                <a:gd name="connsiteY3" fmla="*/ 413886 h 1726616"/>
                <a:gd name="connsiteX4" fmla="*/ 3404158 w 4703568"/>
                <a:gd name="connsiteY4" fmla="*/ 163630 h 1726616"/>
                <a:gd name="connsiteX5" fmla="*/ 4703568 w 4703568"/>
                <a:gd name="connsiteY5" fmla="*/ 0 h 1726616"/>
                <a:gd name="connsiteX0" fmla="*/ 0 w 5164591"/>
                <a:gd name="connsiteY0" fmla="*/ 1747500 h 1747500"/>
                <a:gd name="connsiteX1" fmla="*/ 1555118 w 5164591"/>
                <a:gd name="connsiteY1" fmla="*/ 1482291 h 1747500"/>
                <a:gd name="connsiteX2" fmla="*/ 2479143 w 5164591"/>
                <a:gd name="connsiteY2" fmla="*/ 702644 h 1747500"/>
                <a:gd name="connsiteX3" fmla="*/ 2979657 w 5164591"/>
                <a:gd name="connsiteY3" fmla="*/ 413886 h 1747500"/>
                <a:gd name="connsiteX4" fmla="*/ 3865181 w 5164591"/>
                <a:gd name="connsiteY4" fmla="*/ 163630 h 1747500"/>
                <a:gd name="connsiteX5" fmla="*/ 5164591 w 5164591"/>
                <a:gd name="connsiteY5" fmla="*/ 0 h 1747500"/>
                <a:gd name="connsiteX0" fmla="*/ 0 w 5164591"/>
                <a:gd name="connsiteY0" fmla="*/ 1747500 h 1747500"/>
                <a:gd name="connsiteX1" fmla="*/ 1555118 w 5164591"/>
                <a:gd name="connsiteY1" fmla="*/ 1482291 h 1747500"/>
                <a:gd name="connsiteX2" fmla="*/ 2479143 w 5164591"/>
                <a:gd name="connsiteY2" fmla="*/ 702644 h 1747500"/>
                <a:gd name="connsiteX3" fmla="*/ 2979657 w 5164591"/>
                <a:gd name="connsiteY3" fmla="*/ 413886 h 1747500"/>
                <a:gd name="connsiteX4" fmla="*/ 3865181 w 5164591"/>
                <a:gd name="connsiteY4" fmla="*/ 163630 h 1747500"/>
                <a:gd name="connsiteX5" fmla="*/ 5164591 w 5164591"/>
                <a:gd name="connsiteY5" fmla="*/ 0 h 1747500"/>
                <a:gd name="connsiteX0" fmla="*/ 0 w 4674687"/>
                <a:gd name="connsiteY0" fmla="*/ 1700316 h 1700316"/>
                <a:gd name="connsiteX1" fmla="*/ 1555118 w 4674687"/>
                <a:gd name="connsiteY1" fmla="*/ 1435107 h 1700316"/>
                <a:gd name="connsiteX2" fmla="*/ 2479143 w 4674687"/>
                <a:gd name="connsiteY2" fmla="*/ 655460 h 1700316"/>
                <a:gd name="connsiteX3" fmla="*/ 2979657 w 4674687"/>
                <a:gd name="connsiteY3" fmla="*/ 366702 h 1700316"/>
                <a:gd name="connsiteX4" fmla="*/ 3865181 w 4674687"/>
                <a:gd name="connsiteY4" fmla="*/ 116446 h 1700316"/>
                <a:gd name="connsiteX5" fmla="*/ 4674687 w 4674687"/>
                <a:gd name="connsiteY5" fmla="*/ 0 h 1700316"/>
                <a:gd name="connsiteX0" fmla="*/ 0 w 4674687"/>
                <a:gd name="connsiteY0" fmla="*/ 1700316 h 1700316"/>
                <a:gd name="connsiteX1" fmla="*/ 1555118 w 4674687"/>
                <a:gd name="connsiteY1" fmla="*/ 1435107 h 1700316"/>
                <a:gd name="connsiteX2" fmla="*/ 2479143 w 4674687"/>
                <a:gd name="connsiteY2" fmla="*/ 655460 h 1700316"/>
                <a:gd name="connsiteX3" fmla="*/ 2979657 w 4674687"/>
                <a:gd name="connsiteY3" fmla="*/ 366702 h 1700316"/>
                <a:gd name="connsiteX4" fmla="*/ 3865181 w 4674687"/>
                <a:gd name="connsiteY4" fmla="*/ 116446 h 1700316"/>
                <a:gd name="connsiteX5" fmla="*/ 4674687 w 4674687"/>
                <a:gd name="connsiteY5" fmla="*/ 0 h 1700316"/>
                <a:gd name="connsiteX0" fmla="*/ 0 w 4674687"/>
                <a:gd name="connsiteY0" fmla="*/ 1700316 h 1700316"/>
                <a:gd name="connsiteX1" fmla="*/ 1555118 w 4674687"/>
                <a:gd name="connsiteY1" fmla="*/ 1435107 h 1700316"/>
                <a:gd name="connsiteX2" fmla="*/ 2479143 w 4674687"/>
                <a:gd name="connsiteY2" fmla="*/ 655460 h 1700316"/>
                <a:gd name="connsiteX3" fmla="*/ 2979657 w 4674687"/>
                <a:gd name="connsiteY3" fmla="*/ 366702 h 1700316"/>
                <a:gd name="connsiteX4" fmla="*/ 3865181 w 4674687"/>
                <a:gd name="connsiteY4" fmla="*/ 116446 h 1700316"/>
                <a:gd name="connsiteX5" fmla="*/ 4674687 w 4674687"/>
                <a:gd name="connsiteY5" fmla="*/ 0 h 1700316"/>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589897"/>
                <a:gd name="connsiteY0" fmla="*/ 1659030 h 1659030"/>
                <a:gd name="connsiteX1" fmla="*/ 1555118 w 4589897"/>
                <a:gd name="connsiteY1" fmla="*/ 1393821 h 1659030"/>
                <a:gd name="connsiteX2" fmla="*/ 2479143 w 4589897"/>
                <a:gd name="connsiteY2" fmla="*/ 614174 h 1659030"/>
                <a:gd name="connsiteX3" fmla="*/ 2979657 w 4589897"/>
                <a:gd name="connsiteY3" fmla="*/ 325416 h 1659030"/>
                <a:gd name="connsiteX4" fmla="*/ 3865181 w 4589897"/>
                <a:gd name="connsiteY4" fmla="*/ 75160 h 1659030"/>
                <a:gd name="connsiteX5" fmla="*/ 4589897 w 4589897"/>
                <a:gd name="connsiteY5"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2979657 w 4589897"/>
                <a:gd name="connsiteY3" fmla="*/ 325416 h 1659030"/>
                <a:gd name="connsiteX4" fmla="*/ 3865181 w 4589897"/>
                <a:gd name="connsiteY4" fmla="*/ 75160 h 1659030"/>
                <a:gd name="connsiteX5" fmla="*/ 4589897 w 4589897"/>
                <a:gd name="connsiteY5"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2979657 w 4589897"/>
                <a:gd name="connsiteY3" fmla="*/ 325416 h 1659030"/>
                <a:gd name="connsiteX4" fmla="*/ 4589897 w 4589897"/>
                <a:gd name="connsiteY4"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3215187 w 4589897"/>
                <a:gd name="connsiteY3" fmla="*/ 231048 h 1659030"/>
                <a:gd name="connsiteX4" fmla="*/ 4589897 w 4589897"/>
                <a:gd name="connsiteY4"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3215187 w 4589897"/>
                <a:gd name="connsiteY3" fmla="*/ 231048 h 1659030"/>
                <a:gd name="connsiteX4" fmla="*/ 4589897 w 4589897"/>
                <a:gd name="connsiteY4" fmla="*/ 0 h 1659030"/>
                <a:gd name="connsiteX0" fmla="*/ 0 w 4552211"/>
                <a:gd name="connsiteY0" fmla="*/ 1653132 h 1653132"/>
                <a:gd name="connsiteX1" fmla="*/ 1555118 w 4552211"/>
                <a:gd name="connsiteY1" fmla="*/ 1387923 h 1653132"/>
                <a:gd name="connsiteX2" fmla="*/ 2479143 w 4552211"/>
                <a:gd name="connsiteY2" fmla="*/ 608276 h 1653132"/>
                <a:gd name="connsiteX3" fmla="*/ 3215187 w 4552211"/>
                <a:gd name="connsiteY3" fmla="*/ 225150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15187 w 4552211"/>
                <a:gd name="connsiteY3" fmla="*/ 225150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05766 w 4552211"/>
                <a:gd name="connsiteY3" fmla="*/ 231048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05766 w 4552211"/>
                <a:gd name="connsiteY3" fmla="*/ 231048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05766 w 4552211"/>
                <a:gd name="connsiteY3" fmla="*/ 231048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43452 w 4552211"/>
                <a:gd name="connsiteY3" fmla="*/ 225150 h 1653132"/>
                <a:gd name="connsiteX4" fmla="*/ 4552211 w 4552211"/>
                <a:gd name="connsiteY4" fmla="*/ 0 h 1653132"/>
                <a:gd name="connsiteX0" fmla="*/ 0 w 4533369"/>
                <a:gd name="connsiteY0" fmla="*/ 1623642 h 1623642"/>
                <a:gd name="connsiteX1" fmla="*/ 1555118 w 4533369"/>
                <a:gd name="connsiteY1" fmla="*/ 1358433 h 1623642"/>
                <a:gd name="connsiteX2" fmla="*/ 2479143 w 4533369"/>
                <a:gd name="connsiteY2" fmla="*/ 578786 h 1623642"/>
                <a:gd name="connsiteX3" fmla="*/ 3243452 w 4533369"/>
                <a:gd name="connsiteY3" fmla="*/ 195660 h 1623642"/>
                <a:gd name="connsiteX4" fmla="*/ 4533369 w 4533369"/>
                <a:gd name="connsiteY4" fmla="*/ 0 h 1623642"/>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6806 w 4458000"/>
                <a:gd name="connsiteY3" fmla="*/ 2028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56869 w 4458000"/>
                <a:gd name="connsiteY3" fmla="*/ 2049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56869 w 4458000"/>
                <a:gd name="connsiteY3" fmla="*/ 204954 h 1641336"/>
                <a:gd name="connsiteX4" fmla="*/ 4458000 w 4458000"/>
                <a:gd name="connsiteY4" fmla="*/ 0 h 1641336"/>
                <a:gd name="connsiteX0" fmla="*/ 0 w 4458000"/>
                <a:gd name="connsiteY0" fmla="*/ 1641336 h 1641336"/>
                <a:gd name="connsiteX1" fmla="*/ 1555118 w 4458000"/>
                <a:gd name="connsiteY1" fmla="*/ 1376127 h 1641336"/>
                <a:gd name="connsiteX2" fmla="*/ 2417484 w 4458000"/>
                <a:gd name="connsiteY2" fmla="*/ 582694 h 1641336"/>
                <a:gd name="connsiteX3" fmla="*/ 3256869 w 4458000"/>
                <a:gd name="connsiteY3" fmla="*/ 204954 h 1641336"/>
                <a:gd name="connsiteX4" fmla="*/ 4458000 w 4458000"/>
                <a:gd name="connsiteY4" fmla="*/ 0 h 1641336"/>
                <a:gd name="connsiteX0" fmla="*/ 0 w 4458000"/>
                <a:gd name="connsiteY0" fmla="*/ 1641336 h 1641336"/>
                <a:gd name="connsiteX1" fmla="*/ 1555118 w 4458000"/>
                <a:gd name="connsiteY1" fmla="*/ 1376127 h 1641336"/>
                <a:gd name="connsiteX2" fmla="*/ 2417484 w 4458000"/>
                <a:gd name="connsiteY2" fmla="*/ 582694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8000" h="1641336">
                  <a:moveTo>
                    <a:pt x="0" y="1641336"/>
                  </a:moveTo>
                  <a:cubicBezTo>
                    <a:pt x="689945" y="1617991"/>
                    <a:pt x="1210193" y="1541998"/>
                    <a:pt x="1555118" y="1376127"/>
                  </a:cubicBezTo>
                  <a:cubicBezTo>
                    <a:pt x="1900043" y="1210256"/>
                    <a:pt x="2081742" y="846820"/>
                    <a:pt x="2333803" y="646109"/>
                  </a:cubicBezTo>
                  <a:cubicBezTo>
                    <a:pt x="2585864" y="445398"/>
                    <a:pt x="2898432" y="279553"/>
                    <a:pt x="3252465" y="171868"/>
                  </a:cubicBezTo>
                  <a:cubicBezTo>
                    <a:pt x="3606498" y="64183"/>
                    <a:pt x="4072224" y="2039"/>
                    <a:pt x="4458000" y="0"/>
                  </a:cubicBezTo>
                </a:path>
              </a:pathLst>
            </a:custGeom>
            <a:noFill/>
            <a:ln w="25400" cap="rnd"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lIns="83058" tIns="43190" rIns="83058" bIns="43190"/>
            <a:lstStyle/>
            <a:p>
              <a:pPr defTabSz="844083" eaLnBrk="1" hangingPunct="1">
                <a:spcAft>
                  <a:spcPct val="0"/>
                </a:spcAft>
                <a:defRPr/>
              </a:pPr>
              <a:endParaRPr lang="de-DE" sz="1385" dirty="0">
                <a:solidFill>
                  <a:srgbClr val="000000"/>
                </a:solidFill>
                <a:latin typeface="Arial"/>
                <a:cs typeface="Arial" charset="0"/>
              </a:endParaRPr>
            </a:p>
          </p:txBody>
        </p:sp>
        <p:sp>
          <p:nvSpPr>
            <p:cNvPr id="51" name="Freihandform 57"/>
            <p:cNvSpPr/>
            <p:nvPr/>
          </p:nvSpPr>
          <p:spPr>
            <a:xfrm rot="248835">
              <a:off x="5481242" y="3727012"/>
              <a:ext cx="685138" cy="12277"/>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2091"/>
                <a:gd name="connsiteY0" fmla="*/ 21054 h 21054"/>
                <a:gd name="connsiteX1" fmla="*/ 12091 w 12091"/>
                <a:gd name="connsiteY1" fmla="*/ 0 h 21054"/>
                <a:gd name="connsiteX0" fmla="*/ 0 w 12039"/>
                <a:gd name="connsiteY0" fmla="*/ 4473 h 4473"/>
                <a:gd name="connsiteX1" fmla="*/ 12039 w 12039"/>
                <a:gd name="connsiteY1" fmla="*/ 0 h 4473"/>
                <a:gd name="connsiteX0" fmla="*/ 0 w 10000"/>
                <a:gd name="connsiteY0" fmla="*/ 14454 h 14454"/>
                <a:gd name="connsiteX1" fmla="*/ 10000 w 10000"/>
                <a:gd name="connsiteY1" fmla="*/ 4454 h 14454"/>
                <a:gd name="connsiteX0" fmla="*/ 0 w 10000"/>
                <a:gd name="connsiteY0" fmla="*/ 17863 h 17863"/>
                <a:gd name="connsiteX1" fmla="*/ 10000 w 10000"/>
                <a:gd name="connsiteY1" fmla="*/ 7863 h 17863"/>
              </a:gdLst>
              <a:ahLst/>
              <a:cxnLst>
                <a:cxn ang="0">
                  <a:pos x="connsiteX0" y="connsiteY0"/>
                </a:cxn>
                <a:cxn ang="0">
                  <a:pos x="connsiteX1" y="connsiteY1"/>
                </a:cxn>
              </a:cxnLst>
              <a:rect l="l" t="t" r="r" b="b"/>
              <a:pathLst>
                <a:path w="10000" h="17863">
                  <a:moveTo>
                    <a:pt x="0" y="17863"/>
                  </a:moveTo>
                  <a:cubicBezTo>
                    <a:pt x="3594" y="-1947"/>
                    <a:pt x="6710" y="-5280"/>
                    <a:pt x="10000" y="7863"/>
                  </a:cubicBezTo>
                </a:path>
              </a:pathLst>
            </a:custGeom>
            <a:noFill/>
            <a:ln w="25400" cap="rnd" algn="ctr">
              <a:solidFill>
                <a:schemeClr val="bg2"/>
              </a:solidFill>
              <a:prstDash val="sysDash"/>
              <a:round/>
              <a:headEnd/>
              <a:tailEnd/>
            </a:ln>
          </p:spPr>
          <p:txBody>
            <a:bodyPr wrap="none" lIns="83058" tIns="43190" rIns="83058" bIns="43190"/>
            <a:lstStyle/>
            <a:p>
              <a:pPr defTabSz="844083" eaLnBrk="1" hangingPunct="1">
                <a:spcAft>
                  <a:spcPct val="0"/>
                </a:spcAft>
                <a:defRPr/>
              </a:pPr>
              <a:endParaRPr lang="de-DE" sz="1385" dirty="0">
                <a:solidFill>
                  <a:srgbClr val="000000"/>
                </a:solidFill>
                <a:latin typeface="Arial"/>
                <a:cs typeface="Arial" charset="0"/>
              </a:endParaRPr>
            </a:p>
          </p:txBody>
        </p:sp>
        <p:sp>
          <p:nvSpPr>
            <p:cNvPr id="52" name="Freihandform 58"/>
            <p:cNvSpPr/>
            <p:nvPr/>
          </p:nvSpPr>
          <p:spPr>
            <a:xfrm rot="1324690">
              <a:off x="5454736" y="3808489"/>
              <a:ext cx="661156" cy="71226"/>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6488 h 16488"/>
                <a:gd name="connsiteX1" fmla="*/ 10000 w 10000"/>
                <a:gd name="connsiteY1" fmla="*/ 6488 h 16488"/>
                <a:gd name="connsiteX0" fmla="*/ 0 w 10000"/>
                <a:gd name="connsiteY0" fmla="*/ 31774 h 31774"/>
                <a:gd name="connsiteX1" fmla="*/ 10000 w 10000"/>
                <a:gd name="connsiteY1" fmla="*/ 21774 h 31774"/>
                <a:gd name="connsiteX0" fmla="*/ 0 w 10000"/>
                <a:gd name="connsiteY0" fmla="*/ 38044 h 38044"/>
                <a:gd name="connsiteX1" fmla="*/ 10000 w 10000"/>
                <a:gd name="connsiteY1" fmla="*/ 28044 h 38044"/>
                <a:gd name="connsiteX0" fmla="*/ 0 w 11374"/>
                <a:gd name="connsiteY0" fmla="*/ 24544 h 50576"/>
                <a:gd name="connsiteX1" fmla="*/ 11374 w 11374"/>
                <a:gd name="connsiteY1" fmla="*/ 50576 h 50576"/>
                <a:gd name="connsiteX0" fmla="*/ 0 w 11374"/>
                <a:gd name="connsiteY0" fmla="*/ 14232 h 40264"/>
                <a:gd name="connsiteX1" fmla="*/ 11374 w 11374"/>
                <a:gd name="connsiteY1" fmla="*/ 40264 h 40264"/>
                <a:gd name="connsiteX0" fmla="*/ 0 w 11374"/>
                <a:gd name="connsiteY0" fmla="*/ 9796 h 35828"/>
                <a:gd name="connsiteX1" fmla="*/ 11374 w 11374"/>
                <a:gd name="connsiteY1" fmla="*/ 35828 h 35828"/>
                <a:gd name="connsiteX0" fmla="*/ 0 w 11374"/>
                <a:gd name="connsiteY0" fmla="*/ 20322 h 46354"/>
                <a:gd name="connsiteX1" fmla="*/ 11374 w 11374"/>
                <a:gd name="connsiteY1" fmla="*/ 46354 h 46354"/>
              </a:gdLst>
              <a:ahLst/>
              <a:cxnLst>
                <a:cxn ang="0">
                  <a:pos x="connsiteX0" y="connsiteY0"/>
                </a:cxn>
                <a:cxn ang="0">
                  <a:pos x="connsiteX1" y="connsiteY1"/>
                </a:cxn>
              </a:cxnLst>
              <a:rect l="l" t="t" r="r" b="b"/>
              <a:pathLst>
                <a:path w="11374" h="46354">
                  <a:moveTo>
                    <a:pt x="0" y="20322"/>
                  </a:moveTo>
                  <a:cubicBezTo>
                    <a:pt x="4921" y="-22895"/>
                    <a:pt x="8385" y="10968"/>
                    <a:pt x="11374" y="46354"/>
                  </a:cubicBezTo>
                </a:path>
              </a:pathLst>
            </a:custGeom>
            <a:noFill/>
            <a:ln w="25400" cap="rnd" algn="ctr">
              <a:solidFill>
                <a:schemeClr val="bg2"/>
              </a:solidFill>
              <a:prstDash val="sysDash"/>
              <a:round/>
              <a:headEnd/>
              <a:tailEnd/>
            </a:ln>
          </p:spPr>
          <p:txBody>
            <a:bodyPr wrap="none" lIns="83058" tIns="43190" rIns="83058" bIns="43190"/>
            <a:lstStyle/>
            <a:p>
              <a:pPr defTabSz="844083" eaLnBrk="1" hangingPunct="1">
                <a:spcAft>
                  <a:spcPct val="0"/>
                </a:spcAft>
                <a:defRPr/>
              </a:pPr>
              <a:endParaRPr lang="de-DE" sz="1385" dirty="0">
                <a:solidFill>
                  <a:srgbClr val="000000"/>
                </a:solidFill>
                <a:latin typeface="Arial"/>
                <a:cs typeface="Arial" charset="0"/>
              </a:endParaRPr>
            </a:p>
          </p:txBody>
        </p:sp>
      </p:grpSp>
      <p:sp>
        <p:nvSpPr>
          <p:cNvPr id="55" name="Freihandform 10"/>
          <p:cNvSpPr>
            <a:spLocks noChangeArrowheads="1"/>
          </p:cNvSpPr>
          <p:nvPr/>
        </p:nvSpPr>
        <p:spPr bwMode="auto">
          <a:xfrm>
            <a:off x="2974200" y="2342867"/>
            <a:ext cx="3173918" cy="2855275"/>
          </a:xfrm>
          <a:custGeom>
            <a:avLst/>
            <a:gdLst>
              <a:gd name="T0" fmla="*/ 0 w 4591250"/>
              <a:gd name="T1" fmla="*/ 2743200 h 2743200"/>
              <a:gd name="T2" fmla="*/ 914320 w 4591250"/>
              <a:gd name="T3" fmla="*/ 2579570 h 2743200"/>
              <a:gd name="T4" fmla="*/ 1491787 w 4591250"/>
              <a:gd name="T5" fmla="*/ 2367814 h 2743200"/>
              <a:gd name="T6" fmla="*/ 2059628 w 4591250"/>
              <a:gd name="T7" fmla="*/ 1896177 h 2743200"/>
              <a:gd name="T8" fmla="*/ 2637094 w 4591250"/>
              <a:gd name="T9" fmla="*/ 1241659 h 2743200"/>
              <a:gd name="T10" fmla="*/ 3118314 w 4591250"/>
              <a:gd name="T11" fmla="*/ 750770 h 2743200"/>
              <a:gd name="T12" fmla="*/ 3926766 w 4591250"/>
              <a:gd name="T13" fmla="*/ 231006 h 2743200"/>
              <a:gd name="T14" fmla="*/ 4590851 w 4591250"/>
              <a:gd name="T15" fmla="*/ 0 h 2743200"/>
              <a:gd name="T16" fmla="*/ 0 60000 65536"/>
              <a:gd name="T17" fmla="*/ 0 60000 65536"/>
              <a:gd name="T18" fmla="*/ 0 60000 65536"/>
              <a:gd name="T19" fmla="*/ 0 60000 65536"/>
              <a:gd name="T20" fmla="*/ 0 60000 65536"/>
              <a:gd name="T21" fmla="*/ 0 60000 65536"/>
              <a:gd name="T22" fmla="*/ 0 60000 65536"/>
              <a:gd name="T23" fmla="*/ 0 60000 65536"/>
              <a:gd name="T24" fmla="*/ 0 w 4591250"/>
              <a:gd name="T25" fmla="*/ 0 h 2743200"/>
              <a:gd name="T26" fmla="*/ 4591250 w 4591250"/>
              <a:gd name="T27" fmla="*/ 2743200 h 2743200"/>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463353 w 5140203"/>
              <a:gd name="connsiteY1" fmla="*/ 2579570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575639 w 5140203"/>
              <a:gd name="connsiteY1" fmla="*/ 2549342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575639 w 5140203"/>
              <a:gd name="connsiteY1" fmla="*/ 2549342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575639 w 5140203"/>
              <a:gd name="connsiteY1" fmla="*/ 2549342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302393"/>
              <a:gd name="connsiteY0" fmla="*/ 2780986 h 2780986"/>
              <a:gd name="connsiteX1" fmla="*/ 1737829 w 5302393"/>
              <a:gd name="connsiteY1" fmla="*/ 2549342 h 2780986"/>
              <a:gd name="connsiteX2" fmla="*/ 2770949 w 5302393"/>
              <a:gd name="connsiteY2" fmla="*/ 1896177 h 2780986"/>
              <a:gd name="connsiteX3" fmla="*/ 3348465 w 5302393"/>
              <a:gd name="connsiteY3" fmla="*/ 1241659 h 2780986"/>
              <a:gd name="connsiteX4" fmla="*/ 3829728 w 5302393"/>
              <a:gd name="connsiteY4" fmla="*/ 750770 h 2780986"/>
              <a:gd name="connsiteX5" fmla="*/ 4638250 w 5302393"/>
              <a:gd name="connsiteY5" fmla="*/ 231006 h 2780986"/>
              <a:gd name="connsiteX6" fmla="*/ 5302393 w 5302393"/>
              <a:gd name="connsiteY6" fmla="*/ 0 h 2780986"/>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3829728 w 5302393"/>
              <a:gd name="connsiteY4" fmla="*/ 750770 h 2781033"/>
              <a:gd name="connsiteX5" fmla="*/ 4638250 w 5302393"/>
              <a:gd name="connsiteY5" fmla="*/ 231006 h 2781033"/>
              <a:gd name="connsiteX6" fmla="*/ 5302393 w 5302393"/>
              <a:gd name="connsiteY6"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3954491 w 5302393"/>
              <a:gd name="connsiteY4" fmla="*/ 614743 h 2781033"/>
              <a:gd name="connsiteX5" fmla="*/ 4638250 w 5302393"/>
              <a:gd name="connsiteY5" fmla="*/ 231006 h 2781033"/>
              <a:gd name="connsiteX6" fmla="*/ 5302393 w 5302393"/>
              <a:gd name="connsiteY6"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3954491 w 5302393"/>
              <a:gd name="connsiteY4" fmla="*/ 61474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4864764"/>
              <a:gd name="connsiteY0" fmla="*/ 2762806 h 2762862"/>
              <a:gd name="connsiteX1" fmla="*/ 1300200 w 4864764"/>
              <a:gd name="connsiteY1" fmla="*/ 2549342 h 2762862"/>
              <a:gd name="connsiteX2" fmla="*/ 2333320 w 4864764"/>
              <a:gd name="connsiteY2" fmla="*/ 1896177 h 2762862"/>
              <a:gd name="connsiteX3" fmla="*/ 2910836 w 4864764"/>
              <a:gd name="connsiteY3" fmla="*/ 1241659 h 2762862"/>
              <a:gd name="connsiteX4" fmla="*/ 3716480 w 4864764"/>
              <a:gd name="connsiteY4" fmla="*/ 463603 h 2762862"/>
              <a:gd name="connsiteX5" fmla="*/ 4864764 w 4864764"/>
              <a:gd name="connsiteY5" fmla="*/ 0 h 2762862"/>
              <a:gd name="connsiteX0" fmla="*/ 0 w 4864764"/>
              <a:gd name="connsiteY0" fmla="*/ 2762806 h 2762806"/>
              <a:gd name="connsiteX1" fmla="*/ 1300200 w 4864764"/>
              <a:gd name="connsiteY1" fmla="*/ 2549342 h 2762806"/>
              <a:gd name="connsiteX2" fmla="*/ 2333320 w 4864764"/>
              <a:gd name="connsiteY2" fmla="*/ 1896177 h 2762806"/>
              <a:gd name="connsiteX3" fmla="*/ 2910836 w 4864764"/>
              <a:gd name="connsiteY3" fmla="*/ 1241659 h 2762806"/>
              <a:gd name="connsiteX4" fmla="*/ 3716480 w 4864764"/>
              <a:gd name="connsiteY4" fmla="*/ 463603 h 2762806"/>
              <a:gd name="connsiteX5" fmla="*/ 4864764 w 4864764"/>
              <a:gd name="connsiteY5" fmla="*/ 0 h 2762806"/>
              <a:gd name="connsiteX0" fmla="*/ 0 w 4798337"/>
              <a:gd name="connsiteY0" fmla="*/ 2759751 h 2759751"/>
              <a:gd name="connsiteX1" fmla="*/ 1233773 w 4798337"/>
              <a:gd name="connsiteY1" fmla="*/ 2549342 h 2759751"/>
              <a:gd name="connsiteX2" fmla="*/ 2266893 w 4798337"/>
              <a:gd name="connsiteY2" fmla="*/ 1896177 h 2759751"/>
              <a:gd name="connsiteX3" fmla="*/ 2844409 w 4798337"/>
              <a:gd name="connsiteY3" fmla="*/ 1241659 h 2759751"/>
              <a:gd name="connsiteX4" fmla="*/ 3650053 w 4798337"/>
              <a:gd name="connsiteY4" fmla="*/ 463603 h 2759751"/>
              <a:gd name="connsiteX5" fmla="*/ 4798337 w 4798337"/>
              <a:gd name="connsiteY5" fmla="*/ 0 h 2759751"/>
              <a:gd name="connsiteX0" fmla="*/ 0 w 4788394"/>
              <a:gd name="connsiteY0" fmla="*/ 2695724 h 2695724"/>
              <a:gd name="connsiteX1" fmla="*/ 1233773 w 4788394"/>
              <a:gd name="connsiteY1" fmla="*/ 2485315 h 2695724"/>
              <a:gd name="connsiteX2" fmla="*/ 2266893 w 4788394"/>
              <a:gd name="connsiteY2" fmla="*/ 1832150 h 2695724"/>
              <a:gd name="connsiteX3" fmla="*/ 2844409 w 4788394"/>
              <a:gd name="connsiteY3" fmla="*/ 1177632 h 2695724"/>
              <a:gd name="connsiteX4" fmla="*/ 3650053 w 4788394"/>
              <a:gd name="connsiteY4" fmla="*/ 399576 h 2695724"/>
              <a:gd name="connsiteX5" fmla="*/ 4788394 w 4788394"/>
              <a:gd name="connsiteY5" fmla="*/ 0 h 2695724"/>
              <a:gd name="connsiteX0" fmla="*/ 0 w 4788394"/>
              <a:gd name="connsiteY0" fmla="*/ 2695724 h 2695724"/>
              <a:gd name="connsiteX1" fmla="*/ 1233773 w 4788394"/>
              <a:gd name="connsiteY1" fmla="*/ 2485315 h 2695724"/>
              <a:gd name="connsiteX2" fmla="*/ 2266893 w 4788394"/>
              <a:gd name="connsiteY2" fmla="*/ 1832150 h 2695724"/>
              <a:gd name="connsiteX3" fmla="*/ 2844409 w 4788394"/>
              <a:gd name="connsiteY3" fmla="*/ 1177632 h 2695724"/>
              <a:gd name="connsiteX4" fmla="*/ 3650053 w 4788394"/>
              <a:gd name="connsiteY4" fmla="*/ 399576 h 2695724"/>
              <a:gd name="connsiteX5" fmla="*/ 4788394 w 4788394"/>
              <a:gd name="connsiteY5" fmla="*/ 0 h 2695724"/>
              <a:gd name="connsiteX0" fmla="*/ 0 w 4916465"/>
              <a:gd name="connsiteY0" fmla="*/ 2701614 h 2701614"/>
              <a:gd name="connsiteX1" fmla="*/ 1233773 w 4916465"/>
              <a:gd name="connsiteY1" fmla="*/ 2491205 h 2701614"/>
              <a:gd name="connsiteX2" fmla="*/ 2266893 w 4916465"/>
              <a:gd name="connsiteY2" fmla="*/ 1838040 h 2701614"/>
              <a:gd name="connsiteX3" fmla="*/ 2844409 w 4916465"/>
              <a:gd name="connsiteY3" fmla="*/ 1183522 h 2701614"/>
              <a:gd name="connsiteX4" fmla="*/ 3650053 w 4916465"/>
              <a:gd name="connsiteY4" fmla="*/ 405466 h 2701614"/>
              <a:gd name="connsiteX5" fmla="*/ 4916465 w 4916465"/>
              <a:gd name="connsiteY5" fmla="*/ 0 h 2701614"/>
              <a:gd name="connsiteX0" fmla="*/ 0 w 4916465"/>
              <a:gd name="connsiteY0" fmla="*/ 2701614 h 2701614"/>
              <a:gd name="connsiteX1" fmla="*/ 1233773 w 4916465"/>
              <a:gd name="connsiteY1" fmla="*/ 2491205 h 2701614"/>
              <a:gd name="connsiteX2" fmla="*/ 2266893 w 4916465"/>
              <a:gd name="connsiteY2" fmla="*/ 1838040 h 2701614"/>
              <a:gd name="connsiteX3" fmla="*/ 2844409 w 4916465"/>
              <a:gd name="connsiteY3" fmla="*/ 1183522 h 2701614"/>
              <a:gd name="connsiteX4" fmla="*/ 3650053 w 4916465"/>
              <a:gd name="connsiteY4" fmla="*/ 405466 h 2701614"/>
              <a:gd name="connsiteX5" fmla="*/ 4916465 w 4916465"/>
              <a:gd name="connsiteY5" fmla="*/ 0 h 2701614"/>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650053 w 4916465"/>
              <a:gd name="connsiteY4" fmla="*/ 429028 h 2725176"/>
              <a:gd name="connsiteX5" fmla="*/ 4916465 w 4916465"/>
              <a:gd name="connsiteY5" fmla="*/ 0 h 2725176"/>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650053 w 4916465"/>
              <a:gd name="connsiteY4" fmla="*/ 429028 h 2725176"/>
              <a:gd name="connsiteX5" fmla="*/ 4916465 w 4916465"/>
              <a:gd name="connsiteY5" fmla="*/ 0 h 2725176"/>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650053 w 4916465"/>
              <a:gd name="connsiteY4" fmla="*/ 429028 h 2725176"/>
              <a:gd name="connsiteX5" fmla="*/ 4916465 w 4916465"/>
              <a:gd name="connsiteY5" fmla="*/ 0 h 2725176"/>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517090 w 4916465"/>
              <a:gd name="connsiteY4" fmla="*/ 566015 h 2725176"/>
              <a:gd name="connsiteX5" fmla="*/ 4916465 w 4916465"/>
              <a:gd name="connsiteY5" fmla="*/ 0 h 2725176"/>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517090 w 4770205"/>
              <a:gd name="connsiteY4" fmla="*/ 437590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517090 w 4770205"/>
              <a:gd name="connsiteY4" fmla="*/ 437590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485473 w 4733318"/>
              <a:gd name="connsiteY3" fmla="*/ 440983 h 2556033"/>
              <a:gd name="connsiteX4" fmla="*/ 4733318 w 4733318"/>
              <a:gd name="connsiteY4"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333414 w 4733318"/>
              <a:gd name="connsiteY3" fmla="*/ 542813 h 2556033"/>
              <a:gd name="connsiteX4" fmla="*/ 4733318 w 4733318"/>
              <a:gd name="connsiteY4"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333414 w 4733318"/>
              <a:gd name="connsiteY3" fmla="*/ 542813 h 2556033"/>
              <a:gd name="connsiteX4" fmla="*/ 4733318 w 4733318"/>
              <a:gd name="connsiteY4"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333414 w 4733318"/>
              <a:gd name="connsiteY3" fmla="*/ 542813 h 2556033"/>
              <a:gd name="connsiteX4" fmla="*/ 4733318 w 4733318"/>
              <a:gd name="connsiteY4" fmla="*/ 0 h 2556033"/>
              <a:gd name="connsiteX0" fmla="*/ 0 w 4727237"/>
              <a:gd name="connsiteY0" fmla="*/ 2505119 h 2505119"/>
              <a:gd name="connsiteX1" fmla="*/ 1233773 w 4727237"/>
              <a:gd name="connsiteY1" fmla="*/ 2294710 h 2505119"/>
              <a:gd name="connsiteX2" fmla="*/ 2266893 w 4727237"/>
              <a:gd name="connsiteY2" fmla="*/ 1641545 h 2505119"/>
              <a:gd name="connsiteX3" fmla="*/ 3333414 w 4727237"/>
              <a:gd name="connsiteY3" fmla="*/ 491899 h 2505119"/>
              <a:gd name="connsiteX4" fmla="*/ 4727237 w 4727237"/>
              <a:gd name="connsiteY4" fmla="*/ 0 h 2505119"/>
              <a:gd name="connsiteX0" fmla="*/ 0 w 4727237"/>
              <a:gd name="connsiteY0" fmla="*/ 2520785 h 2520785"/>
              <a:gd name="connsiteX1" fmla="*/ 1233773 w 4727237"/>
              <a:gd name="connsiteY1" fmla="*/ 2310376 h 2520785"/>
              <a:gd name="connsiteX2" fmla="*/ 2266893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266893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07326 w 4405495"/>
              <a:gd name="connsiteY3" fmla="*/ 457173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37576 h 2456394"/>
              <a:gd name="connsiteX4" fmla="*/ 4405495 w 4405495"/>
              <a:gd name="connsiteY4" fmla="*/ 0 h 2456394"/>
              <a:gd name="connsiteX0" fmla="*/ 0 w 4370711"/>
              <a:gd name="connsiteY0" fmla="*/ 2464793 h 2464793"/>
              <a:gd name="connsiteX1" fmla="*/ 1233773 w 4370711"/>
              <a:gd name="connsiteY1" fmla="*/ 2254384 h 2464793"/>
              <a:gd name="connsiteX2" fmla="*/ 2309469 w 4370711"/>
              <a:gd name="connsiteY2" fmla="*/ 1601219 h 2464793"/>
              <a:gd name="connsiteX3" fmla="*/ 3333414 w 4370711"/>
              <a:gd name="connsiteY3" fmla="*/ 445975 h 2464793"/>
              <a:gd name="connsiteX4" fmla="*/ 4370711 w 4370711"/>
              <a:gd name="connsiteY4" fmla="*/ 0 h 2464793"/>
              <a:gd name="connsiteX0" fmla="*/ 0 w 4370711"/>
              <a:gd name="connsiteY0" fmla="*/ 2464793 h 2464793"/>
              <a:gd name="connsiteX1" fmla="*/ 1233773 w 4370711"/>
              <a:gd name="connsiteY1" fmla="*/ 2254384 h 2464793"/>
              <a:gd name="connsiteX2" fmla="*/ 2309469 w 4370711"/>
              <a:gd name="connsiteY2" fmla="*/ 1601219 h 2464793"/>
              <a:gd name="connsiteX3" fmla="*/ 3333414 w 4370711"/>
              <a:gd name="connsiteY3" fmla="*/ 445975 h 2464793"/>
              <a:gd name="connsiteX4" fmla="*/ 4370711 w 4370711"/>
              <a:gd name="connsiteY4" fmla="*/ 0 h 2464793"/>
              <a:gd name="connsiteX0" fmla="*/ 0 w 4370711"/>
              <a:gd name="connsiteY0" fmla="*/ 2464793 h 2464793"/>
              <a:gd name="connsiteX1" fmla="*/ 1233773 w 4370711"/>
              <a:gd name="connsiteY1" fmla="*/ 2254384 h 2464793"/>
              <a:gd name="connsiteX2" fmla="*/ 2337359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337359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374545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360600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370711"/>
              <a:gd name="connsiteY0" fmla="*/ 2464793 h 2464793"/>
              <a:gd name="connsiteX1" fmla="*/ 1411583 w 4370711"/>
              <a:gd name="connsiteY1" fmla="*/ 2228356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370711"/>
              <a:gd name="connsiteY0" fmla="*/ 2464793 h 2464793"/>
              <a:gd name="connsiteX1" fmla="*/ 1411583 w 4370711"/>
              <a:gd name="connsiteY1" fmla="*/ 2228356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89629"/>
              <a:gd name="connsiteY0" fmla="*/ 2471045 h 2471045"/>
              <a:gd name="connsiteX1" fmla="*/ 1411583 w 4289629"/>
              <a:gd name="connsiteY1" fmla="*/ 2234608 h 2471045"/>
              <a:gd name="connsiteX2" fmla="*/ 2405346 w 4289629"/>
              <a:gd name="connsiteY2" fmla="*/ 1609007 h 2471045"/>
              <a:gd name="connsiteX3" fmla="*/ 3333414 w 4289629"/>
              <a:gd name="connsiteY3" fmla="*/ 452227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3414 w 4289629"/>
              <a:gd name="connsiteY3" fmla="*/ 452227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3414 w 4289629"/>
              <a:gd name="connsiteY3" fmla="*/ 452227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99838"/>
              <a:gd name="connsiteY0" fmla="*/ 2490768 h 2490768"/>
              <a:gd name="connsiteX1" fmla="*/ 1411583 w 4299838"/>
              <a:gd name="connsiteY1" fmla="*/ 2254331 h 2490768"/>
              <a:gd name="connsiteX2" fmla="*/ 2405346 w 4299838"/>
              <a:gd name="connsiteY2" fmla="*/ 1628730 h 2490768"/>
              <a:gd name="connsiteX3" fmla="*/ 3339563 w 4299838"/>
              <a:gd name="connsiteY3" fmla="*/ 462053 h 2490768"/>
              <a:gd name="connsiteX4" fmla="*/ 4299838 w 4299838"/>
              <a:gd name="connsiteY4" fmla="*/ 0 h 2490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9838" h="2490768">
                <a:moveTo>
                  <a:pt x="0" y="2490768"/>
                </a:moveTo>
                <a:cubicBezTo>
                  <a:pt x="587319" y="2465864"/>
                  <a:pt x="1000749" y="2410809"/>
                  <a:pt x="1411583" y="2254331"/>
                </a:cubicBezTo>
                <a:cubicBezTo>
                  <a:pt x="1822417" y="2097853"/>
                  <a:pt x="2084016" y="1927443"/>
                  <a:pt x="2405346" y="1628730"/>
                </a:cubicBezTo>
                <a:cubicBezTo>
                  <a:pt x="2726676" y="1330017"/>
                  <a:pt x="3023814" y="733508"/>
                  <a:pt x="3339563" y="462053"/>
                </a:cubicBezTo>
                <a:cubicBezTo>
                  <a:pt x="3655312" y="190598"/>
                  <a:pt x="3999976" y="68859"/>
                  <a:pt x="4299838" y="0"/>
                </a:cubicBezTo>
              </a:path>
            </a:pathLst>
          </a:custGeom>
          <a:noFill/>
          <a:ln w="25400" cap="rnd" algn="ctr">
            <a:solidFill>
              <a:srgbClr val="00B050"/>
            </a:solidFill>
            <a:round/>
            <a:headEnd/>
            <a:tailEnd/>
          </a:ln>
          <a:extLst>
            <a:ext uri="{909E8E84-426E-40DD-AFC4-6F175D3DCCD1}">
              <a14:hiddenFill xmlns:a14="http://schemas.microsoft.com/office/drawing/2010/main">
                <a:solidFill>
                  <a:srgbClr val="FFFFFF"/>
                </a:solidFill>
              </a14:hiddenFill>
            </a:ext>
          </a:extLst>
        </p:spPr>
        <p:txBody>
          <a:bodyPr wrap="none" lIns="83058" tIns="43190" rIns="83058" bIns="43190"/>
          <a:lstStyle/>
          <a:p>
            <a:pPr defTabSz="844083">
              <a:defRPr/>
            </a:pPr>
            <a:endParaRPr lang="de-DE" sz="1477" dirty="0">
              <a:solidFill>
                <a:srgbClr val="000000"/>
              </a:solidFill>
              <a:latin typeface="Arial"/>
              <a:cs typeface="Arial" charset="0"/>
            </a:endParaRPr>
          </a:p>
        </p:txBody>
      </p:sp>
      <p:grpSp>
        <p:nvGrpSpPr>
          <p:cNvPr id="74" name="Group 110"/>
          <p:cNvGrpSpPr/>
          <p:nvPr/>
        </p:nvGrpSpPr>
        <p:grpSpPr>
          <a:xfrm>
            <a:off x="2387726" y="5114604"/>
            <a:ext cx="565326" cy="165787"/>
            <a:chOff x="2204432" y="5090329"/>
            <a:chExt cx="612437" cy="179603"/>
          </a:xfrm>
        </p:grpSpPr>
        <p:sp>
          <p:nvSpPr>
            <p:cNvPr id="75" name="Freihandform 50"/>
            <p:cNvSpPr/>
            <p:nvPr/>
          </p:nvSpPr>
          <p:spPr>
            <a:xfrm rot="224175">
              <a:off x="2204432" y="5162018"/>
              <a:ext cx="600577" cy="45719"/>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0000 h 10000"/>
                <a:gd name="connsiteX1" fmla="*/ 10000 w 10000"/>
                <a:gd name="connsiteY1" fmla="*/ 0 h 10000"/>
                <a:gd name="connsiteX0" fmla="*/ 0 w 10000"/>
                <a:gd name="connsiteY0" fmla="*/ 10000 h 10000"/>
                <a:gd name="connsiteX1" fmla="*/ 10000 w 10000"/>
                <a:gd name="connsiteY1" fmla="*/ 0 h 10000"/>
              </a:gdLst>
              <a:ahLst/>
              <a:cxnLst>
                <a:cxn ang="0">
                  <a:pos x="connsiteX0" y="connsiteY0"/>
                </a:cxn>
                <a:cxn ang="0">
                  <a:pos x="connsiteX1" y="connsiteY1"/>
                </a:cxn>
              </a:cxnLst>
              <a:rect l="l" t="t" r="r" b="b"/>
              <a:pathLst>
                <a:path w="10000" h="10000">
                  <a:moveTo>
                    <a:pt x="0" y="10000"/>
                  </a:moveTo>
                  <a:cubicBezTo>
                    <a:pt x="3501" y="9958"/>
                    <a:pt x="5938" y="6625"/>
                    <a:pt x="10000" y="0"/>
                  </a:cubicBezTo>
                </a:path>
              </a:pathLst>
            </a:custGeom>
            <a:noFill/>
            <a:ln w="25400" cap="rnd" algn="ctr">
              <a:solidFill>
                <a:srgbClr val="00B050">
                  <a:alpha val="59000"/>
                </a:srgbClr>
              </a:solidFill>
              <a:prstDash val="sysDash"/>
              <a:round/>
              <a:headEnd/>
              <a:tailEnd/>
            </a:ln>
          </p:spPr>
          <p:txBody>
            <a:bodyPr wrap="none" lIns="83058" tIns="43190" rIns="83058" bIns="43190"/>
            <a:lstStyle/>
            <a:p>
              <a:pPr defTabSz="844083" eaLnBrk="1" hangingPunct="1">
                <a:spcAft>
                  <a:spcPct val="0"/>
                </a:spcAft>
                <a:defRPr/>
              </a:pPr>
              <a:endParaRPr lang="de-DE" sz="1477" dirty="0">
                <a:solidFill>
                  <a:srgbClr val="000000"/>
                </a:solidFill>
                <a:latin typeface="Arial"/>
                <a:cs typeface="Arial" charset="0"/>
              </a:endParaRPr>
            </a:p>
          </p:txBody>
        </p:sp>
        <p:sp>
          <p:nvSpPr>
            <p:cNvPr id="77" name="Freihandform 50"/>
            <p:cNvSpPr/>
            <p:nvPr/>
          </p:nvSpPr>
          <p:spPr>
            <a:xfrm rot="21054672">
              <a:off x="2211858" y="5224213"/>
              <a:ext cx="600576" cy="45719"/>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0000 h 10000"/>
                <a:gd name="connsiteX1" fmla="*/ 10000 w 10000"/>
                <a:gd name="connsiteY1" fmla="*/ 0 h 10000"/>
                <a:gd name="connsiteX0" fmla="*/ 0 w 10000"/>
                <a:gd name="connsiteY0" fmla="*/ 10000 h 10000"/>
                <a:gd name="connsiteX1" fmla="*/ 10000 w 10000"/>
                <a:gd name="connsiteY1" fmla="*/ 0 h 10000"/>
                <a:gd name="connsiteX0" fmla="*/ 0 w 10000"/>
                <a:gd name="connsiteY0" fmla="*/ 10643 h 10643"/>
                <a:gd name="connsiteX1" fmla="*/ 10000 w 10000"/>
                <a:gd name="connsiteY1" fmla="*/ 643 h 10643"/>
                <a:gd name="connsiteX0" fmla="*/ 0 w 10000"/>
                <a:gd name="connsiteY0" fmla="*/ 11318 h 11318"/>
                <a:gd name="connsiteX1" fmla="*/ 10000 w 10000"/>
                <a:gd name="connsiteY1" fmla="*/ 1318 h 11318"/>
              </a:gdLst>
              <a:ahLst/>
              <a:cxnLst>
                <a:cxn ang="0">
                  <a:pos x="connsiteX0" y="connsiteY0"/>
                </a:cxn>
                <a:cxn ang="0">
                  <a:pos x="connsiteX1" y="connsiteY1"/>
                </a:cxn>
              </a:cxnLst>
              <a:rect l="l" t="t" r="r" b="b"/>
              <a:pathLst>
                <a:path w="10000" h="11318">
                  <a:moveTo>
                    <a:pt x="0" y="11318"/>
                  </a:moveTo>
                  <a:cubicBezTo>
                    <a:pt x="3951" y="2027"/>
                    <a:pt x="5808" y="-2409"/>
                    <a:pt x="10000" y="1318"/>
                  </a:cubicBezTo>
                </a:path>
              </a:pathLst>
            </a:custGeom>
            <a:noFill/>
            <a:ln w="25400" cap="rnd" algn="ctr">
              <a:solidFill>
                <a:srgbClr val="00B050">
                  <a:alpha val="59000"/>
                </a:srgbClr>
              </a:solidFill>
              <a:prstDash val="sysDash"/>
              <a:round/>
              <a:headEnd/>
              <a:tailEnd/>
            </a:ln>
          </p:spPr>
          <p:txBody>
            <a:bodyPr wrap="none" lIns="83058" tIns="43190" rIns="83058" bIns="43190"/>
            <a:lstStyle/>
            <a:p>
              <a:pPr defTabSz="844083" eaLnBrk="1" hangingPunct="1">
                <a:spcAft>
                  <a:spcPct val="0"/>
                </a:spcAft>
                <a:defRPr/>
              </a:pPr>
              <a:endParaRPr lang="de-DE" sz="1477" dirty="0">
                <a:solidFill>
                  <a:srgbClr val="000000"/>
                </a:solidFill>
                <a:latin typeface="Arial"/>
                <a:cs typeface="Arial" charset="0"/>
              </a:endParaRPr>
            </a:p>
          </p:txBody>
        </p:sp>
        <p:sp>
          <p:nvSpPr>
            <p:cNvPr id="78" name="Freihandform 50"/>
            <p:cNvSpPr/>
            <p:nvPr/>
          </p:nvSpPr>
          <p:spPr>
            <a:xfrm rot="1088803">
              <a:off x="2216292" y="5090329"/>
              <a:ext cx="600577" cy="60275"/>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0000 h 10000"/>
                <a:gd name="connsiteX1" fmla="*/ 10000 w 10000"/>
                <a:gd name="connsiteY1" fmla="*/ 0 h 10000"/>
                <a:gd name="connsiteX0" fmla="*/ 0 w 10000"/>
                <a:gd name="connsiteY0" fmla="*/ 10000 h 10000"/>
                <a:gd name="connsiteX1" fmla="*/ 10000 w 10000"/>
                <a:gd name="connsiteY1" fmla="*/ 0 h 10000"/>
                <a:gd name="connsiteX0" fmla="*/ 0 w 10000"/>
                <a:gd name="connsiteY0" fmla="*/ 10000 h 15047"/>
                <a:gd name="connsiteX1" fmla="*/ 10000 w 10000"/>
                <a:gd name="connsiteY1" fmla="*/ 0 h 15047"/>
                <a:gd name="connsiteX0" fmla="*/ 0 w 10000"/>
                <a:gd name="connsiteY0" fmla="*/ 10000 h 17401"/>
                <a:gd name="connsiteX1" fmla="*/ 10000 w 10000"/>
                <a:gd name="connsiteY1" fmla="*/ 0 h 17401"/>
              </a:gdLst>
              <a:ahLst/>
              <a:cxnLst>
                <a:cxn ang="0">
                  <a:pos x="connsiteX0" y="connsiteY0"/>
                </a:cxn>
                <a:cxn ang="0">
                  <a:pos x="connsiteX1" y="connsiteY1"/>
                </a:cxn>
              </a:cxnLst>
              <a:rect l="l" t="t" r="r" b="b"/>
              <a:pathLst>
                <a:path w="10000" h="17401">
                  <a:moveTo>
                    <a:pt x="0" y="10000"/>
                  </a:moveTo>
                  <a:cubicBezTo>
                    <a:pt x="3575" y="23398"/>
                    <a:pt x="5829" y="17739"/>
                    <a:pt x="10000" y="0"/>
                  </a:cubicBezTo>
                </a:path>
              </a:pathLst>
            </a:custGeom>
            <a:noFill/>
            <a:ln w="25400" cap="rnd" algn="ctr">
              <a:solidFill>
                <a:srgbClr val="00B050">
                  <a:alpha val="59000"/>
                </a:srgbClr>
              </a:solidFill>
              <a:prstDash val="sysDash"/>
              <a:round/>
              <a:headEnd/>
              <a:tailEnd/>
            </a:ln>
          </p:spPr>
          <p:txBody>
            <a:bodyPr wrap="none" lIns="83058" tIns="43190" rIns="83058" bIns="43190"/>
            <a:lstStyle/>
            <a:p>
              <a:pPr defTabSz="844083" eaLnBrk="1" hangingPunct="1">
                <a:spcAft>
                  <a:spcPct val="0"/>
                </a:spcAft>
                <a:defRPr/>
              </a:pPr>
              <a:endParaRPr lang="de-DE" sz="1477" dirty="0">
                <a:solidFill>
                  <a:srgbClr val="000000"/>
                </a:solidFill>
                <a:latin typeface="Arial"/>
                <a:cs typeface="Arial" charset="0"/>
              </a:endParaRPr>
            </a:p>
          </p:txBody>
        </p:sp>
      </p:grpSp>
      <p:pic>
        <p:nvPicPr>
          <p:cNvPr id="79"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3176665" y="3655616"/>
            <a:ext cx="1810326" cy="1557330"/>
          </a:xfrm>
          <a:prstGeom prst="rect">
            <a:avLst/>
          </a:prstGeom>
          <a:noFill/>
          <a:extLst>
            <a:ext uri="{909E8E84-426E-40DD-AFC4-6F175D3DCCD1}">
              <a14:hiddenFill xmlns:a14="http://schemas.microsoft.com/office/drawing/2010/main">
                <a:solidFill>
                  <a:srgbClr val="FFFFFF"/>
                </a:solidFill>
              </a14:hiddenFill>
            </a:ext>
          </a:extLst>
        </p:spPr>
      </p:pic>
      <p:cxnSp>
        <p:nvCxnSpPr>
          <p:cNvPr id="80" name="Gerade Verbindung 114"/>
          <p:cNvCxnSpPr>
            <a:cxnSpLocks noChangeShapeType="1"/>
          </p:cNvCxnSpPr>
          <p:nvPr/>
        </p:nvCxnSpPr>
        <p:spPr bwMode="auto">
          <a:xfrm>
            <a:off x="4169308" y="2066193"/>
            <a:ext cx="0" cy="3926562"/>
          </a:xfrm>
          <a:prstGeom prst="line">
            <a:avLst/>
          </a:prstGeom>
          <a:noFill/>
          <a:ln w="12700" cap="rnd" algn="ctr">
            <a:solidFill>
              <a:schemeClr val="tx1"/>
            </a:solidFill>
            <a:prstDash val="dash"/>
            <a:round/>
            <a:headEnd/>
            <a:tailEnd/>
          </a:ln>
        </p:spPr>
      </p:cxnSp>
      <p:cxnSp>
        <p:nvCxnSpPr>
          <p:cNvPr id="81" name="Gerade Verbindung mit Pfeil 6"/>
          <p:cNvCxnSpPr>
            <a:cxnSpLocks noChangeShapeType="1"/>
          </p:cNvCxnSpPr>
          <p:nvPr/>
        </p:nvCxnSpPr>
        <p:spPr bwMode="auto">
          <a:xfrm flipV="1">
            <a:off x="1904408" y="2066194"/>
            <a:ext cx="0" cy="3705959"/>
          </a:xfrm>
          <a:prstGeom prst="straightConnector1">
            <a:avLst/>
          </a:prstGeom>
          <a:noFill/>
          <a:ln w="12700" cap="rnd" algn="ctr">
            <a:solidFill>
              <a:schemeClr val="tx1"/>
            </a:solidFill>
            <a:round/>
            <a:headEnd/>
            <a:tailEnd type="triangle" w="med" len="med"/>
          </a:ln>
        </p:spPr>
      </p:cxnSp>
      <p:sp>
        <p:nvSpPr>
          <p:cNvPr id="82" name="Kritische Entscheidungszone"/>
          <p:cNvSpPr txBox="1">
            <a:spLocks noChangeArrowheads="1"/>
          </p:cNvSpPr>
          <p:nvPr/>
        </p:nvSpPr>
        <p:spPr bwMode="auto">
          <a:xfrm>
            <a:off x="4518504" y="4612933"/>
            <a:ext cx="2822906" cy="539581"/>
          </a:xfrm>
          <a:prstGeom prst="rect">
            <a:avLst/>
          </a:prstGeom>
          <a:noFill/>
          <a:ln w="9525">
            <a:noFill/>
            <a:miter lim="800000"/>
            <a:headEnd/>
            <a:tailEnd/>
          </a:ln>
        </p:spPr>
        <p:txBody>
          <a:bodyPr wrap="none" lIns="84146" tIns="42074" rIns="84146" bIns="42074">
            <a:spAutoFit/>
          </a:bodyPr>
          <a:lstStyle>
            <a:defPPr>
              <a:defRPr lang="de-DE"/>
            </a:defPPr>
            <a:lvl1pPr>
              <a:spcAft>
                <a:spcPct val="0"/>
              </a:spcAft>
              <a:defRPr sz="1500">
                <a:solidFill>
                  <a:srgbClr val="E20000"/>
                </a:solidFill>
              </a:defRPr>
            </a:lvl1pPr>
          </a:lstStyle>
          <a:p>
            <a:pPr defTabSz="844083" eaLnBrk="1" hangingPunct="1">
              <a:defRPr/>
            </a:pPr>
            <a:r>
              <a:rPr lang="de-DE" sz="1477" b="1" dirty="0">
                <a:solidFill>
                  <a:srgbClr val="E62614"/>
                </a:solidFill>
                <a:latin typeface="Arial"/>
                <a:cs typeface="Arial" charset="0"/>
              </a:rPr>
              <a:t>Kritische</a:t>
            </a:r>
            <a:r>
              <a:rPr lang="de-DE" sz="1477" b="1" dirty="0">
                <a:gradFill flip="none" rotWithShape="1">
                  <a:gsLst>
                    <a:gs pos="0">
                      <a:srgbClr val="4AD378"/>
                    </a:gs>
                    <a:gs pos="50000">
                      <a:srgbClr val="CED6BD"/>
                    </a:gs>
                    <a:gs pos="100000">
                      <a:srgbClr val="E62614"/>
                    </a:gs>
                  </a:gsLst>
                  <a:lin ang="2700000" scaled="1"/>
                  <a:tileRect/>
                </a:gradFill>
                <a:latin typeface="Arial"/>
                <a:cs typeface="Arial" charset="0"/>
              </a:rPr>
              <a:t> </a:t>
            </a:r>
            <a:r>
              <a:rPr lang="de-DE" sz="1477" b="1" dirty="0">
                <a:gradFill flip="none" rotWithShape="1">
                  <a:gsLst>
                    <a:gs pos="32000">
                      <a:srgbClr val="00B050"/>
                    </a:gs>
                    <a:gs pos="41000">
                      <a:srgbClr val="A2625C"/>
                    </a:gs>
                    <a:gs pos="50000">
                      <a:srgbClr val="FF0000"/>
                    </a:gs>
                  </a:gsLst>
                  <a:lin ang="14400000" scaled="0"/>
                  <a:tileRect/>
                </a:gradFill>
                <a:latin typeface="Arial"/>
                <a:cs typeface="Arial" charset="0"/>
              </a:rPr>
              <a:t>Entscheidungszone</a:t>
            </a:r>
            <a:r>
              <a:rPr lang="de-DE" sz="1477" b="1" dirty="0">
                <a:gradFill flip="none" rotWithShape="1">
                  <a:gsLst>
                    <a:gs pos="0">
                      <a:srgbClr val="4AD378"/>
                    </a:gs>
                    <a:gs pos="50000">
                      <a:srgbClr val="CED6BD"/>
                    </a:gs>
                    <a:gs pos="100000">
                      <a:srgbClr val="E62614"/>
                    </a:gs>
                  </a:gsLst>
                  <a:lin ang="2700000" scaled="1"/>
                  <a:tileRect/>
                </a:gradFill>
                <a:latin typeface="Arial"/>
                <a:cs typeface="Arial" charset="0"/>
              </a:rPr>
              <a:t/>
            </a:r>
            <a:br>
              <a:rPr lang="de-DE" sz="1477" b="1" dirty="0">
                <a:gradFill flip="none" rotWithShape="1">
                  <a:gsLst>
                    <a:gs pos="0">
                      <a:srgbClr val="4AD378"/>
                    </a:gs>
                    <a:gs pos="50000">
                      <a:srgbClr val="CED6BD"/>
                    </a:gs>
                    <a:gs pos="100000">
                      <a:srgbClr val="E62614"/>
                    </a:gs>
                  </a:gsLst>
                  <a:lin ang="2700000" scaled="1"/>
                  <a:tileRect/>
                </a:gradFill>
                <a:latin typeface="Arial"/>
                <a:cs typeface="Arial" charset="0"/>
              </a:rPr>
            </a:br>
            <a:r>
              <a:rPr lang="de-DE" sz="1477" b="1" dirty="0">
                <a:gradFill flip="none" rotWithShape="1">
                  <a:gsLst>
                    <a:gs pos="55000">
                      <a:srgbClr val="15935A"/>
                    </a:gs>
                    <a:gs pos="65000">
                      <a:srgbClr val="A2625C"/>
                    </a:gs>
                    <a:gs pos="73000">
                      <a:srgbClr val="E62614"/>
                    </a:gs>
                  </a:gsLst>
                  <a:lin ang="14400000" scaled="0"/>
                  <a:tileRect/>
                </a:gradFill>
                <a:latin typeface="Arial"/>
                <a:cs typeface="Arial" charset="0"/>
              </a:rPr>
              <a:t>Verlagerung</a:t>
            </a:r>
            <a:r>
              <a:rPr lang="de-DE" sz="1477" b="1" dirty="0">
                <a:gradFill flip="none" rotWithShape="1">
                  <a:gsLst>
                    <a:gs pos="0">
                      <a:srgbClr val="4AD378"/>
                    </a:gs>
                    <a:gs pos="50000">
                      <a:srgbClr val="CED6BD"/>
                    </a:gs>
                    <a:gs pos="100000">
                      <a:srgbClr val="E62614"/>
                    </a:gs>
                  </a:gsLst>
                  <a:lin ang="2700000" scaled="1"/>
                  <a:tileRect/>
                </a:gradFill>
                <a:latin typeface="Arial"/>
                <a:cs typeface="Arial" charset="0"/>
              </a:rPr>
              <a:t> </a:t>
            </a:r>
            <a:r>
              <a:rPr lang="de-DE" sz="1477" b="1" dirty="0">
                <a:solidFill>
                  <a:srgbClr val="00B050"/>
                </a:solidFill>
                <a:latin typeface="Arial"/>
                <a:cs typeface="Arial" charset="0"/>
              </a:rPr>
              <a:t>von</a:t>
            </a:r>
            <a:r>
              <a:rPr lang="de-DE" sz="1477" b="1" dirty="0">
                <a:gradFill flip="none" rotWithShape="1">
                  <a:gsLst>
                    <a:gs pos="0">
                      <a:srgbClr val="4AD378"/>
                    </a:gs>
                    <a:gs pos="50000">
                      <a:srgbClr val="CED6BD"/>
                    </a:gs>
                    <a:gs pos="100000">
                      <a:srgbClr val="E62614"/>
                    </a:gs>
                  </a:gsLst>
                  <a:lin ang="2700000" scaled="1"/>
                  <a:tileRect/>
                </a:gradFill>
                <a:latin typeface="Arial"/>
                <a:cs typeface="Arial" charset="0"/>
              </a:rPr>
              <a:t> </a:t>
            </a:r>
            <a:r>
              <a:rPr lang="de-DE" sz="1477" b="1" dirty="0">
                <a:solidFill>
                  <a:srgbClr val="00B050"/>
                </a:solidFill>
                <a:latin typeface="Arial"/>
                <a:cs typeface="Arial" charset="0"/>
              </a:rPr>
              <a:t>Ressourcen</a:t>
            </a:r>
          </a:p>
        </p:txBody>
      </p:sp>
      <p:grpSp>
        <p:nvGrpSpPr>
          <p:cNvPr id="3" name="Gruppieren 2"/>
          <p:cNvGrpSpPr/>
          <p:nvPr/>
        </p:nvGrpSpPr>
        <p:grpSpPr>
          <a:xfrm>
            <a:off x="4167974" y="1538624"/>
            <a:ext cx="4667744" cy="4449734"/>
            <a:chOff x="10357326" y="1625817"/>
            <a:chExt cx="5056723" cy="4820545"/>
          </a:xfrm>
        </p:grpSpPr>
        <p:sp>
          <p:nvSpPr>
            <p:cNvPr id="2" name="Rechteck 1"/>
            <p:cNvSpPr/>
            <p:nvPr/>
          </p:nvSpPr>
          <p:spPr bwMode="auto">
            <a:xfrm>
              <a:off x="10357326" y="1633437"/>
              <a:ext cx="14400" cy="4809027"/>
            </a:xfrm>
            <a:prstGeom prst="rect">
              <a:avLst/>
            </a:prstGeom>
            <a:solidFill>
              <a:schemeClr val="bg1"/>
            </a:solidFill>
            <a:ln w="9525" cap="flat" cmpd="sng" algn="ctr">
              <a:noFill/>
              <a:prstDash val="solid"/>
              <a:round/>
              <a:headEnd type="none" w="med" len="med"/>
              <a:tailEnd type="none" w="med" len="med"/>
            </a:ln>
            <a:effectLst/>
          </p:spPr>
          <p:txBody>
            <a:bodyPr vert="horz" wrap="square" lIns="33231" tIns="43200" rIns="33231" bIns="43200" numCol="1" rtlCol="0" anchor="ctr" anchorCtr="0" compatLnSpc="1">
              <a:prstTxWarp prst="textNoShape">
                <a:avLst/>
              </a:prstTxWarp>
            </a:bodyPr>
            <a:lstStyle/>
            <a:p>
              <a:pPr algn="ctr" defTabSz="844083" eaLnBrk="1" hangingPunct="1">
                <a:spcBef>
                  <a:spcPts val="0"/>
                </a:spcBef>
                <a:spcAft>
                  <a:spcPts val="0"/>
                </a:spcAft>
                <a:defRPr/>
              </a:pPr>
              <a:endParaRPr lang="de-DE" sz="1108" b="1" dirty="0">
                <a:solidFill>
                  <a:srgbClr val="FFFFFF"/>
                </a:solidFill>
                <a:cs typeface="Arial" charset="0"/>
              </a:endParaRPr>
            </a:p>
          </p:txBody>
        </p:sp>
        <p:sp>
          <p:nvSpPr>
            <p:cNvPr id="34" name="Rectangle 33"/>
            <p:cNvSpPr/>
            <p:nvPr/>
          </p:nvSpPr>
          <p:spPr bwMode="auto">
            <a:xfrm>
              <a:off x="10365917" y="1625817"/>
              <a:ext cx="5048132" cy="4649185"/>
            </a:xfrm>
            <a:prstGeom prst="rect">
              <a:avLst/>
            </a:prstGeom>
            <a:solidFill>
              <a:schemeClr val="bg1">
                <a:alpha val="86000"/>
              </a:schemeClr>
            </a:solidFill>
            <a:ln w="9525" cap="flat" cmpd="sng" algn="ctr">
              <a:noFill/>
              <a:prstDash val="solid"/>
              <a:round/>
              <a:headEnd type="none" w="med" len="med"/>
              <a:tailEnd type="none" w="med" len="med"/>
            </a:ln>
            <a:effectLst/>
          </p:spPr>
          <p:txBody>
            <a:bodyPr vert="horz" wrap="square" lIns="33231" tIns="43200" rIns="33231" bIns="43200" numCol="1" rtlCol="0" anchor="ctr" anchorCtr="0" compatLnSpc="1">
              <a:prstTxWarp prst="textNoShape">
                <a:avLst/>
              </a:prstTxWarp>
            </a:bodyPr>
            <a:lstStyle/>
            <a:p>
              <a:pPr algn="ctr" defTabSz="844083" eaLnBrk="1" hangingPunct="1">
                <a:spcBef>
                  <a:spcPts val="0"/>
                </a:spcBef>
                <a:spcAft>
                  <a:spcPts val="0"/>
                </a:spcAft>
                <a:defRPr/>
              </a:pPr>
              <a:endParaRPr lang="de-DE" sz="1108" b="1" dirty="0">
                <a:solidFill>
                  <a:srgbClr val="FFFFFF"/>
                </a:solidFill>
                <a:cs typeface="Arial" charset="0"/>
              </a:endParaRPr>
            </a:p>
          </p:txBody>
        </p:sp>
        <p:cxnSp>
          <p:nvCxnSpPr>
            <p:cNvPr id="35" name="Gerade Verbindung 114"/>
            <p:cNvCxnSpPr>
              <a:cxnSpLocks noChangeShapeType="1"/>
            </p:cNvCxnSpPr>
            <p:nvPr/>
          </p:nvCxnSpPr>
          <p:spPr bwMode="auto">
            <a:xfrm flipV="1">
              <a:off x="10361154" y="2191162"/>
              <a:ext cx="0" cy="4255200"/>
            </a:xfrm>
            <a:prstGeom prst="line">
              <a:avLst/>
            </a:prstGeom>
            <a:noFill/>
            <a:ln w="12700" cap="rnd" algn="ctr">
              <a:solidFill>
                <a:schemeClr val="tx1"/>
              </a:solidFill>
              <a:prstDash val="dash"/>
              <a:round/>
              <a:headEnd/>
              <a:tailEnd/>
            </a:ln>
          </p:spPr>
        </p:cxnSp>
      </p:grpSp>
      <p:sp>
        <p:nvSpPr>
          <p:cNvPr id="43" name="Titel 1"/>
          <p:cNvSpPr>
            <a:spLocks noGrp="1"/>
          </p:cNvSpPr>
          <p:nvPr>
            <p:ph type="title"/>
          </p:nvPr>
        </p:nvSpPr>
        <p:spPr>
          <a:xfrm>
            <a:off x="608872" y="874184"/>
            <a:ext cx="8408445" cy="766156"/>
          </a:xfrm>
        </p:spPr>
        <p:txBody>
          <a:bodyPr/>
          <a:lstStyle/>
          <a:p>
            <a:pPr>
              <a:lnSpc>
                <a:spcPct val="80000"/>
              </a:lnSpc>
            </a:pPr>
            <a:r>
              <a:rPr lang="de-DE" sz="1292" dirty="0"/>
              <a:t>Um heute </a:t>
            </a:r>
            <a:r>
              <a:rPr lang="de-DE" sz="1292"/>
              <a:t>richtig handeln zu können, </a:t>
            </a:r>
            <a:r>
              <a:rPr lang="de-DE" sz="1292" dirty="0"/>
              <a:t>muss man die Muster des Wandels kennen. Herkömmliche Navigationssysteme geben an diesem Punkt systematisch irreführende Signale. An dieser Stelle braucht man drei Strategien, nicht nur eine:</a:t>
            </a:r>
            <a:br>
              <a:rPr lang="de-DE" sz="1292" dirty="0"/>
            </a:br>
            <a:r>
              <a:rPr lang="de-DE" sz="1292" dirty="0"/>
              <a:t>Strategie 1</a:t>
            </a:r>
            <a:r>
              <a:rPr lang="de-DE" sz="1292"/>
              <a:t>: Für die </a:t>
            </a:r>
            <a:r>
              <a:rPr lang="de-DE" sz="1292">
                <a:solidFill>
                  <a:schemeClr val="bg2"/>
                </a:solidFill>
              </a:rPr>
              <a:t>rote Kurve</a:t>
            </a:r>
            <a:r>
              <a:rPr lang="de-DE" sz="1292"/>
              <a:t>, </a:t>
            </a:r>
            <a:r>
              <a:rPr lang="de-DE" sz="1292" dirty="0"/>
              <a:t>solange sie etwas hergibt. </a:t>
            </a:r>
            <a:r>
              <a:rPr lang="de-DE" sz="1292"/>
              <a:t>Strategie 2: Die </a:t>
            </a:r>
            <a:r>
              <a:rPr lang="de-DE" sz="1292">
                <a:solidFill>
                  <a:srgbClr val="00B050"/>
                </a:solidFill>
              </a:rPr>
              <a:t>grüne Kurve </a:t>
            </a:r>
            <a:r>
              <a:rPr lang="de-DE" sz="1292"/>
              <a:t>rechtzeitig </a:t>
            </a:r>
            <a:r>
              <a:rPr lang="de-DE" sz="1292" dirty="0"/>
              <a:t>aufbauen, damit man sie hat, wenn man sie braucht. Strategie 3: Für den Übergang von der roten auf die grüne Kurve.</a:t>
            </a:r>
            <a:br>
              <a:rPr lang="de-DE" sz="1292" dirty="0"/>
            </a:br>
            <a:endParaRPr lang="de-DE" sz="1292" dirty="0"/>
          </a:p>
        </p:txBody>
      </p:sp>
      <p:sp>
        <p:nvSpPr>
          <p:cNvPr id="30" name="TextBox 29"/>
          <p:cNvSpPr txBox="1"/>
          <p:nvPr/>
        </p:nvSpPr>
        <p:spPr>
          <a:xfrm>
            <a:off x="5112201" y="3458324"/>
            <a:ext cx="541600" cy="1089827"/>
          </a:xfrm>
          <a:prstGeom prst="rect">
            <a:avLst/>
          </a:prstGeom>
          <a:ln algn="ctr"/>
        </p:spPr>
        <p:txBody>
          <a:bodyPr wrap="none" lIns="33231" tIns="33231" rIns="33231" bIns="33231" rtlCol="0" anchor="t">
            <a:spAutoFit/>
          </a:bodyPr>
          <a:lstStyle/>
          <a:p>
            <a:pPr defTabSz="844083" eaLnBrk="1" hangingPunct="1">
              <a:spcAft>
                <a:spcPct val="0"/>
              </a:spcAft>
              <a:defRPr/>
            </a:pPr>
            <a:r>
              <a:rPr lang="de-DE" sz="6646" kern="0" dirty="0">
                <a:solidFill>
                  <a:srgbClr val="000000"/>
                </a:solidFill>
                <a:latin typeface="Arial"/>
                <a:cs typeface="Arial" charset="0"/>
              </a:rPr>
              <a:t>?</a:t>
            </a:r>
          </a:p>
        </p:txBody>
      </p:sp>
      <p:cxnSp>
        <p:nvCxnSpPr>
          <p:cNvPr id="32" name="Gerade Verbindung mit Pfeil 8"/>
          <p:cNvCxnSpPr>
            <a:cxnSpLocks noChangeShapeType="1"/>
          </p:cNvCxnSpPr>
          <p:nvPr/>
        </p:nvCxnSpPr>
        <p:spPr bwMode="auto">
          <a:xfrm flipV="1">
            <a:off x="1904409" y="5775174"/>
            <a:ext cx="5666387" cy="6"/>
          </a:xfrm>
          <a:prstGeom prst="straightConnector1">
            <a:avLst/>
          </a:prstGeom>
          <a:noFill/>
          <a:ln w="12700" cap="rnd" algn="ctr">
            <a:solidFill>
              <a:schemeClr val="tx1"/>
            </a:solidFill>
            <a:round/>
            <a:headEnd/>
            <a:tailEnd type="triangle" w="med" len="med"/>
          </a:ln>
        </p:spPr>
      </p:cxnSp>
      <p:sp>
        <p:nvSpPr>
          <p:cNvPr id="54" name="Textfeld 60"/>
          <p:cNvSpPr txBox="1">
            <a:spLocks noChangeArrowheads="1"/>
          </p:cNvSpPr>
          <p:nvPr/>
        </p:nvSpPr>
        <p:spPr bwMode="auto">
          <a:xfrm>
            <a:off x="7056603" y="5755283"/>
            <a:ext cx="468094" cy="298105"/>
          </a:xfrm>
          <a:prstGeom prst="rect">
            <a:avLst/>
          </a:prstGeom>
          <a:noFill/>
          <a:ln w="9525">
            <a:noFill/>
            <a:miter lim="800000"/>
            <a:headEnd/>
            <a:tailEnd/>
          </a:ln>
        </p:spPr>
        <p:txBody>
          <a:bodyPr wrap="none" lIns="84146" tIns="42074" rIns="84146" bIns="42074">
            <a:spAutoFit/>
          </a:bodyPr>
          <a:lstStyle/>
          <a:p>
            <a:pPr defTabSz="844083" eaLnBrk="1" hangingPunct="1">
              <a:spcAft>
                <a:spcPct val="0"/>
              </a:spcAft>
              <a:defRPr/>
            </a:pPr>
            <a:r>
              <a:rPr lang="de-DE" sz="1385" dirty="0">
                <a:solidFill>
                  <a:srgbClr val="000000"/>
                </a:solidFill>
                <a:latin typeface="Arial"/>
                <a:cs typeface="Arial" charset="0"/>
              </a:rPr>
              <a:t>Zeit</a:t>
            </a:r>
          </a:p>
        </p:txBody>
      </p:sp>
      <p:sp>
        <p:nvSpPr>
          <p:cNvPr id="44" name="Abgerundetes Rechteck 43"/>
          <p:cNvSpPr/>
          <p:nvPr/>
        </p:nvSpPr>
        <p:spPr bwMode="auto">
          <a:xfrm rot="21030533">
            <a:off x="2365028" y="2172960"/>
            <a:ext cx="599772" cy="260309"/>
          </a:xfrm>
          <a:prstGeom prst="roundRect">
            <a:avLst>
              <a:gd name="adj" fmla="val 50000"/>
            </a:avLst>
          </a:prstGeom>
          <a:solidFill>
            <a:srgbClr val="FFFF00"/>
          </a:solidFill>
          <a:ln w="9525" cap="flat" cmpd="sng" algn="ctr">
            <a:solidFill>
              <a:schemeClr val="accent4"/>
            </a:solidFill>
            <a:prstDash val="solid"/>
            <a:round/>
            <a:headEnd type="none" w="med" len="med"/>
            <a:tailEnd type="none" w="med" len="med"/>
          </a:ln>
          <a:effectLst/>
        </p:spPr>
        <p:txBody>
          <a:bodyPr vert="horz" wrap="square" lIns="33231" tIns="43200" rIns="33231" bIns="43200" numCol="1" rtlCol="0" anchor="ctr" anchorCtr="0" compatLnSpc="1">
            <a:prstTxWarp prst="textNoShape">
              <a:avLst/>
            </a:prstTxWarp>
          </a:bodyPr>
          <a:lstStyle/>
          <a:p>
            <a:pPr algn="ctr" defTabSz="844083">
              <a:spcBef>
                <a:spcPts val="0"/>
              </a:spcBef>
              <a:spcAft>
                <a:spcPts val="0"/>
              </a:spcAft>
              <a:defRPr/>
            </a:pPr>
            <a:r>
              <a:rPr lang="de-DE" sz="1108">
                <a:solidFill>
                  <a:srgbClr val="000000"/>
                </a:solidFill>
                <a:latin typeface="Arial"/>
              </a:rPr>
              <a:t>click </a:t>
            </a:r>
            <a:endParaRPr lang="de-CH" sz="1108" dirty="0" err="1">
              <a:solidFill>
                <a:srgbClr val="000000"/>
              </a:solidFill>
              <a:latin typeface="Arial"/>
            </a:endParaRPr>
          </a:p>
        </p:txBody>
      </p:sp>
    </p:spTree>
    <p:extLst>
      <p:ext uri="{BB962C8B-B14F-4D97-AF65-F5344CB8AC3E}">
        <p14:creationId xmlns:p14="http://schemas.microsoft.com/office/powerpoint/2010/main" val="425741827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42" presetClass="path" presetSubtype="0" accel="45400" decel="55000" fill="hold" nodeType="withEffect">
                                  <p:stCondLst>
                                    <p:cond delay="0"/>
                                  </p:stCondLst>
                                  <p:childTnLst>
                                    <p:animMotion origin="layout" path="M -1.02564E-6 2.22222E-6 L 0.41939 2.22222E-6 " pathEditMode="relative" rAng="0" ptsTypes="AA">
                                      <p:cBhvr>
                                        <p:cTn id="8" dur="5000" spd="-100000" fill="hold"/>
                                        <p:tgtEl>
                                          <p:spTgt spid="3"/>
                                        </p:tgtEl>
                                        <p:attrNameLst>
                                          <p:attrName>ppt_x</p:attrName>
                                          <p:attrName>ppt_y</p:attrName>
                                        </p:attrNameLst>
                                      </p:cBhvr>
                                      <p:rCtr x="20962" y="0"/>
                                    </p:animMotion>
                                  </p:childTnLst>
                                </p:cTn>
                              </p:par>
                              <p:par>
                                <p:cTn id="9" presetID="10" presetClass="exit" presetSubtype="0" fill="hold" nodeType="withEffect">
                                  <p:stCondLst>
                                    <p:cond delay="0"/>
                                  </p:stCondLst>
                                  <p:childTnLst>
                                    <p:animEffect transition="out" filter="fade">
                                      <p:cBhvr>
                                        <p:cTn id="10" dur="1500"/>
                                        <p:tgtEl>
                                          <p:spTgt spid="80"/>
                                        </p:tgtEl>
                                      </p:cBhvr>
                                    </p:animEffect>
                                    <p:set>
                                      <p:cBhvr>
                                        <p:cTn id="11" dur="1" fill="hold">
                                          <p:stCondLst>
                                            <p:cond delay="1499"/>
                                          </p:stCondLst>
                                        </p:cTn>
                                        <p:tgtEl>
                                          <p:spTgt spid="80"/>
                                        </p:tgtEl>
                                        <p:attrNameLst>
                                          <p:attrName>style.visibility</p:attrName>
                                        </p:attrNameLst>
                                      </p:cBhvr>
                                      <p:to>
                                        <p:strVal val="hidden"/>
                                      </p:to>
                                    </p:set>
                                  </p:childTnLst>
                                </p:cTn>
                              </p:par>
                              <p:par>
                                <p:cTn id="12" presetID="10" presetClass="entr" presetSubtype="0" fill="hold" grpId="0" nodeType="withEffect">
                                  <p:stCondLst>
                                    <p:cond delay="4000"/>
                                  </p:stCondLst>
                                  <p:childTnLst>
                                    <p:set>
                                      <p:cBhvr>
                                        <p:cTn id="13" dur="1" fill="hold">
                                          <p:stCondLst>
                                            <p:cond delay="0"/>
                                          </p:stCondLst>
                                        </p:cTn>
                                        <p:tgtEl>
                                          <p:spTgt spid="30"/>
                                        </p:tgtEl>
                                        <p:attrNameLst>
                                          <p:attrName>style.visibility</p:attrName>
                                        </p:attrNameLst>
                                      </p:cBhvr>
                                      <p:to>
                                        <p:strVal val="visible"/>
                                      </p:to>
                                    </p:set>
                                    <p:animEffect transition="in" filter="fade">
                                      <p:cBhvr>
                                        <p:cTn id="14" dur="1500"/>
                                        <p:tgtEl>
                                          <p:spTgt spid="30"/>
                                        </p:tgtEl>
                                      </p:cBhvr>
                                    </p:animEffect>
                                  </p:childTnLst>
                                </p:cTn>
                              </p:par>
                            </p:childTnLst>
                          </p:cTn>
                        </p:par>
                      </p:childTnLst>
                    </p:cTn>
                  </p:par>
                  <p:par>
                    <p:cTn id="15" fill="hold">
                      <p:stCondLst>
                        <p:cond delay="indefinite"/>
                      </p:stCondLst>
                      <p:childTnLst>
                        <p:par>
                          <p:cTn id="16" fill="hold">
                            <p:stCondLst>
                              <p:cond delay="0"/>
                            </p:stCondLst>
                            <p:childTnLst>
                              <p:par>
                                <p:cTn id="17" presetID="42" presetClass="path" presetSubtype="0" accel="50000" decel="50000" fill="hold" nodeType="clickEffect">
                                  <p:stCondLst>
                                    <p:cond delay="0"/>
                                  </p:stCondLst>
                                  <p:childTnLst>
                                    <p:animMotion origin="layout" path="M -1.02564E-6 2.22222E-6 L -0.03862 0.00023 " pathEditMode="relative" rAng="0" ptsTypes="AA">
                                      <p:cBhvr>
                                        <p:cTn id="18" dur="3250" fill="hold"/>
                                        <p:tgtEl>
                                          <p:spTgt spid="3"/>
                                        </p:tgtEl>
                                        <p:attrNameLst>
                                          <p:attrName>ppt_x</p:attrName>
                                          <p:attrName>ppt_y</p:attrName>
                                        </p:attrNameLst>
                                      </p:cBhvr>
                                      <p:rCtr x="-1939" y="0"/>
                                    </p:animMotion>
                                  </p:childTnLst>
                                </p:cTn>
                              </p:par>
                            </p:childTnLst>
                          </p:cTn>
                        </p:par>
                      </p:childTnLst>
                    </p:cTn>
                  </p:par>
                  <p:par>
                    <p:cTn id="19" fill="hold">
                      <p:stCondLst>
                        <p:cond delay="indefinite"/>
                      </p:stCondLst>
                      <p:childTnLst>
                        <p:par>
                          <p:cTn id="20" fill="hold">
                            <p:stCondLst>
                              <p:cond delay="0"/>
                            </p:stCondLst>
                            <p:childTnLst>
                              <p:par>
                                <p:cTn id="21" presetID="42" presetClass="path" presetSubtype="0" accel="50000" decel="50000" fill="hold" nodeType="clickEffect">
                                  <p:stCondLst>
                                    <p:cond delay="0"/>
                                  </p:stCondLst>
                                  <p:childTnLst>
                                    <p:animMotion origin="layout" path="M -0.03862 0.00023 L 3.84615E-6 -3.33333E-6 " pathEditMode="relative" rAng="0" ptsTypes="AA">
                                      <p:cBhvr>
                                        <p:cTn id="22" dur="3250" fill="hold"/>
                                        <p:tgtEl>
                                          <p:spTgt spid="3"/>
                                        </p:tgtEl>
                                        <p:attrNameLst>
                                          <p:attrName>ppt_x</p:attrName>
                                          <p:attrName>ppt_y</p:attrName>
                                        </p:attrNameLst>
                                      </p:cBhvr>
                                      <p:rCtr x="1779" y="579"/>
                                    </p:animMotion>
                                  </p:childTnLst>
                                </p:cTn>
                              </p:par>
                            </p:childTnLst>
                          </p:cTn>
                        </p:par>
                      </p:childTnLst>
                    </p:cTn>
                  </p:par>
                  <p:par>
                    <p:cTn id="23" fill="hold">
                      <p:stCondLst>
                        <p:cond delay="indefinite"/>
                      </p:stCondLst>
                      <p:childTnLst>
                        <p:par>
                          <p:cTn id="24" fill="hold">
                            <p:stCondLst>
                              <p:cond delay="0"/>
                            </p:stCondLst>
                            <p:childTnLst>
                              <p:par>
                                <p:cTn id="25" presetID="42" presetClass="path" presetSubtype="0" accel="50000" decel="50000" fill="hold" nodeType="clickEffect">
                                  <p:stCondLst>
                                    <p:cond delay="0"/>
                                  </p:stCondLst>
                                  <p:childTnLst>
                                    <p:animMotion origin="layout" path="M -1.02564E-6 2.22222E-6 L 0.41939 2.22222E-6 " pathEditMode="relative" rAng="0" ptsTypes="AA">
                                      <p:cBhvr>
                                        <p:cTn id="26" dur="5000" fill="hold"/>
                                        <p:tgtEl>
                                          <p:spTgt spid="3"/>
                                        </p:tgtEl>
                                        <p:attrNameLst>
                                          <p:attrName>ppt_x</p:attrName>
                                          <p:attrName>ppt_y</p:attrName>
                                        </p:attrNameLst>
                                      </p:cBhvr>
                                      <p:rCtr x="20962" y="0"/>
                                    </p:animMotion>
                                  </p:childTnLst>
                                </p:cTn>
                              </p:par>
                              <p:par>
                                <p:cTn id="27" presetID="10" presetClass="exit" presetSubtype="0" fill="hold" nodeType="withEffect">
                                  <p:stCondLst>
                                    <p:cond delay="3000"/>
                                  </p:stCondLst>
                                  <p:childTnLst>
                                    <p:animEffect transition="out" filter="fade">
                                      <p:cBhvr>
                                        <p:cTn id="28" dur="2000"/>
                                        <p:tgtEl>
                                          <p:spTgt spid="3"/>
                                        </p:tgtEl>
                                      </p:cBhvr>
                                    </p:animEffect>
                                    <p:set>
                                      <p:cBhvr>
                                        <p:cTn id="29" dur="1" fill="hold">
                                          <p:stCondLst>
                                            <p:cond delay="1999"/>
                                          </p:stCondLst>
                                        </p:cTn>
                                        <p:tgtEl>
                                          <p:spTgt spid="3"/>
                                        </p:tgtEl>
                                        <p:attrNameLst>
                                          <p:attrName>style.visibility</p:attrName>
                                        </p:attrNameLst>
                                      </p:cBhvr>
                                      <p:to>
                                        <p:strVal val="hidden"/>
                                      </p:to>
                                    </p:set>
                                  </p:childTnLst>
                                </p:cTn>
                              </p:par>
                              <p:par>
                                <p:cTn id="30" presetID="10" presetClass="entr" presetSubtype="0" fill="hold" nodeType="withEffect">
                                  <p:stCondLst>
                                    <p:cond delay="0"/>
                                  </p:stCondLst>
                                  <p:childTnLst>
                                    <p:set>
                                      <p:cBhvr>
                                        <p:cTn id="31" dur="1" fill="hold">
                                          <p:stCondLst>
                                            <p:cond delay="0"/>
                                          </p:stCondLst>
                                        </p:cTn>
                                        <p:tgtEl>
                                          <p:spTgt spid="80"/>
                                        </p:tgtEl>
                                        <p:attrNameLst>
                                          <p:attrName>style.visibility</p:attrName>
                                        </p:attrNameLst>
                                      </p:cBhvr>
                                      <p:to>
                                        <p:strVal val="visible"/>
                                      </p:to>
                                    </p:set>
                                    <p:animEffect transition="in" filter="fade">
                                      <p:cBhvr>
                                        <p:cTn id="32" dur="5000"/>
                                        <p:tgtEl>
                                          <p:spTgt spid="80"/>
                                        </p:tgtEl>
                                      </p:cBhvr>
                                    </p:animEffect>
                                  </p:childTnLst>
                                </p:cTn>
                              </p:par>
                              <p:par>
                                <p:cTn id="33" presetID="10" presetClass="exit" presetSubtype="0" fill="hold" grpId="1" nodeType="withEffect">
                                  <p:stCondLst>
                                    <p:cond delay="0"/>
                                  </p:stCondLst>
                                  <p:childTnLst>
                                    <p:animEffect transition="out" filter="fade">
                                      <p:cBhvr>
                                        <p:cTn id="34" dur="1500"/>
                                        <p:tgtEl>
                                          <p:spTgt spid="30"/>
                                        </p:tgtEl>
                                      </p:cBhvr>
                                    </p:animEffect>
                                    <p:set>
                                      <p:cBhvr>
                                        <p:cTn id="35" dur="1" fill="hold">
                                          <p:stCondLst>
                                            <p:cond delay="1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0"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feld 53"/>
          <p:cNvSpPr txBox="1">
            <a:spLocks noChangeArrowheads="1"/>
          </p:cNvSpPr>
          <p:nvPr/>
        </p:nvSpPr>
        <p:spPr bwMode="auto">
          <a:xfrm>
            <a:off x="6201643" y="2060579"/>
            <a:ext cx="1803396" cy="511240"/>
          </a:xfrm>
          <a:prstGeom prst="rect">
            <a:avLst/>
          </a:prstGeom>
          <a:noFill/>
          <a:ln w="9525">
            <a:noFill/>
            <a:miter lim="800000"/>
            <a:headEnd/>
            <a:tailEnd/>
          </a:ln>
        </p:spPr>
        <p:txBody>
          <a:bodyPr wrap="none" lIns="84146" tIns="42074" rIns="84146" bIns="42074">
            <a:spAutoFit/>
          </a:bodyPr>
          <a:lstStyle/>
          <a:p>
            <a:pPr defTabSz="844083" eaLnBrk="1" hangingPunct="1">
              <a:spcAft>
                <a:spcPct val="0"/>
              </a:spcAft>
              <a:defRPr/>
            </a:pPr>
            <a:r>
              <a:rPr lang="de-DE" sz="1385" dirty="0">
                <a:solidFill>
                  <a:srgbClr val="009E47"/>
                </a:solidFill>
                <a:latin typeface="Arial"/>
                <a:cs typeface="Arial" charset="0"/>
              </a:rPr>
              <a:t>Grundlagen der </a:t>
            </a:r>
          </a:p>
          <a:p>
            <a:pPr defTabSz="844083" eaLnBrk="1" hangingPunct="1">
              <a:spcAft>
                <a:spcPct val="0"/>
              </a:spcAft>
              <a:defRPr/>
            </a:pPr>
            <a:r>
              <a:rPr lang="de-DE" sz="1385" dirty="0">
                <a:solidFill>
                  <a:srgbClr val="009E47"/>
                </a:solidFill>
                <a:latin typeface="Arial"/>
                <a:cs typeface="Arial" charset="0"/>
              </a:rPr>
              <a:t>zukünftigen Existenz</a:t>
            </a:r>
          </a:p>
        </p:txBody>
      </p:sp>
      <p:sp>
        <p:nvSpPr>
          <p:cNvPr id="36" name="Textfeld 54"/>
          <p:cNvSpPr txBox="1">
            <a:spLocks noChangeArrowheads="1"/>
          </p:cNvSpPr>
          <p:nvPr/>
        </p:nvSpPr>
        <p:spPr bwMode="auto">
          <a:xfrm>
            <a:off x="6068118" y="3541319"/>
            <a:ext cx="2063082" cy="511240"/>
          </a:xfrm>
          <a:prstGeom prst="rect">
            <a:avLst/>
          </a:prstGeom>
          <a:noFill/>
          <a:ln w="9525">
            <a:noFill/>
            <a:miter lim="800000"/>
            <a:headEnd/>
            <a:tailEnd/>
          </a:ln>
        </p:spPr>
        <p:txBody>
          <a:bodyPr wrap="none" lIns="84146" tIns="42074" rIns="84146" bIns="42074">
            <a:spAutoFit/>
          </a:bodyPr>
          <a:lstStyle>
            <a:defPPr>
              <a:defRPr lang="de-DE"/>
            </a:defPPr>
            <a:lvl1pPr>
              <a:spcAft>
                <a:spcPct val="0"/>
              </a:spcAft>
              <a:defRPr sz="1500">
                <a:solidFill>
                  <a:srgbClr val="E20000"/>
                </a:solidFill>
              </a:defRPr>
            </a:lvl1pPr>
          </a:lstStyle>
          <a:p>
            <a:pPr defTabSz="844083" eaLnBrk="1" hangingPunct="1">
              <a:defRPr/>
            </a:pPr>
            <a:r>
              <a:rPr lang="de-DE" sz="1385" dirty="0">
                <a:latin typeface="Arial"/>
                <a:cs typeface="Arial" charset="0"/>
              </a:rPr>
              <a:t>Grundlagen der </a:t>
            </a:r>
          </a:p>
          <a:p>
            <a:pPr defTabSz="844083" eaLnBrk="1" hangingPunct="1">
              <a:defRPr/>
            </a:pPr>
            <a:r>
              <a:rPr lang="de-DE" sz="1385" dirty="0">
                <a:latin typeface="Arial"/>
                <a:cs typeface="Arial" charset="0"/>
              </a:rPr>
              <a:t>gegenwärtigen Existenz</a:t>
            </a:r>
          </a:p>
        </p:txBody>
      </p:sp>
      <p:sp>
        <p:nvSpPr>
          <p:cNvPr id="37" name="Textfeld 57"/>
          <p:cNvSpPr txBox="1">
            <a:spLocks noChangeArrowheads="1"/>
          </p:cNvSpPr>
          <p:nvPr/>
        </p:nvSpPr>
        <p:spPr bwMode="auto">
          <a:xfrm rot="16200000">
            <a:off x="-140943" y="3697461"/>
            <a:ext cx="3776684" cy="298105"/>
          </a:xfrm>
          <a:prstGeom prst="rect">
            <a:avLst/>
          </a:prstGeom>
          <a:noFill/>
          <a:ln w="9525">
            <a:noFill/>
            <a:miter lim="800000"/>
            <a:headEnd/>
            <a:tailEnd/>
          </a:ln>
        </p:spPr>
        <p:txBody>
          <a:bodyPr wrap="none" lIns="0" tIns="42074" rIns="84146" bIns="42074">
            <a:spAutoFit/>
          </a:bodyPr>
          <a:lstStyle/>
          <a:p>
            <a:pPr defTabSz="844083" eaLnBrk="1" hangingPunct="1">
              <a:spcAft>
                <a:spcPct val="0"/>
              </a:spcAft>
              <a:defRPr/>
            </a:pPr>
            <a:r>
              <a:rPr lang="de-DE" sz="1385" dirty="0">
                <a:solidFill>
                  <a:srgbClr val="000000"/>
                </a:solidFill>
                <a:latin typeface="Arial"/>
                <a:cs typeface="Arial" charset="0"/>
              </a:rPr>
              <a:t>Entwicklungsverläufe wichtiger Systemaspekte</a:t>
            </a:r>
          </a:p>
        </p:txBody>
      </p:sp>
      <p:sp>
        <p:nvSpPr>
          <p:cNvPr id="38" name="Textfeld 58"/>
          <p:cNvSpPr txBox="1">
            <a:spLocks noChangeArrowheads="1"/>
          </p:cNvSpPr>
          <p:nvPr/>
        </p:nvSpPr>
        <p:spPr bwMode="auto">
          <a:xfrm>
            <a:off x="2150852" y="5755283"/>
            <a:ext cx="1322303" cy="298105"/>
          </a:xfrm>
          <a:prstGeom prst="rect">
            <a:avLst/>
          </a:prstGeom>
          <a:noFill/>
          <a:ln w="9525">
            <a:noFill/>
            <a:miter lim="800000"/>
            <a:headEnd/>
            <a:tailEnd/>
          </a:ln>
        </p:spPr>
        <p:txBody>
          <a:bodyPr wrap="none" lIns="84146" tIns="42074" rIns="84146" bIns="42074">
            <a:spAutoFit/>
          </a:bodyPr>
          <a:lstStyle/>
          <a:p>
            <a:pPr algn="r" defTabSz="844083" eaLnBrk="1" hangingPunct="1">
              <a:spcAft>
                <a:spcPct val="0"/>
              </a:spcAft>
              <a:defRPr/>
            </a:pPr>
            <a:r>
              <a:rPr lang="de-DE" sz="1385" dirty="0">
                <a:solidFill>
                  <a:srgbClr val="000000"/>
                </a:solidFill>
                <a:latin typeface="Arial"/>
                <a:cs typeface="Arial" charset="0"/>
              </a:rPr>
              <a:t>Vergangenheit</a:t>
            </a:r>
          </a:p>
        </p:txBody>
      </p:sp>
      <p:sp>
        <p:nvSpPr>
          <p:cNvPr id="39" name="Textfeld 59"/>
          <p:cNvSpPr txBox="1">
            <a:spLocks noChangeArrowheads="1"/>
          </p:cNvSpPr>
          <p:nvPr/>
        </p:nvSpPr>
        <p:spPr bwMode="auto">
          <a:xfrm>
            <a:off x="3839599" y="6022033"/>
            <a:ext cx="646028" cy="298105"/>
          </a:xfrm>
          <a:prstGeom prst="rect">
            <a:avLst/>
          </a:prstGeom>
          <a:noFill/>
          <a:ln w="9525">
            <a:noFill/>
            <a:miter lim="800000"/>
            <a:headEnd/>
            <a:tailEnd/>
          </a:ln>
        </p:spPr>
        <p:txBody>
          <a:bodyPr wrap="none" lIns="84146" tIns="42074" rIns="84146" bIns="42074">
            <a:spAutoFit/>
          </a:bodyPr>
          <a:lstStyle/>
          <a:p>
            <a:pPr algn="ctr" defTabSz="844083" eaLnBrk="1" hangingPunct="1">
              <a:spcAft>
                <a:spcPct val="0"/>
              </a:spcAft>
              <a:defRPr/>
            </a:pPr>
            <a:r>
              <a:rPr lang="de-DE" sz="1385" dirty="0">
                <a:solidFill>
                  <a:srgbClr val="000000"/>
                </a:solidFill>
                <a:latin typeface="Arial"/>
                <a:cs typeface="Arial" charset="0"/>
              </a:rPr>
              <a:t>Heute</a:t>
            </a:r>
          </a:p>
        </p:txBody>
      </p:sp>
      <p:sp>
        <p:nvSpPr>
          <p:cNvPr id="40" name="Textfeld 60"/>
          <p:cNvSpPr txBox="1">
            <a:spLocks noChangeArrowheads="1"/>
          </p:cNvSpPr>
          <p:nvPr/>
        </p:nvSpPr>
        <p:spPr bwMode="auto">
          <a:xfrm>
            <a:off x="4764363" y="5755283"/>
            <a:ext cx="764650" cy="298105"/>
          </a:xfrm>
          <a:prstGeom prst="rect">
            <a:avLst/>
          </a:prstGeom>
          <a:noFill/>
          <a:ln w="9525">
            <a:noFill/>
            <a:miter lim="800000"/>
            <a:headEnd/>
            <a:tailEnd/>
          </a:ln>
        </p:spPr>
        <p:txBody>
          <a:bodyPr wrap="none" lIns="84146" tIns="42074" rIns="84146" bIns="42074">
            <a:spAutoFit/>
          </a:bodyPr>
          <a:lstStyle/>
          <a:p>
            <a:pPr defTabSz="844083" eaLnBrk="1" hangingPunct="1">
              <a:spcAft>
                <a:spcPct val="0"/>
              </a:spcAft>
              <a:defRPr/>
            </a:pPr>
            <a:r>
              <a:rPr lang="de-DE" sz="1385" dirty="0">
                <a:solidFill>
                  <a:srgbClr val="000000"/>
                </a:solidFill>
                <a:latin typeface="Arial"/>
                <a:cs typeface="Arial" charset="0"/>
              </a:rPr>
              <a:t>Zukunft</a:t>
            </a:r>
          </a:p>
        </p:txBody>
      </p:sp>
      <p:cxnSp>
        <p:nvCxnSpPr>
          <p:cNvPr id="42" name="Gerade Verbindung mit Pfeil 117"/>
          <p:cNvCxnSpPr>
            <a:cxnSpLocks noChangeShapeType="1"/>
          </p:cNvCxnSpPr>
          <p:nvPr/>
        </p:nvCxnSpPr>
        <p:spPr bwMode="auto">
          <a:xfrm>
            <a:off x="4238542" y="5904305"/>
            <a:ext cx="517874" cy="0"/>
          </a:xfrm>
          <a:prstGeom prst="straightConnector1">
            <a:avLst/>
          </a:prstGeom>
          <a:noFill/>
          <a:ln w="9525" algn="ctr">
            <a:solidFill>
              <a:schemeClr val="tx1"/>
            </a:solidFill>
            <a:round/>
            <a:headEnd/>
            <a:tailEnd type="triangle" w="med" len="med"/>
          </a:ln>
        </p:spPr>
      </p:cxnSp>
      <p:cxnSp>
        <p:nvCxnSpPr>
          <p:cNvPr id="47" name="Gerade Verbindung mit Pfeil 118"/>
          <p:cNvCxnSpPr>
            <a:cxnSpLocks noChangeShapeType="1"/>
          </p:cNvCxnSpPr>
          <p:nvPr/>
        </p:nvCxnSpPr>
        <p:spPr bwMode="auto">
          <a:xfrm flipH="1">
            <a:off x="3581943" y="5904305"/>
            <a:ext cx="517874" cy="0"/>
          </a:xfrm>
          <a:prstGeom prst="straightConnector1">
            <a:avLst/>
          </a:prstGeom>
          <a:noFill/>
          <a:ln w="9525" algn="ctr">
            <a:solidFill>
              <a:schemeClr val="tx1"/>
            </a:solidFill>
            <a:round/>
            <a:headEnd/>
            <a:tailEnd type="triangle" w="med" len="med"/>
          </a:ln>
        </p:spPr>
      </p:cxnSp>
      <p:sp>
        <p:nvSpPr>
          <p:cNvPr id="48" name="Freihandform 54"/>
          <p:cNvSpPr>
            <a:spLocks/>
          </p:cNvSpPr>
          <p:nvPr/>
        </p:nvSpPr>
        <p:spPr bwMode="auto">
          <a:xfrm rot="21396569">
            <a:off x="3200073" y="3650996"/>
            <a:ext cx="1908114" cy="1459526"/>
          </a:xfrm>
          <a:custGeom>
            <a:avLst/>
            <a:gdLst>
              <a:gd name="T0" fmla="*/ 4815 w 1944304"/>
              <a:gd name="T1" fmla="*/ 1019810 h 1090863"/>
              <a:gd name="T2" fmla="*/ 678849 w 1944304"/>
              <a:gd name="T3" fmla="*/ 452179 h 1090863"/>
              <a:gd name="T4" fmla="*/ 1131416 w 1944304"/>
              <a:gd name="T5" fmla="*/ 240521 h 1090863"/>
              <a:gd name="T6" fmla="*/ 1901742 w 1944304"/>
              <a:gd name="T7" fmla="*/ 48104 h 1090863"/>
              <a:gd name="T8" fmla="*/ 1391401 w 1944304"/>
              <a:gd name="T9" fmla="*/ 529147 h 1090863"/>
              <a:gd name="T10" fmla="*/ 707737 w 1944304"/>
              <a:gd name="T11" fmla="*/ 875497 h 1090863"/>
              <a:gd name="T12" fmla="*/ 4815 w 1944304"/>
              <a:gd name="T13" fmla="*/ 1019810 h 1090863"/>
              <a:gd name="T14" fmla="*/ 0 60000 65536"/>
              <a:gd name="T15" fmla="*/ 0 60000 65536"/>
              <a:gd name="T16" fmla="*/ 0 60000 65536"/>
              <a:gd name="T17" fmla="*/ 0 60000 65536"/>
              <a:gd name="T18" fmla="*/ 0 60000 65536"/>
              <a:gd name="T19" fmla="*/ 0 60000 65536"/>
              <a:gd name="T20" fmla="*/ 0 60000 65536"/>
              <a:gd name="connsiteX0" fmla="*/ 39 w 1842839"/>
              <a:gd name="connsiteY0" fmla="*/ 959272 h 981220"/>
              <a:gd name="connsiteX1" fmla="*/ 616799 w 1842839"/>
              <a:gd name="connsiteY1" fmla="*/ 412589 h 981220"/>
              <a:gd name="connsiteX2" fmla="*/ 1069187 w 1842839"/>
              <a:gd name="connsiteY2" fmla="*/ 200833 h 981220"/>
              <a:gd name="connsiteX3" fmla="*/ 1839208 w 1842839"/>
              <a:gd name="connsiteY3" fmla="*/ 8328 h 981220"/>
              <a:gd name="connsiteX4" fmla="*/ 1329069 w 1842839"/>
              <a:gd name="connsiteY4" fmla="*/ 489591 h 981220"/>
              <a:gd name="connsiteX5" fmla="*/ 645675 w 1842839"/>
              <a:gd name="connsiteY5" fmla="*/ 836101 h 981220"/>
              <a:gd name="connsiteX6" fmla="*/ 39 w 1842839"/>
              <a:gd name="connsiteY6" fmla="*/ 959272 h 981220"/>
              <a:gd name="connsiteX0" fmla="*/ 463 w 1843263"/>
              <a:gd name="connsiteY0" fmla="*/ 959272 h 981747"/>
              <a:gd name="connsiteX1" fmla="*/ 617223 w 1843263"/>
              <a:gd name="connsiteY1" fmla="*/ 412589 h 981747"/>
              <a:gd name="connsiteX2" fmla="*/ 1069611 w 1843263"/>
              <a:gd name="connsiteY2" fmla="*/ 200833 h 981747"/>
              <a:gd name="connsiteX3" fmla="*/ 1839632 w 1843263"/>
              <a:gd name="connsiteY3" fmla="*/ 8328 h 981747"/>
              <a:gd name="connsiteX4" fmla="*/ 1329493 w 1843263"/>
              <a:gd name="connsiteY4" fmla="*/ 489591 h 981747"/>
              <a:gd name="connsiteX5" fmla="*/ 719223 w 1843263"/>
              <a:gd name="connsiteY5" fmla="*/ 838859 h 981747"/>
              <a:gd name="connsiteX6" fmla="*/ 463 w 1843263"/>
              <a:gd name="connsiteY6" fmla="*/ 959272 h 981747"/>
              <a:gd name="connsiteX0" fmla="*/ 55759 w 1898559"/>
              <a:gd name="connsiteY0" fmla="*/ 959272 h 960290"/>
              <a:gd name="connsiteX1" fmla="*/ 672519 w 1898559"/>
              <a:gd name="connsiteY1" fmla="*/ 412589 h 960290"/>
              <a:gd name="connsiteX2" fmla="*/ 1124907 w 1898559"/>
              <a:gd name="connsiteY2" fmla="*/ 200833 h 960290"/>
              <a:gd name="connsiteX3" fmla="*/ 1894928 w 1898559"/>
              <a:gd name="connsiteY3" fmla="*/ 8328 h 960290"/>
              <a:gd name="connsiteX4" fmla="*/ 1384789 w 1898559"/>
              <a:gd name="connsiteY4" fmla="*/ 489591 h 960290"/>
              <a:gd name="connsiteX5" fmla="*/ 774519 w 1898559"/>
              <a:gd name="connsiteY5" fmla="*/ 838859 h 960290"/>
              <a:gd name="connsiteX6" fmla="*/ 55759 w 1898559"/>
              <a:gd name="connsiteY6" fmla="*/ 959272 h 960290"/>
              <a:gd name="connsiteX0" fmla="*/ 55759 w 1898559"/>
              <a:gd name="connsiteY0" fmla="*/ 959272 h 960290"/>
              <a:gd name="connsiteX1" fmla="*/ 672519 w 1898559"/>
              <a:gd name="connsiteY1" fmla="*/ 412589 h 960290"/>
              <a:gd name="connsiteX2" fmla="*/ 1124907 w 1898559"/>
              <a:gd name="connsiteY2" fmla="*/ 200833 h 960290"/>
              <a:gd name="connsiteX3" fmla="*/ 1894928 w 1898559"/>
              <a:gd name="connsiteY3" fmla="*/ 8328 h 960290"/>
              <a:gd name="connsiteX4" fmla="*/ 1384789 w 1898559"/>
              <a:gd name="connsiteY4" fmla="*/ 489591 h 960290"/>
              <a:gd name="connsiteX5" fmla="*/ 774519 w 1898559"/>
              <a:gd name="connsiteY5" fmla="*/ 838859 h 960290"/>
              <a:gd name="connsiteX6" fmla="*/ 55759 w 1898559"/>
              <a:gd name="connsiteY6" fmla="*/ 959272 h 960290"/>
              <a:gd name="connsiteX0" fmla="*/ 0 w 1842800"/>
              <a:gd name="connsiteY0" fmla="*/ 959272 h 959272"/>
              <a:gd name="connsiteX1" fmla="*/ 616760 w 1842800"/>
              <a:gd name="connsiteY1" fmla="*/ 412589 h 959272"/>
              <a:gd name="connsiteX2" fmla="*/ 1069148 w 1842800"/>
              <a:gd name="connsiteY2" fmla="*/ 200833 h 959272"/>
              <a:gd name="connsiteX3" fmla="*/ 1839169 w 1842800"/>
              <a:gd name="connsiteY3" fmla="*/ 8328 h 959272"/>
              <a:gd name="connsiteX4" fmla="*/ 1329030 w 1842800"/>
              <a:gd name="connsiteY4" fmla="*/ 489591 h 959272"/>
              <a:gd name="connsiteX5" fmla="*/ 718760 w 1842800"/>
              <a:gd name="connsiteY5" fmla="*/ 838859 h 959272"/>
              <a:gd name="connsiteX6" fmla="*/ 0 w 1842800"/>
              <a:gd name="connsiteY6" fmla="*/ 959272 h 959272"/>
              <a:gd name="connsiteX0" fmla="*/ 0 w 1842800"/>
              <a:gd name="connsiteY0" fmla="*/ 959272 h 959272"/>
              <a:gd name="connsiteX1" fmla="*/ 616760 w 1842800"/>
              <a:gd name="connsiteY1" fmla="*/ 412589 h 959272"/>
              <a:gd name="connsiteX2" fmla="*/ 1069148 w 1842800"/>
              <a:gd name="connsiteY2" fmla="*/ 200833 h 959272"/>
              <a:gd name="connsiteX3" fmla="*/ 1839169 w 1842800"/>
              <a:gd name="connsiteY3" fmla="*/ 8328 h 959272"/>
              <a:gd name="connsiteX4" fmla="*/ 1329030 w 1842800"/>
              <a:gd name="connsiteY4" fmla="*/ 489591 h 959272"/>
              <a:gd name="connsiteX5" fmla="*/ 718760 w 1842800"/>
              <a:gd name="connsiteY5" fmla="*/ 838859 h 959272"/>
              <a:gd name="connsiteX6" fmla="*/ 0 w 1842800"/>
              <a:gd name="connsiteY6" fmla="*/ 959272 h 959272"/>
              <a:gd name="connsiteX0" fmla="*/ 0 w 1839169"/>
              <a:gd name="connsiteY0" fmla="*/ 959272 h 959272"/>
              <a:gd name="connsiteX1" fmla="*/ 616760 w 1839169"/>
              <a:gd name="connsiteY1" fmla="*/ 412589 h 959272"/>
              <a:gd name="connsiteX2" fmla="*/ 1069148 w 1839169"/>
              <a:gd name="connsiteY2" fmla="*/ 200833 h 959272"/>
              <a:gd name="connsiteX3" fmla="*/ 1839169 w 1839169"/>
              <a:gd name="connsiteY3" fmla="*/ 8328 h 959272"/>
              <a:gd name="connsiteX4" fmla="*/ 1329030 w 1839169"/>
              <a:gd name="connsiteY4" fmla="*/ 489591 h 959272"/>
              <a:gd name="connsiteX5" fmla="*/ 718760 w 1839169"/>
              <a:gd name="connsiteY5" fmla="*/ 838859 h 959272"/>
              <a:gd name="connsiteX6" fmla="*/ 0 w 1839169"/>
              <a:gd name="connsiteY6" fmla="*/ 959272 h 959272"/>
              <a:gd name="connsiteX0" fmla="*/ 0 w 1839169"/>
              <a:gd name="connsiteY0" fmla="*/ 950944 h 950944"/>
              <a:gd name="connsiteX1" fmla="*/ 616760 w 1839169"/>
              <a:gd name="connsiteY1" fmla="*/ 404261 h 950944"/>
              <a:gd name="connsiteX2" fmla="*/ 1069148 w 1839169"/>
              <a:gd name="connsiteY2" fmla="*/ 192505 h 950944"/>
              <a:gd name="connsiteX3" fmla="*/ 1839169 w 1839169"/>
              <a:gd name="connsiteY3" fmla="*/ 0 h 950944"/>
              <a:gd name="connsiteX4" fmla="*/ 1329030 w 1839169"/>
              <a:gd name="connsiteY4" fmla="*/ 481263 h 950944"/>
              <a:gd name="connsiteX5" fmla="*/ 718760 w 1839169"/>
              <a:gd name="connsiteY5" fmla="*/ 830531 h 950944"/>
              <a:gd name="connsiteX6" fmla="*/ 0 w 1839169"/>
              <a:gd name="connsiteY6" fmla="*/ 950944 h 950944"/>
              <a:gd name="connsiteX0" fmla="*/ 0 w 1839169"/>
              <a:gd name="connsiteY0" fmla="*/ 950944 h 950944"/>
              <a:gd name="connsiteX1" fmla="*/ 603513 w 1839169"/>
              <a:gd name="connsiteY1" fmla="*/ 387093 h 950944"/>
              <a:gd name="connsiteX2" fmla="*/ 1069148 w 1839169"/>
              <a:gd name="connsiteY2" fmla="*/ 192505 h 950944"/>
              <a:gd name="connsiteX3" fmla="*/ 1839169 w 1839169"/>
              <a:gd name="connsiteY3" fmla="*/ 0 h 950944"/>
              <a:gd name="connsiteX4" fmla="*/ 1329030 w 1839169"/>
              <a:gd name="connsiteY4" fmla="*/ 481263 h 950944"/>
              <a:gd name="connsiteX5" fmla="*/ 718760 w 1839169"/>
              <a:gd name="connsiteY5" fmla="*/ 830531 h 950944"/>
              <a:gd name="connsiteX6" fmla="*/ 0 w 1839169"/>
              <a:gd name="connsiteY6" fmla="*/ 950944 h 950944"/>
              <a:gd name="connsiteX0" fmla="*/ 0 w 1839169"/>
              <a:gd name="connsiteY0" fmla="*/ 950944 h 950944"/>
              <a:gd name="connsiteX1" fmla="*/ 603513 w 1839169"/>
              <a:gd name="connsiteY1" fmla="*/ 387093 h 950944"/>
              <a:gd name="connsiteX2" fmla="*/ 1118464 w 1839169"/>
              <a:gd name="connsiteY2" fmla="*/ 134591 h 950944"/>
              <a:gd name="connsiteX3" fmla="*/ 1839169 w 1839169"/>
              <a:gd name="connsiteY3" fmla="*/ 0 h 950944"/>
              <a:gd name="connsiteX4" fmla="*/ 1329030 w 1839169"/>
              <a:gd name="connsiteY4" fmla="*/ 481263 h 950944"/>
              <a:gd name="connsiteX5" fmla="*/ 718760 w 1839169"/>
              <a:gd name="connsiteY5" fmla="*/ 830531 h 950944"/>
              <a:gd name="connsiteX6" fmla="*/ 0 w 1839169"/>
              <a:gd name="connsiteY6" fmla="*/ 950944 h 950944"/>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329030 w 1889323"/>
              <a:gd name="connsiteY4" fmla="*/ 492562 h 962243"/>
              <a:gd name="connsiteX5" fmla="*/ 718760 w 1889323"/>
              <a:gd name="connsiteY5" fmla="*/ 841830 h 962243"/>
              <a:gd name="connsiteX6" fmla="*/ 0 w 1889323"/>
              <a:gd name="connsiteY6" fmla="*/ 962243 h 962243"/>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329030 w 1889323"/>
              <a:gd name="connsiteY4" fmla="*/ 492562 h 962243"/>
              <a:gd name="connsiteX5" fmla="*/ 718760 w 1889323"/>
              <a:gd name="connsiteY5" fmla="*/ 841830 h 962243"/>
              <a:gd name="connsiteX6" fmla="*/ 0 w 1889323"/>
              <a:gd name="connsiteY6" fmla="*/ 962243 h 962243"/>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406546 w 1889323"/>
              <a:gd name="connsiteY4" fmla="*/ 505652 h 962243"/>
              <a:gd name="connsiteX5" fmla="*/ 718760 w 1889323"/>
              <a:gd name="connsiteY5" fmla="*/ 841830 h 962243"/>
              <a:gd name="connsiteX6" fmla="*/ 0 w 1889323"/>
              <a:gd name="connsiteY6" fmla="*/ 962243 h 962243"/>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406546 w 1889323"/>
              <a:gd name="connsiteY4" fmla="*/ 505652 h 962243"/>
              <a:gd name="connsiteX5" fmla="*/ 721918 w 1889323"/>
              <a:gd name="connsiteY5" fmla="*/ 861921 h 962243"/>
              <a:gd name="connsiteX6" fmla="*/ 0 w 1889323"/>
              <a:gd name="connsiteY6" fmla="*/ 962243 h 962243"/>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27883 w 1910660"/>
              <a:gd name="connsiteY4" fmla="*/ 505652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27883 w 1910660"/>
              <a:gd name="connsiteY4" fmla="*/ 505652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27883 w 1910660"/>
              <a:gd name="connsiteY4" fmla="*/ 505652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34283 w 1910660"/>
              <a:gd name="connsiteY4" fmla="*/ 518666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34283 w 1910660"/>
              <a:gd name="connsiteY4" fmla="*/ 51866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39801 w 1910660"/>
              <a:gd name="connsiteY2" fmla="*/ 145890 h 981351"/>
              <a:gd name="connsiteX3" fmla="*/ 1910660 w 1910660"/>
              <a:gd name="connsiteY3" fmla="*/ 0 h 981351"/>
              <a:gd name="connsiteX4" fmla="*/ 1434283 w 1910660"/>
              <a:gd name="connsiteY4" fmla="*/ 51866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34283 w 1910660"/>
              <a:gd name="connsiteY4" fmla="*/ 51866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85569 w 1910660"/>
              <a:gd name="connsiteY4" fmla="*/ 49265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85569 w 1910660"/>
              <a:gd name="connsiteY4" fmla="*/ 49265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7205"/>
              <a:gd name="connsiteY0" fmla="*/ 981089 h 981089"/>
              <a:gd name="connsiteX1" fmla="*/ 614616 w 1917205"/>
              <a:gd name="connsiteY1" fmla="*/ 399788 h 981089"/>
              <a:gd name="connsiteX2" fmla="*/ 1151739 w 1917205"/>
              <a:gd name="connsiteY2" fmla="*/ 138453 h 981089"/>
              <a:gd name="connsiteX3" fmla="*/ 1917205 w 1917205"/>
              <a:gd name="connsiteY3" fmla="*/ 0 h 981089"/>
              <a:gd name="connsiteX4" fmla="*/ 1490661 w 1917205"/>
              <a:gd name="connsiteY4" fmla="*/ 477290 h 981089"/>
              <a:gd name="connsiteX5" fmla="*/ 769551 w 1917205"/>
              <a:gd name="connsiteY5" fmla="*/ 862713 h 981089"/>
              <a:gd name="connsiteX6" fmla="*/ 0 w 1917205"/>
              <a:gd name="connsiteY6" fmla="*/ 981089 h 981089"/>
              <a:gd name="connsiteX0" fmla="*/ 0 w 1928243"/>
              <a:gd name="connsiteY0" fmla="*/ 982129 h 982129"/>
              <a:gd name="connsiteX1" fmla="*/ 614616 w 1928243"/>
              <a:gd name="connsiteY1" fmla="*/ 400828 h 982129"/>
              <a:gd name="connsiteX2" fmla="*/ 1151739 w 1928243"/>
              <a:gd name="connsiteY2" fmla="*/ 139493 h 982129"/>
              <a:gd name="connsiteX3" fmla="*/ 1928243 w 1928243"/>
              <a:gd name="connsiteY3" fmla="*/ 0 h 982129"/>
              <a:gd name="connsiteX4" fmla="*/ 1490661 w 1928243"/>
              <a:gd name="connsiteY4" fmla="*/ 478330 h 982129"/>
              <a:gd name="connsiteX5" fmla="*/ 769551 w 1928243"/>
              <a:gd name="connsiteY5" fmla="*/ 863753 h 982129"/>
              <a:gd name="connsiteX6" fmla="*/ 0 w 1928243"/>
              <a:gd name="connsiteY6" fmla="*/ 982129 h 982129"/>
              <a:gd name="connsiteX0" fmla="*/ 0 w 1928243"/>
              <a:gd name="connsiteY0" fmla="*/ 982129 h 982129"/>
              <a:gd name="connsiteX1" fmla="*/ 614616 w 1928243"/>
              <a:gd name="connsiteY1" fmla="*/ 400828 h 982129"/>
              <a:gd name="connsiteX2" fmla="*/ 1151739 w 1928243"/>
              <a:gd name="connsiteY2" fmla="*/ 139493 h 982129"/>
              <a:gd name="connsiteX3" fmla="*/ 1928243 w 1928243"/>
              <a:gd name="connsiteY3" fmla="*/ 0 h 982129"/>
              <a:gd name="connsiteX4" fmla="*/ 1490661 w 1928243"/>
              <a:gd name="connsiteY4" fmla="*/ 478330 h 982129"/>
              <a:gd name="connsiteX5" fmla="*/ 769551 w 1928243"/>
              <a:gd name="connsiteY5" fmla="*/ 863753 h 982129"/>
              <a:gd name="connsiteX6" fmla="*/ 0 w 1928243"/>
              <a:gd name="connsiteY6" fmla="*/ 982129 h 982129"/>
              <a:gd name="connsiteX0" fmla="*/ 0 w 1928243"/>
              <a:gd name="connsiteY0" fmla="*/ 982129 h 982129"/>
              <a:gd name="connsiteX1" fmla="*/ 614616 w 1928243"/>
              <a:gd name="connsiteY1" fmla="*/ 400828 h 982129"/>
              <a:gd name="connsiteX2" fmla="*/ 1151739 w 1928243"/>
              <a:gd name="connsiteY2" fmla="*/ 139493 h 982129"/>
              <a:gd name="connsiteX3" fmla="*/ 1928243 w 1928243"/>
              <a:gd name="connsiteY3" fmla="*/ 0 h 982129"/>
              <a:gd name="connsiteX4" fmla="*/ 1490661 w 1928243"/>
              <a:gd name="connsiteY4" fmla="*/ 478330 h 982129"/>
              <a:gd name="connsiteX5" fmla="*/ 769551 w 1928243"/>
              <a:gd name="connsiteY5" fmla="*/ 863753 h 982129"/>
              <a:gd name="connsiteX6" fmla="*/ 0 w 1928243"/>
              <a:gd name="connsiteY6" fmla="*/ 982129 h 982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8243" h="982129">
                <a:moveTo>
                  <a:pt x="0" y="982129"/>
                </a:moveTo>
                <a:cubicBezTo>
                  <a:pt x="222870" y="793691"/>
                  <a:pt x="414784" y="526469"/>
                  <a:pt x="614616" y="400828"/>
                </a:cubicBezTo>
                <a:cubicBezTo>
                  <a:pt x="814448" y="275187"/>
                  <a:pt x="932801" y="206298"/>
                  <a:pt x="1151739" y="139493"/>
                </a:cubicBezTo>
                <a:cubicBezTo>
                  <a:pt x="1370677" y="72688"/>
                  <a:pt x="1608569" y="14507"/>
                  <a:pt x="1928243" y="0"/>
                </a:cubicBezTo>
                <a:cubicBezTo>
                  <a:pt x="1843665" y="107229"/>
                  <a:pt x="1712682" y="301142"/>
                  <a:pt x="1490661" y="478330"/>
                </a:cubicBezTo>
                <a:cubicBezTo>
                  <a:pt x="1291739" y="616292"/>
                  <a:pt x="1017994" y="779787"/>
                  <a:pt x="769551" y="863753"/>
                </a:cubicBezTo>
                <a:cubicBezTo>
                  <a:pt x="521108" y="947719"/>
                  <a:pt x="268507" y="974216"/>
                  <a:pt x="0" y="982129"/>
                </a:cubicBezTo>
                <a:close/>
              </a:path>
            </a:pathLst>
          </a:custGeom>
          <a:gradFill flip="none" rotWithShape="1">
            <a:gsLst>
              <a:gs pos="37000">
                <a:srgbClr val="86D598"/>
              </a:gs>
              <a:gs pos="14000">
                <a:srgbClr val="3ED06F"/>
              </a:gs>
              <a:gs pos="67000">
                <a:srgbClr val="F1A29C">
                  <a:lumMod val="94000"/>
                </a:srgbClr>
              </a:gs>
              <a:gs pos="50000">
                <a:srgbClr val="E4EBDD">
                  <a:lumMod val="90000"/>
                </a:srgbClr>
              </a:gs>
              <a:gs pos="92000">
                <a:srgbClr val="FB4F4F">
                  <a:lumMod val="98000"/>
                </a:srgbClr>
              </a:gs>
            </a:gsLst>
            <a:lin ang="8100000" scaled="1"/>
            <a:tileRect/>
          </a:gradFill>
          <a:ln>
            <a:noFill/>
          </a:ln>
          <a:extLst/>
        </p:spPr>
        <p:txBody>
          <a:bodyPr wrap="none" lIns="83058" tIns="43190" rIns="83058" bIns="43190"/>
          <a:lstStyle/>
          <a:p>
            <a:pPr defTabSz="844083">
              <a:defRPr/>
            </a:pPr>
            <a:endParaRPr lang="de-DE" sz="1477" dirty="0">
              <a:solidFill>
                <a:srgbClr val="000000"/>
              </a:solidFill>
              <a:latin typeface="Arial"/>
              <a:cs typeface="Arial" charset="0"/>
            </a:endParaRPr>
          </a:p>
        </p:txBody>
      </p:sp>
      <p:grpSp>
        <p:nvGrpSpPr>
          <p:cNvPr id="49" name="Gruppieren 82"/>
          <p:cNvGrpSpPr/>
          <p:nvPr/>
        </p:nvGrpSpPr>
        <p:grpSpPr>
          <a:xfrm>
            <a:off x="1908999" y="3574017"/>
            <a:ext cx="4127214" cy="2042535"/>
            <a:chOff x="1649581" y="3714729"/>
            <a:chExt cx="4516799" cy="2212746"/>
          </a:xfrm>
        </p:grpSpPr>
        <p:sp>
          <p:nvSpPr>
            <p:cNvPr id="50" name="Freihandform 9"/>
            <p:cNvSpPr>
              <a:spLocks noChangeArrowheads="1"/>
            </p:cNvSpPr>
            <p:nvPr/>
          </p:nvSpPr>
          <p:spPr bwMode="auto">
            <a:xfrm>
              <a:off x="1649581" y="3714729"/>
              <a:ext cx="3762451" cy="2212746"/>
            </a:xfrm>
            <a:custGeom>
              <a:avLst/>
              <a:gdLst>
                <a:gd name="T0" fmla="*/ 24855 w 4279231"/>
                <a:gd name="T1" fmla="*/ 1761059 h 1770246"/>
                <a:gd name="T2" fmla="*/ 82581 w 4279231"/>
                <a:gd name="T3" fmla="*/ 1732189 h 1770246"/>
                <a:gd name="T4" fmla="*/ 669470 w 4279231"/>
                <a:gd name="T5" fmla="*/ 1481985 h 1770246"/>
                <a:gd name="T6" fmla="*/ 1593100 w 4279231"/>
                <a:gd name="T7" fmla="*/ 702498 h 1770246"/>
                <a:gd name="T8" fmla="*/ 2093398 w 4279231"/>
                <a:gd name="T9" fmla="*/ 413800 h 1770246"/>
                <a:gd name="T10" fmla="*/ 2978542 w 4279231"/>
                <a:gd name="T11" fmla="*/ 163596 h 1770246"/>
                <a:gd name="T12" fmla="*/ 4277393 w 4279231"/>
                <a:gd name="T13" fmla="*/ 0 h 1770246"/>
                <a:gd name="T14" fmla="*/ 0 60000 65536"/>
                <a:gd name="T15" fmla="*/ 0 60000 65536"/>
                <a:gd name="T16" fmla="*/ 0 60000 65536"/>
                <a:gd name="T17" fmla="*/ 0 60000 65536"/>
                <a:gd name="T18" fmla="*/ 0 60000 65536"/>
                <a:gd name="T19" fmla="*/ 0 60000 65536"/>
                <a:gd name="T20" fmla="*/ 0 60000 65536"/>
                <a:gd name="T21" fmla="*/ 0 w 4279231"/>
                <a:gd name="T22" fmla="*/ 0 h 1770246"/>
                <a:gd name="T23" fmla="*/ 4279231 w 4279231"/>
                <a:gd name="T24" fmla="*/ 1770246 h 1770246"/>
                <a:gd name="connsiteX0" fmla="*/ 0 w 4254366"/>
                <a:gd name="connsiteY0" fmla="*/ 1761423 h 1761423"/>
                <a:gd name="connsiteX1" fmla="*/ 644893 w 4254366"/>
                <a:gd name="connsiteY1" fmla="*/ 1482291 h 1761423"/>
                <a:gd name="connsiteX2" fmla="*/ 1568918 w 4254366"/>
                <a:gd name="connsiteY2" fmla="*/ 702644 h 1761423"/>
                <a:gd name="connsiteX3" fmla="*/ 2069432 w 4254366"/>
                <a:gd name="connsiteY3" fmla="*/ 413886 h 1761423"/>
                <a:gd name="connsiteX4" fmla="*/ 2954956 w 4254366"/>
                <a:gd name="connsiteY4" fmla="*/ 163630 h 1761423"/>
                <a:gd name="connsiteX5" fmla="*/ 4254366 w 4254366"/>
                <a:gd name="connsiteY5" fmla="*/ 0 h 1761423"/>
                <a:gd name="connsiteX0" fmla="*/ 0 w 4703568"/>
                <a:gd name="connsiteY0" fmla="*/ 1726616 h 1726616"/>
                <a:gd name="connsiteX1" fmla="*/ 1094095 w 4703568"/>
                <a:gd name="connsiteY1" fmla="*/ 1482291 h 1726616"/>
                <a:gd name="connsiteX2" fmla="*/ 2018120 w 4703568"/>
                <a:gd name="connsiteY2" fmla="*/ 702644 h 1726616"/>
                <a:gd name="connsiteX3" fmla="*/ 2518634 w 4703568"/>
                <a:gd name="connsiteY3" fmla="*/ 413886 h 1726616"/>
                <a:gd name="connsiteX4" fmla="*/ 3404158 w 4703568"/>
                <a:gd name="connsiteY4" fmla="*/ 163630 h 1726616"/>
                <a:gd name="connsiteX5" fmla="*/ 4703568 w 4703568"/>
                <a:gd name="connsiteY5" fmla="*/ 0 h 1726616"/>
                <a:gd name="connsiteX0" fmla="*/ 0 w 4703568"/>
                <a:gd name="connsiteY0" fmla="*/ 1726616 h 1726616"/>
                <a:gd name="connsiteX1" fmla="*/ 1094095 w 4703568"/>
                <a:gd name="connsiteY1" fmla="*/ 1482291 h 1726616"/>
                <a:gd name="connsiteX2" fmla="*/ 2018120 w 4703568"/>
                <a:gd name="connsiteY2" fmla="*/ 702644 h 1726616"/>
                <a:gd name="connsiteX3" fmla="*/ 2518634 w 4703568"/>
                <a:gd name="connsiteY3" fmla="*/ 413886 h 1726616"/>
                <a:gd name="connsiteX4" fmla="*/ 3404158 w 4703568"/>
                <a:gd name="connsiteY4" fmla="*/ 163630 h 1726616"/>
                <a:gd name="connsiteX5" fmla="*/ 4703568 w 4703568"/>
                <a:gd name="connsiteY5" fmla="*/ 0 h 1726616"/>
                <a:gd name="connsiteX0" fmla="*/ 0 w 4703568"/>
                <a:gd name="connsiteY0" fmla="*/ 1726616 h 1726616"/>
                <a:gd name="connsiteX1" fmla="*/ 1094095 w 4703568"/>
                <a:gd name="connsiteY1" fmla="*/ 1482291 h 1726616"/>
                <a:gd name="connsiteX2" fmla="*/ 2018120 w 4703568"/>
                <a:gd name="connsiteY2" fmla="*/ 702644 h 1726616"/>
                <a:gd name="connsiteX3" fmla="*/ 2518634 w 4703568"/>
                <a:gd name="connsiteY3" fmla="*/ 413886 h 1726616"/>
                <a:gd name="connsiteX4" fmla="*/ 3404158 w 4703568"/>
                <a:gd name="connsiteY4" fmla="*/ 163630 h 1726616"/>
                <a:gd name="connsiteX5" fmla="*/ 4703568 w 4703568"/>
                <a:gd name="connsiteY5" fmla="*/ 0 h 1726616"/>
                <a:gd name="connsiteX0" fmla="*/ 0 w 5164591"/>
                <a:gd name="connsiteY0" fmla="*/ 1747500 h 1747500"/>
                <a:gd name="connsiteX1" fmla="*/ 1555118 w 5164591"/>
                <a:gd name="connsiteY1" fmla="*/ 1482291 h 1747500"/>
                <a:gd name="connsiteX2" fmla="*/ 2479143 w 5164591"/>
                <a:gd name="connsiteY2" fmla="*/ 702644 h 1747500"/>
                <a:gd name="connsiteX3" fmla="*/ 2979657 w 5164591"/>
                <a:gd name="connsiteY3" fmla="*/ 413886 h 1747500"/>
                <a:gd name="connsiteX4" fmla="*/ 3865181 w 5164591"/>
                <a:gd name="connsiteY4" fmla="*/ 163630 h 1747500"/>
                <a:gd name="connsiteX5" fmla="*/ 5164591 w 5164591"/>
                <a:gd name="connsiteY5" fmla="*/ 0 h 1747500"/>
                <a:gd name="connsiteX0" fmla="*/ 0 w 5164591"/>
                <a:gd name="connsiteY0" fmla="*/ 1747500 h 1747500"/>
                <a:gd name="connsiteX1" fmla="*/ 1555118 w 5164591"/>
                <a:gd name="connsiteY1" fmla="*/ 1482291 h 1747500"/>
                <a:gd name="connsiteX2" fmla="*/ 2479143 w 5164591"/>
                <a:gd name="connsiteY2" fmla="*/ 702644 h 1747500"/>
                <a:gd name="connsiteX3" fmla="*/ 2979657 w 5164591"/>
                <a:gd name="connsiteY3" fmla="*/ 413886 h 1747500"/>
                <a:gd name="connsiteX4" fmla="*/ 3865181 w 5164591"/>
                <a:gd name="connsiteY4" fmla="*/ 163630 h 1747500"/>
                <a:gd name="connsiteX5" fmla="*/ 5164591 w 5164591"/>
                <a:gd name="connsiteY5" fmla="*/ 0 h 1747500"/>
                <a:gd name="connsiteX0" fmla="*/ 0 w 4674687"/>
                <a:gd name="connsiteY0" fmla="*/ 1700316 h 1700316"/>
                <a:gd name="connsiteX1" fmla="*/ 1555118 w 4674687"/>
                <a:gd name="connsiteY1" fmla="*/ 1435107 h 1700316"/>
                <a:gd name="connsiteX2" fmla="*/ 2479143 w 4674687"/>
                <a:gd name="connsiteY2" fmla="*/ 655460 h 1700316"/>
                <a:gd name="connsiteX3" fmla="*/ 2979657 w 4674687"/>
                <a:gd name="connsiteY3" fmla="*/ 366702 h 1700316"/>
                <a:gd name="connsiteX4" fmla="*/ 3865181 w 4674687"/>
                <a:gd name="connsiteY4" fmla="*/ 116446 h 1700316"/>
                <a:gd name="connsiteX5" fmla="*/ 4674687 w 4674687"/>
                <a:gd name="connsiteY5" fmla="*/ 0 h 1700316"/>
                <a:gd name="connsiteX0" fmla="*/ 0 w 4674687"/>
                <a:gd name="connsiteY0" fmla="*/ 1700316 h 1700316"/>
                <a:gd name="connsiteX1" fmla="*/ 1555118 w 4674687"/>
                <a:gd name="connsiteY1" fmla="*/ 1435107 h 1700316"/>
                <a:gd name="connsiteX2" fmla="*/ 2479143 w 4674687"/>
                <a:gd name="connsiteY2" fmla="*/ 655460 h 1700316"/>
                <a:gd name="connsiteX3" fmla="*/ 2979657 w 4674687"/>
                <a:gd name="connsiteY3" fmla="*/ 366702 h 1700316"/>
                <a:gd name="connsiteX4" fmla="*/ 3865181 w 4674687"/>
                <a:gd name="connsiteY4" fmla="*/ 116446 h 1700316"/>
                <a:gd name="connsiteX5" fmla="*/ 4674687 w 4674687"/>
                <a:gd name="connsiteY5" fmla="*/ 0 h 1700316"/>
                <a:gd name="connsiteX0" fmla="*/ 0 w 4674687"/>
                <a:gd name="connsiteY0" fmla="*/ 1700316 h 1700316"/>
                <a:gd name="connsiteX1" fmla="*/ 1555118 w 4674687"/>
                <a:gd name="connsiteY1" fmla="*/ 1435107 h 1700316"/>
                <a:gd name="connsiteX2" fmla="*/ 2479143 w 4674687"/>
                <a:gd name="connsiteY2" fmla="*/ 655460 h 1700316"/>
                <a:gd name="connsiteX3" fmla="*/ 2979657 w 4674687"/>
                <a:gd name="connsiteY3" fmla="*/ 366702 h 1700316"/>
                <a:gd name="connsiteX4" fmla="*/ 3865181 w 4674687"/>
                <a:gd name="connsiteY4" fmla="*/ 116446 h 1700316"/>
                <a:gd name="connsiteX5" fmla="*/ 4674687 w 4674687"/>
                <a:gd name="connsiteY5" fmla="*/ 0 h 1700316"/>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589897"/>
                <a:gd name="connsiteY0" fmla="*/ 1659030 h 1659030"/>
                <a:gd name="connsiteX1" fmla="*/ 1555118 w 4589897"/>
                <a:gd name="connsiteY1" fmla="*/ 1393821 h 1659030"/>
                <a:gd name="connsiteX2" fmla="*/ 2479143 w 4589897"/>
                <a:gd name="connsiteY2" fmla="*/ 614174 h 1659030"/>
                <a:gd name="connsiteX3" fmla="*/ 2979657 w 4589897"/>
                <a:gd name="connsiteY3" fmla="*/ 325416 h 1659030"/>
                <a:gd name="connsiteX4" fmla="*/ 3865181 w 4589897"/>
                <a:gd name="connsiteY4" fmla="*/ 75160 h 1659030"/>
                <a:gd name="connsiteX5" fmla="*/ 4589897 w 4589897"/>
                <a:gd name="connsiteY5"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2979657 w 4589897"/>
                <a:gd name="connsiteY3" fmla="*/ 325416 h 1659030"/>
                <a:gd name="connsiteX4" fmla="*/ 3865181 w 4589897"/>
                <a:gd name="connsiteY4" fmla="*/ 75160 h 1659030"/>
                <a:gd name="connsiteX5" fmla="*/ 4589897 w 4589897"/>
                <a:gd name="connsiteY5"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2979657 w 4589897"/>
                <a:gd name="connsiteY3" fmla="*/ 325416 h 1659030"/>
                <a:gd name="connsiteX4" fmla="*/ 4589897 w 4589897"/>
                <a:gd name="connsiteY4"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3215187 w 4589897"/>
                <a:gd name="connsiteY3" fmla="*/ 231048 h 1659030"/>
                <a:gd name="connsiteX4" fmla="*/ 4589897 w 4589897"/>
                <a:gd name="connsiteY4"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3215187 w 4589897"/>
                <a:gd name="connsiteY3" fmla="*/ 231048 h 1659030"/>
                <a:gd name="connsiteX4" fmla="*/ 4589897 w 4589897"/>
                <a:gd name="connsiteY4" fmla="*/ 0 h 1659030"/>
                <a:gd name="connsiteX0" fmla="*/ 0 w 4552211"/>
                <a:gd name="connsiteY0" fmla="*/ 1653132 h 1653132"/>
                <a:gd name="connsiteX1" fmla="*/ 1555118 w 4552211"/>
                <a:gd name="connsiteY1" fmla="*/ 1387923 h 1653132"/>
                <a:gd name="connsiteX2" fmla="*/ 2479143 w 4552211"/>
                <a:gd name="connsiteY2" fmla="*/ 608276 h 1653132"/>
                <a:gd name="connsiteX3" fmla="*/ 3215187 w 4552211"/>
                <a:gd name="connsiteY3" fmla="*/ 225150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15187 w 4552211"/>
                <a:gd name="connsiteY3" fmla="*/ 225150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05766 w 4552211"/>
                <a:gd name="connsiteY3" fmla="*/ 231048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05766 w 4552211"/>
                <a:gd name="connsiteY3" fmla="*/ 231048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05766 w 4552211"/>
                <a:gd name="connsiteY3" fmla="*/ 231048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43452 w 4552211"/>
                <a:gd name="connsiteY3" fmla="*/ 225150 h 1653132"/>
                <a:gd name="connsiteX4" fmla="*/ 4552211 w 4552211"/>
                <a:gd name="connsiteY4" fmla="*/ 0 h 1653132"/>
                <a:gd name="connsiteX0" fmla="*/ 0 w 4533369"/>
                <a:gd name="connsiteY0" fmla="*/ 1623642 h 1623642"/>
                <a:gd name="connsiteX1" fmla="*/ 1555118 w 4533369"/>
                <a:gd name="connsiteY1" fmla="*/ 1358433 h 1623642"/>
                <a:gd name="connsiteX2" fmla="*/ 2479143 w 4533369"/>
                <a:gd name="connsiteY2" fmla="*/ 578786 h 1623642"/>
                <a:gd name="connsiteX3" fmla="*/ 3243452 w 4533369"/>
                <a:gd name="connsiteY3" fmla="*/ 195660 h 1623642"/>
                <a:gd name="connsiteX4" fmla="*/ 4533369 w 4533369"/>
                <a:gd name="connsiteY4" fmla="*/ 0 h 1623642"/>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6806 w 4458000"/>
                <a:gd name="connsiteY3" fmla="*/ 2028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56869 w 4458000"/>
                <a:gd name="connsiteY3" fmla="*/ 2049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56869 w 4458000"/>
                <a:gd name="connsiteY3" fmla="*/ 204954 h 1641336"/>
                <a:gd name="connsiteX4" fmla="*/ 4458000 w 4458000"/>
                <a:gd name="connsiteY4" fmla="*/ 0 h 1641336"/>
                <a:gd name="connsiteX0" fmla="*/ 0 w 4458000"/>
                <a:gd name="connsiteY0" fmla="*/ 1641336 h 1641336"/>
                <a:gd name="connsiteX1" fmla="*/ 1555118 w 4458000"/>
                <a:gd name="connsiteY1" fmla="*/ 1376127 h 1641336"/>
                <a:gd name="connsiteX2" fmla="*/ 2417484 w 4458000"/>
                <a:gd name="connsiteY2" fmla="*/ 582694 h 1641336"/>
                <a:gd name="connsiteX3" fmla="*/ 3256869 w 4458000"/>
                <a:gd name="connsiteY3" fmla="*/ 204954 h 1641336"/>
                <a:gd name="connsiteX4" fmla="*/ 4458000 w 4458000"/>
                <a:gd name="connsiteY4" fmla="*/ 0 h 1641336"/>
                <a:gd name="connsiteX0" fmla="*/ 0 w 4458000"/>
                <a:gd name="connsiteY0" fmla="*/ 1641336 h 1641336"/>
                <a:gd name="connsiteX1" fmla="*/ 1555118 w 4458000"/>
                <a:gd name="connsiteY1" fmla="*/ 1376127 h 1641336"/>
                <a:gd name="connsiteX2" fmla="*/ 2417484 w 4458000"/>
                <a:gd name="connsiteY2" fmla="*/ 582694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8000" h="1641336">
                  <a:moveTo>
                    <a:pt x="0" y="1641336"/>
                  </a:moveTo>
                  <a:cubicBezTo>
                    <a:pt x="689945" y="1617991"/>
                    <a:pt x="1210193" y="1541998"/>
                    <a:pt x="1555118" y="1376127"/>
                  </a:cubicBezTo>
                  <a:cubicBezTo>
                    <a:pt x="1900043" y="1210256"/>
                    <a:pt x="2081742" y="846820"/>
                    <a:pt x="2333803" y="646109"/>
                  </a:cubicBezTo>
                  <a:cubicBezTo>
                    <a:pt x="2585864" y="445398"/>
                    <a:pt x="2898432" y="279553"/>
                    <a:pt x="3252465" y="171868"/>
                  </a:cubicBezTo>
                  <a:cubicBezTo>
                    <a:pt x="3606498" y="64183"/>
                    <a:pt x="4072224" y="2039"/>
                    <a:pt x="4458000" y="0"/>
                  </a:cubicBezTo>
                </a:path>
              </a:pathLst>
            </a:custGeom>
            <a:noFill/>
            <a:ln w="25400" cap="rnd"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lIns="83058" tIns="43190" rIns="83058" bIns="43190"/>
            <a:lstStyle/>
            <a:p>
              <a:pPr defTabSz="844083" eaLnBrk="1" hangingPunct="1">
                <a:spcAft>
                  <a:spcPct val="0"/>
                </a:spcAft>
                <a:defRPr/>
              </a:pPr>
              <a:endParaRPr lang="de-DE" sz="1385" dirty="0">
                <a:solidFill>
                  <a:srgbClr val="000000"/>
                </a:solidFill>
                <a:latin typeface="Arial"/>
                <a:cs typeface="Arial" charset="0"/>
              </a:endParaRPr>
            </a:p>
          </p:txBody>
        </p:sp>
        <p:sp>
          <p:nvSpPr>
            <p:cNvPr id="51" name="Freihandform 57"/>
            <p:cNvSpPr/>
            <p:nvPr/>
          </p:nvSpPr>
          <p:spPr>
            <a:xfrm rot="248835">
              <a:off x="5481242" y="3727012"/>
              <a:ext cx="685138" cy="12277"/>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2091"/>
                <a:gd name="connsiteY0" fmla="*/ 21054 h 21054"/>
                <a:gd name="connsiteX1" fmla="*/ 12091 w 12091"/>
                <a:gd name="connsiteY1" fmla="*/ 0 h 21054"/>
                <a:gd name="connsiteX0" fmla="*/ 0 w 12039"/>
                <a:gd name="connsiteY0" fmla="*/ 4473 h 4473"/>
                <a:gd name="connsiteX1" fmla="*/ 12039 w 12039"/>
                <a:gd name="connsiteY1" fmla="*/ 0 h 4473"/>
                <a:gd name="connsiteX0" fmla="*/ 0 w 10000"/>
                <a:gd name="connsiteY0" fmla="*/ 14454 h 14454"/>
                <a:gd name="connsiteX1" fmla="*/ 10000 w 10000"/>
                <a:gd name="connsiteY1" fmla="*/ 4454 h 14454"/>
                <a:gd name="connsiteX0" fmla="*/ 0 w 10000"/>
                <a:gd name="connsiteY0" fmla="*/ 17863 h 17863"/>
                <a:gd name="connsiteX1" fmla="*/ 10000 w 10000"/>
                <a:gd name="connsiteY1" fmla="*/ 7863 h 17863"/>
              </a:gdLst>
              <a:ahLst/>
              <a:cxnLst>
                <a:cxn ang="0">
                  <a:pos x="connsiteX0" y="connsiteY0"/>
                </a:cxn>
                <a:cxn ang="0">
                  <a:pos x="connsiteX1" y="connsiteY1"/>
                </a:cxn>
              </a:cxnLst>
              <a:rect l="l" t="t" r="r" b="b"/>
              <a:pathLst>
                <a:path w="10000" h="17863">
                  <a:moveTo>
                    <a:pt x="0" y="17863"/>
                  </a:moveTo>
                  <a:cubicBezTo>
                    <a:pt x="3594" y="-1947"/>
                    <a:pt x="6710" y="-5280"/>
                    <a:pt x="10000" y="7863"/>
                  </a:cubicBezTo>
                </a:path>
              </a:pathLst>
            </a:custGeom>
            <a:noFill/>
            <a:ln w="25400" cap="rnd" algn="ctr">
              <a:solidFill>
                <a:schemeClr val="bg2"/>
              </a:solidFill>
              <a:prstDash val="sysDash"/>
              <a:round/>
              <a:headEnd/>
              <a:tailEnd/>
            </a:ln>
          </p:spPr>
          <p:txBody>
            <a:bodyPr wrap="none" lIns="83058" tIns="43190" rIns="83058" bIns="43190"/>
            <a:lstStyle/>
            <a:p>
              <a:pPr defTabSz="844083" eaLnBrk="1" hangingPunct="1">
                <a:spcAft>
                  <a:spcPct val="0"/>
                </a:spcAft>
                <a:defRPr/>
              </a:pPr>
              <a:endParaRPr lang="de-DE" sz="1385" dirty="0">
                <a:solidFill>
                  <a:srgbClr val="000000"/>
                </a:solidFill>
                <a:latin typeface="Arial"/>
                <a:cs typeface="Arial" charset="0"/>
              </a:endParaRPr>
            </a:p>
          </p:txBody>
        </p:sp>
        <p:sp>
          <p:nvSpPr>
            <p:cNvPr id="52" name="Freihandform 58"/>
            <p:cNvSpPr/>
            <p:nvPr/>
          </p:nvSpPr>
          <p:spPr>
            <a:xfrm rot="1324690">
              <a:off x="5454736" y="3808489"/>
              <a:ext cx="661156" cy="71226"/>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6488 h 16488"/>
                <a:gd name="connsiteX1" fmla="*/ 10000 w 10000"/>
                <a:gd name="connsiteY1" fmla="*/ 6488 h 16488"/>
                <a:gd name="connsiteX0" fmla="*/ 0 w 10000"/>
                <a:gd name="connsiteY0" fmla="*/ 31774 h 31774"/>
                <a:gd name="connsiteX1" fmla="*/ 10000 w 10000"/>
                <a:gd name="connsiteY1" fmla="*/ 21774 h 31774"/>
                <a:gd name="connsiteX0" fmla="*/ 0 w 10000"/>
                <a:gd name="connsiteY0" fmla="*/ 38044 h 38044"/>
                <a:gd name="connsiteX1" fmla="*/ 10000 w 10000"/>
                <a:gd name="connsiteY1" fmla="*/ 28044 h 38044"/>
                <a:gd name="connsiteX0" fmla="*/ 0 w 11374"/>
                <a:gd name="connsiteY0" fmla="*/ 24544 h 50576"/>
                <a:gd name="connsiteX1" fmla="*/ 11374 w 11374"/>
                <a:gd name="connsiteY1" fmla="*/ 50576 h 50576"/>
                <a:gd name="connsiteX0" fmla="*/ 0 w 11374"/>
                <a:gd name="connsiteY0" fmla="*/ 14232 h 40264"/>
                <a:gd name="connsiteX1" fmla="*/ 11374 w 11374"/>
                <a:gd name="connsiteY1" fmla="*/ 40264 h 40264"/>
                <a:gd name="connsiteX0" fmla="*/ 0 w 11374"/>
                <a:gd name="connsiteY0" fmla="*/ 9796 h 35828"/>
                <a:gd name="connsiteX1" fmla="*/ 11374 w 11374"/>
                <a:gd name="connsiteY1" fmla="*/ 35828 h 35828"/>
                <a:gd name="connsiteX0" fmla="*/ 0 w 11374"/>
                <a:gd name="connsiteY0" fmla="*/ 20322 h 46354"/>
                <a:gd name="connsiteX1" fmla="*/ 11374 w 11374"/>
                <a:gd name="connsiteY1" fmla="*/ 46354 h 46354"/>
              </a:gdLst>
              <a:ahLst/>
              <a:cxnLst>
                <a:cxn ang="0">
                  <a:pos x="connsiteX0" y="connsiteY0"/>
                </a:cxn>
                <a:cxn ang="0">
                  <a:pos x="connsiteX1" y="connsiteY1"/>
                </a:cxn>
              </a:cxnLst>
              <a:rect l="l" t="t" r="r" b="b"/>
              <a:pathLst>
                <a:path w="11374" h="46354">
                  <a:moveTo>
                    <a:pt x="0" y="20322"/>
                  </a:moveTo>
                  <a:cubicBezTo>
                    <a:pt x="4921" y="-22895"/>
                    <a:pt x="8385" y="10968"/>
                    <a:pt x="11374" y="46354"/>
                  </a:cubicBezTo>
                </a:path>
              </a:pathLst>
            </a:custGeom>
            <a:noFill/>
            <a:ln w="25400" cap="rnd" algn="ctr">
              <a:solidFill>
                <a:schemeClr val="bg2"/>
              </a:solidFill>
              <a:prstDash val="sysDash"/>
              <a:round/>
              <a:headEnd/>
              <a:tailEnd/>
            </a:ln>
          </p:spPr>
          <p:txBody>
            <a:bodyPr wrap="none" lIns="83058" tIns="43190" rIns="83058" bIns="43190"/>
            <a:lstStyle/>
            <a:p>
              <a:pPr defTabSz="844083" eaLnBrk="1" hangingPunct="1">
                <a:spcAft>
                  <a:spcPct val="0"/>
                </a:spcAft>
                <a:defRPr/>
              </a:pPr>
              <a:endParaRPr lang="de-DE" sz="1385" dirty="0">
                <a:solidFill>
                  <a:srgbClr val="000000"/>
                </a:solidFill>
                <a:latin typeface="Arial"/>
                <a:cs typeface="Arial" charset="0"/>
              </a:endParaRPr>
            </a:p>
          </p:txBody>
        </p:sp>
      </p:grpSp>
      <p:sp>
        <p:nvSpPr>
          <p:cNvPr id="55" name="Freihandform 10"/>
          <p:cNvSpPr>
            <a:spLocks noChangeArrowheads="1"/>
          </p:cNvSpPr>
          <p:nvPr/>
        </p:nvSpPr>
        <p:spPr bwMode="auto">
          <a:xfrm>
            <a:off x="2974200" y="2342867"/>
            <a:ext cx="3173918" cy="2855275"/>
          </a:xfrm>
          <a:custGeom>
            <a:avLst/>
            <a:gdLst>
              <a:gd name="T0" fmla="*/ 0 w 4591250"/>
              <a:gd name="T1" fmla="*/ 2743200 h 2743200"/>
              <a:gd name="T2" fmla="*/ 914320 w 4591250"/>
              <a:gd name="T3" fmla="*/ 2579570 h 2743200"/>
              <a:gd name="T4" fmla="*/ 1491787 w 4591250"/>
              <a:gd name="T5" fmla="*/ 2367814 h 2743200"/>
              <a:gd name="T6" fmla="*/ 2059628 w 4591250"/>
              <a:gd name="T7" fmla="*/ 1896177 h 2743200"/>
              <a:gd name="T8" fmla="*/ 2637094 w 4591250"/>
              <a:gd name="T9" fmla="*/ 1241659 h 2743200"/>
              <a:gd name="T10" fmla="*/ 3118314 w 4591250"/>
              <a:gd name="T11" fmla="*/ 750770 h 2743200"/>
              <a:gd name="T12" fmla="*/ 3926766 w 4591250"/>
              <a:gd name="T13" fmla="*/ 231006 h 2743200"/>
              <a:gd name="T14" fmla="*/ 4590851 w 4591250"/>
              <a:gd name="T15" fmla="*/ 0 h 2743200"/>
              <a:gd name="T16" fmla="*/ 0 60000 65536"/>
              <a:gd name="T17" fmla="*/ 0 60000 65536"/>
              <a:gd name="T18" fmla="*/ 0 60000 65536"/>
              <a:gd name="T19" fmla="*/ 0 60000 65536"/>
              <a:gd name="T20" fmla="*/ 0 60000 65536"/>
              <a:gd name="T21" fmla="*/ 0 60000 65536"/>
              <a:gd name="T22" fmla="*/ 0 60000 65536"/>
              <a:gd name="T23" fmla="*/ 0 60000 65536"/>
              <a:gd name="T24" fmla="*/ 0 w 4591250"/>
              <a:gd name="T25" fmla="*/ 0 h 2743200"/>
              <a:gd name="T26" fmla="*/ 4591250 w 4591250"/>
              <a:gd name="T27" fmla="*/ 2743200 h 2743200"/>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463353 w 5140203"/>
              <a:gd name="connsiteY1" fmla="*/ 2579570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575639 w 5140203"/>
              <a:gd name="connsiteY1" fmla="*/ 2549342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575639 w 5140203"/>
              <a:gd name="connsiteY1" fmla="*/ 2549342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575639 w 5140203"/>
              <a:gd name="connsiteY1" fmla="*/ 2549342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302393"/>
              <a:gd name="connsiteY0" fmla="*/ 2780986 h 2780986"/>
              <a:gd name="connsiteX1" fmla="*/ 1737829 w 5302393"/>
              <a:gd name="connsiteY1" fmla="*/ 2549342 h 2780986"/>
              <a:gd name="connsiteX2" fmla="*/ 2770949 w 5302393"/>
              <a:gd name="connsiteY2" fmla="*/ 1896177 h 2780986"/>
              <a:gd name="connsiteX3" fmla="*/ 3348465 w 5302393"/>
              <a:gd name="connsiteY3" fmla="*/ 1241659 h 2780986"/>
              <a:gd name="connsiteX4" fmla="*/ 3829728 w 5302393"/>
              <a:gd name="connsiteY4" fmla="*/ 750770 h 2780986"/>
              <a:gd name="connsiteX5" fmla="*/ 4638250 w 5302393"/>
              <a:gd name="connsiteY5" fmla="*/ 231006 h 2780986"/>
              <a:gd name="connsiteX6" fmla="*/ 5302393 w 5302393"/>
              <a:gd name="connsiteY6" fmla="*/ 0 h 2780986"/>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3829728 w 5302393"/>
              <a:gd name="connsiteY4" fmla="*/ 750770 h 2781033"/>
              <a:gd name="connsiteX5" fmla="*/ 4638250 w 5302393"/>
              <a:gd name="connsiteY5" fmla="*/ 231006 h 2781033"/>
              <a:gd name="connsiteX6" fmla="*/ 5302393 w 5302393"/>
              <a:gd name="connsiteY6"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3954491 w 5302393"/>
              <a:gd name="connsiteY4" fmla="*/ 614743 h 2781033"/>
              <a:gd name="connsiteX5" fmla="*/ 4638250 w 5302393"/>
              <a:gd name="connsiteY5" fmla="*/ 231006 h 2781033"/>
              <a:gd name="connsiteX6" fmla="*/ 5302393 w 5302393"/>
              <a:gd name="connsiteY6"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3954491 w 5302393"/>
              <a:gd name="connsiteY4" fmla="*/ 61474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4864764"/>
              <a:gd name="connsiteY0" fmla="*/ 2762806 h 2762862"/>
              <a:gd name="connsiteX1" fmla="*/ 1300200 w 4864764"/>
              <a:gd name="connsiteY1" fmla="*/ 2549342 h 2762862"/>
              <a:gd name="connsiteX2" fmla="*/ 2333320 w 4864764"/>
              <a:gd name="connsiteY2" fmla="*/ 1896177 h 2762862"/>
              <a:gd name="connsiteX3" fmla="*/ 2910836 w 4864764"/>
              <a:gd name="connsiteY3" fmla="*/ 1241659 h 2762862"/>
              <a:gd name="connsiteX4" fmla="*/ 3716480 w 4864764"/>
              <a:gd name="connsiteY4" fmla="*/ 463603 h 2762862"/>
              <a:gd name="connsiteX5" fmla="*/ 4864764 w 4864764"/>
              <a:gd name="connsiteY5" fmla="*/ 0 h 2762862"/>
              <a:gd name="connsiteX0" fmla="*/ 0 w 4864764"/>
              <a:gd name="connsiteY0" fmla="*/ 2762806 h 2762806"/>
              <a:gd name="connsiteX1" fmla="*/ 1300200 w 4864764"/>
              <a:gd name="connsiteY1" fmla="*/ 2549342 h 2762806"/>
              <a:gd name="connsiteX2" fmla="*/ 2333320 w 4864764"/>
              <a:gd name="connsiteY2" fmla="*/ 1896177 h 2762806"/>
              <a:gd name="connsiteX3" fmla="*/ 2910836 w 4864764"/>
              <a:gd name="connsiteY3" fmla="*/ 1241659 h 2762806"/>
              <a:gd name="connsiteX4" fmla="*/ 3716480 w 4864764"/>
              <a:gd name="connsiteY4" fmla="*/ 463603 h 2762806"/>
              <a:gd name="connsiteX5" fmla="*/ 4864764 w 4864764"/>
              <a:gd name="connsiteY5" fmla="*/ 0 h 2762806"/>
              <a:gd name="connsiteX0" fmla="*/ 0 w 4798337"/>
              <a:gd name="connsiteY0" fmla="*/ 2759751 h 2759751"/>
              <a:gd name="connsiteX1" fmla="*/ 1233773 w 4798337"/>
              <a:gd name="connsiteY1" fmla="*/ 2549342 h 2759751"/>
              <a:gd name="connsiteX2" fmla="*/ 2266893 w 4798337"/>
              <a:gd name="connsiteY2" fmla="*/ 1896177 h 2759751"/>
              <a:gd name="connsiteX3" fmla="*/ 2844409 w 4798337"/>
              <a:gd name="connsiteY3" fmla="*/ 1241659 h 2759751"/>
              <a:gd name="connsiteX4" fmla="*/ 3650053 w 4798337"/>
              <a:gd name="connsiteY4" fmla="*/ 463603 h 2759751"/>
              <a:gd name="connsiteX5" fmla="*/ 4798337 w 4798337"/>
              <a:gd name="connsiteY5" fmla="*/ 0 h 2759751"/>
              <a:gd name="connsiteX0" fmla="*/ 0 w 4788394"/>
              <a:gd name="connsiteY0" fmla="*/ 2695724 h 2695724"/>
              <a:gd name="connsiteX1" fmla="*/ 1233773 w 4788394"/>
              <a:gd name="connsiteY1" fmla="*/ 2485315 h 2695724"/>
              <a:gd name="connsiteX2" fmla="*/ 2266893 w 4788394"/>
              <a:gd name="connsiteY2" fmla="*/ 1832150 h 2695724"/>
              <a:gd name="connsiteX3" fmla="*/ 2844409 w 4788394"/>
              <a:gd name="connsiteY3" fmla="*/ 1177632 h 2695724"/>
              <a:gd name="connsiteX4" fmla="*/ 3650053 w 4788394"/>
              <a:gd name="connsiteY4" fmla="*/ 399576 h 2695724"/>
              <a:gd name="connsiteX5" fmla="*/ 4788394 w 4788394"/>
              <a:gd name="connsiteY5" fmla="*/ 0 h 2695724"/>
              <a:gd name="connsiteX0" fmla="*/ 0 w 4788394"/>
              <a:gd name="connsiteY0" fmla="*/ 2695724 h 2695724"/>
              <a:gd name="connsiteX1" fmla="*/ 1233773 w 4788394"/>
              <a:gd name="connsiteY1" fmla="*/ 2485315 h 2695724"/>
              <a:gd name="connsiteX2" fmla="*/ 2266893 w 4788394"/>
              <a:gd name="connsiteY2" fmla="*/ 1832150 h 2695724"/>
              <a:gd name="connsiteX3" fmla="*/ 2844409 w 4788394"/>
              <a:gd name="connsiteY3" fmla="*/ 1177632 h 2695724"/>
              <a:gd name="connsiteX4" fmla="*/ 3650053 w 4788394"/>
              <a:gd name="connsiteY4" fmla="*/ 399576 h 2695724"/>
              <a:gd name="connsiteX5" fmla="*/ 4788394 w 4788394"/>
              <a:gd name="connsiteY5" fmla="*/ 0 h 2695724"/>
              <a:gd name="connsiteX0" fmla="*/ 0 w 4916465"/>
              <a:gd name="connsiteY0" fmla="*/ 2701614 h 2701614"/>
              <a:gd name="connsiteX1" fmla="*/ 1233773 w 4916465"/>
              <a:gd name="connsiteY1" fmla="*/ 2491205 h 2701614"/>
              <a:gd name="connsiteX2" fmla="*/ 2266893 w 4916465"/>
              <a:gd name="connsiteY2" fmla="*/ 1838040 h 2701614"/>
              <a:gd name="connsiteX3" fmla="*/ 2844409 w 4916465"/>
              <a:gd name="connsiteY3" fmla="*/ 1183522 h 2701614"/>
              <a:gd name="connsiteX4" fmla="*/ 3650053 w 4916465"/>
              <a:gd name="connsiteY4" fmla="*/ 405466 h 2701614"/>
              <a:gd name="connsiteX5" fmla="*/ 4916465 w 4916465"/>
              <a:gd name="connsiteY5" fmla="*/ 0 h 2701614"/>
              <a:gd name="connsiteX0" fmla="*/ 0 w 4916465"/>
              <a:gd name="connsiteY0" fmla="*/ 2701614 h 2701614"/>
              <a:gd name="connsiteX1" fmla="*/ 1233773 w 4916465"/>
              <a:gd name="connsiteY1" fmla="*/ 2491205 h 2701614"/>
              <a:gd name="connsiteX2" fmla="*/ 2266893 w 4916465"/>
              <a:gd name="connsiteY2" fmla="*/ 1838040 h 2701614"/>
              <a:gd name="connsiteX3" fmla="*/ 2844409 w 4916465"/>
              <a:gd name="connsiteY3" fmla="*/ 1183522 h 2701614"/>
              <a:gd name="connsiteX4" fmla="*/ 3650053 w 4916465"/>
              <a:gd name="connsiteY4" fmla="*/ 405466 h 2701614"/>
              <a:gd name="connsiteX5" fmla="*/ 4916465 w 4916465"/>
              <a:gd name="connsiteY5" fmla="*/ 0 h 2701614"/>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650053 w 4916465"/>
              <a:gd name="connsiteY4" fmla="*/ 429028 h 2725176"/>
              <a:gd name="connsiteX5" fmla="*/ 4916465 w 4916465"/>
              <a:gd name="connsiteY5" fmla="*/ 0 h 2725176"/>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650053 w 4916465"/>
              <a:gd name="connsiteY4" fmla="*/ 429028 h 2725176"/>
              <a:gd name="connsiteX5" fmla="*/ 4916465 w 4916465"/>
              <a:gd name="connsiteY5" fmla="*/ 0 h 2725176"/>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650053 w 4916465"/>
              <a:gd name="connsiteY4" fmla="*/ 429028 h 2725176"/>
              <a:gd name="connsiteX5" fmla="*/ 4916465 w 4916465"/>
              <a:gd name="connsiteY5" fmla="*/ 0 h 2725176"/>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517090 w 4916465"/>
              <a:gd name="connsiteY4" fmla="*/ 566015 h 2725176"/>
              <a:gd name="connsiteX5" fmla="*/ 4916465 w 4916465"/>
              <a:gd name="connsiteY5" fmla="*/ 0 h 2725176"/>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517090 w 4770205"/>
              <a:gd name="connsiteY4" fmla="*/ 437590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517090 w 4770205"/>
              <a:gd name="connsiteY4" fmla="*/ 437590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485473 w 4733318"/>
              <a:gd name="connsiteY3" fmla="*/ 440983 h 2556033"/>
              <a:gd name="connsiteX4" fmla="*/ 4733318 w 4733318"/>
              <a:gd name="connsiteY4"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333414 w 4733318"/>
              <a:gd name="connsiteY3" fmla="*/ 542813 h 2556033"/>
              <a:gd name="connsiteX4" fmla="*/ 4733318 w 4733318"/>
              <a:gd name="connsiteY4"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333414 w 4733318"/>
              <a:gd name="connsiteY3" fmla="*/ 542813 h 2556033"/>
              <a:gd name="connsiteX4" fmla="*/ 4733318 w 4733318"/>
              <a:gd name="connsiteY4"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333414 w 4733318"/>
              <a:gd name="connsiteY3" fmla="*/ 542813 h 2556033"/>
              <a:gd name="connsiteX4" fmla="*/ 4733318 w 4733318"/>
              <a:gd name="connsiteY4" fmla="*/ 0 h 2556033"/>
              <a:gd name="connsiteX0" fmla="*/ 0 w 4727237"/>
              <a:gd name="connsiteY0" fmla="*/ 2505119 h 2505119"/>
              <a:gd name="connsiteX1" fmla="*/ 1233773 w 4727237"/>
              <a:gd name="connsiteY1" fmla="*/ 2294710 h 2505119"/>
              <a:gd name="connsiteX2" fmla="*/ 2266893 w 4727237"/>
              <a:gd name="connsiteY2" fmla="*/ 1641545 h 2505119"/>
              <a:gd name="connsiteX3" fmla="*/ 3333414 w 4727237"/>
              <a:gd name="connsiteY3" fmla="*/ 491899 h 2505119"/>
              <a:gd name="connsiteX4" fmla="*/ 4727237 w 4727237"/>
              <a:gd name="connsiteY4" fmla="*/ 0 h 2505119"/>
              <a:gd name="connsiteX0" fmla="*/ 0 w 4727237"/>
              <a:gd name="connsiteY0" fmla="*/ 2520785 h 2520785"/>
              <a:gd name="connsiteX1" fmla="*/ 1233773 w 4727237"/>
              <a:gd name="connsiteY1" fmla="*/ 2310376 h 2520785"/>
              <a:gd name="connsiteX2" fmla="*/ 2266893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266893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07326 w 4405495"/>
              <a:gd name="connsiteY3" fmla="*/ 457173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37576 h 2456394"/>
              <a:gd name="connsiteX4" fmla="*/ 4405495 w 4405495"/>
              <a:gd name="connsiteY4" fmla="*/ 0 h 2456394"/>
              <a:gd name="connsiteX0" fmla="*/ 0 w 4370711"/>
              <a:gd name="connsiteY0" fmla="*/ 2464793 h 2464793"/>
              <a:gd name="connsiteX1" fmla="*/ 1233773 w 4370711"/>
              <a:gd name="connsiteY1" fmla="*/ 2254384 h 2464793"/>
              <a:gd name="connsiteX2" fmla="*/ 2309469 w 4370711"/>
              <a:gd name="connsiteY2" fmla="*/ 1601219 h 2464793"/>
              <a:gd name="connsiteX3" fmla="*/ 3333414 w 4370711"/>
              <a:gd name="connsiteY3" fmla="*/ 445975 h 2464793"/>
              <a:gd name="connsiteX4" fmla="*/ 4370711 w 4370711"/>
              <a:gd name="connsiteY4" fmla="*/ 0 h 2464793"/>
              <a:gd name="connsiteX0" fmla="*/ 0 w 4370711"/>
              <a:gd name="connsiteY0" fmla="*/ 2464793 h 2464793"/>
              <a:gd name="connsiteX1" fmla="*/ 1233773 w 4370711"/>
              <a:gd name="connsiteY1" fmla="*/ 2254384 h 2464793"/>
              <a:gd name="connsiteX2" fmla="*/ 2309469 w 4370711"/>
              <a:gd name="connsiteY2" fmla="*/ 1601219 h 2464793"/>
              <a:gd name="connsiteX3" fmla="*/ 3333414 w 4370711"/>
              <a:gd name="connsiteY3" fmla="*/ 445975 h 2464793"/>
              <a:gd name="connsiteX4" fmla="*/ 4370711 w 4370711"/>
              <a:gd name="connsiteY4" fmla="*/ 0 h 2464793"/>
              <a:gd name="connsiteX0" fmla="*/ 0 w 4370711"/>
              <a:gd name="connsiteY0" fmla="*/ 2464793 h 2464793"/>
              <a:gd name="connsiteX1" fmla="*/ 1233773 w 4370711"/>
              <a:gd name="connsiteY1" fmla="*/ 2254384 h 2464793"/>
              <a:gd name="connsiteX2" fmla="*/ 2337359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337359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374545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360600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370711"/>
              <a:gd name="connsiteY0" fmla="*/ 2464793 h 2464793"/>
              <a:gd name="connsiteX1" fmla="*/ 1411583 w 4370711"/>
              <a:gd name="connsiteY1" fmla="*/ 2228356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370711"/>
              <a:gd name="connsiteY0" fmla="*/ 2464793 h 2464793"/>
              <a:gd name="connsiteX1" fmla="*/ 1411583 w 4370711"/>
              <a:gd name="connsiteY1" fmla="*/ 2228356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89629"/>
              <a:gd name="connsiteY0" fmla="*/ 2471045 h 2471045"/>
              <a:gd name="connsiteX1" fmla="*/ 1411583 w 4289629"/>
              <a:gd name="connsiteY1" fmla="*/ 2234608 h 2471045"/>
              <a:gd name="connsiteX2" fmla="*/ 2405346 w 4289629"/>
              <a:gd name="connsiteY2" fmla="*/ 1609007 h 2471045"/>
              <a:gd name="connsiteX3" fmla="*/ 3333414 w 4289629"/>
              <a:gd name="connsiteY3" fmla="*/ 452227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3414 w 4289629"/>
              <a:gd name="connsiteY3" fmla="*/ 452227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3414 w 4289629"/>
              <a:gd name="connsiteY3" fmla="*/ 452227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99838"/>
              <a:gd name="connsiteY0" fmla="*/ 2490768 h 2490768"/>
              <a:gd name="connsiteX1" fmla="*/ 1411583 w 4299838"/>
              <a:gd name="connsiteY1" fmla="*/ 2254331 h 2490768"/>
              <a:gd name="connsiteX2" fmla="*/ 2405346 w 4299838"/>
              <a:gd name="connsiteY2" fmla="*/ 1628730 h 2490768"/>
              <a:gd name="connsiteX3" fmla="*/ 3339563 w 4299838"/>
              <a:gd name="connsiteY3" fmla="*/ 462053 h 2490768"/>
              <a:gd name="connsiteX4" fmla="*/ 4299838 w 4299838"/>
              <a:gd name="connsiteY4" fmla="*/ 0 h 2490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9838" h="2490768">
                <a:moveTo>
                  <a:pt x="0" y="2490768"/>
                </a:moveTo>
                <a:cubicBezTo>
                  <a:pt x="587319" y="2465864"/>
                  <a:pt x="1000749" y="2410809"/>
                  <a:pt x="1411583" y="2254331"/>
                </a:cubicBezTo>
                <a:cubicBezTo>
                  <a:pt x="1822417" y="2097853"/>
                  <a:pt x="2084016" y="1927443"/>
                  <a:pt x="2405346" y="1628730"/>
                </a:cubicBezTo>
                <a:cubicBezTo>
                  <a:pt x="2726676" y="1330017"/>
                  <a:pt x="3023814" y="733508"/>
                  <a:pt x="3339563" y="462053"/>
                </a:cubicBezTo>
                <a:cubicBezTo>
                  <a:pt x="3655312" y="190598"/>
                  <a:pt x="3999976" y="68859"/>
                  <a:pt x="4299838" y="0"/>
                </a:cubicBezTo>
              </a:path>
            </a:pathLst>
          </a:custGeom>
          <a:noFill/>
          <a:ln w="25400" cap="rnd" algn="ctr">
            <a:solidFill>
              <a:srgbClr val="00B050"/>
            </a:solidFill>
            <a:round/>
            <a:headEnd/>
            <a:tailEnd/>
          </a:ln>
          <a:extLst>
            <a:ext uri="{909E8E84-426E-40DD-AFC4-6F175D3DCCD1}">
              <a14:hiddenFill xmlns:a14="http://schemas.microsoft.com/office/drawing/2010/main">
                <a:solidFill>
                  <a:srgbClr val="FFFFFF"/>
                </a:solidFill>
              </a14:hiddenFill>
            </a:ext>
          </a:extLst>
        </p:spPr>
        <p:txBody>
          <a:bodyPr wrap="none" lIns="83058" tIns="43190" rIns="83058" bIns="43190"/>
          <a:lstStyle/>
          <a:p>
            <a:pPr defTabSz="844083">
              <a:defRPr/>
            </a:pPr>
            <a:endParaRPr lang="de-DE" sz="1477" dirty="0">
              <a:solidFill>
                <a:srgbClr val="000000"/>
              </a:solidFill>
              <a:latin typeface="Arial"/>
              <a:cs typeface="Arial" charset="0"/>
            </a:endParaRPr>
          </a:p>
        </p:txBody>
      </p:sp>
      <p:grpSp>
        <p:nvGrpSpPr>
          <p:cNvPr id="74" name="Group 110"/>
          <p:cNvGrpSpPr/>
          <p:nvPr/>
        </p:nvGrpSpPr>
        <p:grpSpPr>
          <a:xfrm>
            <a:off x="2387726" y="5114604"/>
            <a:ext cx="565326" cy="165787"/>
            <a:chOff x="2204432" y="5090329"/>
            <a:chExt cx="612437" cy="179603"/>
          </a:xfrm>
        </p:grpSpPr>
        <p:sp>
          <p:nvSpPr>
            <p:cNvPr id="75" name="Freihandform 50"/>
            <p:cNvSpPr/>
            <p:nvPr/>
          </p:nvSpPr>
          <p:spPr>
            <a:xfrm rot="224175">
              <a:off x="2204432" y="5162018"/>
              <a:ext cx="600577" cy="45719"/>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0000 h 10000"/>
                <a:gd name="connsiteX1" fmla="*/ 10000 w 10000"/>
                <a:gd name="connsiteY1" fmla="*/ 0 h 10000"/>
                <a:gd name="connsiteX0" fmla="*/ 0 w 10000"/>
                <a:gd name="connsiteY0" fmla="*/ 10000 h 10000"/>
                <a:gd name="connsiteX1" fmla="*/ 10000 w 10000"/>
                <a:gd name="connsiteY1" fmla="*/ 0 h 10000"/>
              </a:gdLst>
              <a:ahLst/>
              <a:cxnLst>
                <a:cxn ang="0">
                  <a:pos x="connsiteX0" y="connsiteY0"/>
                </a:cxn>
                <a:cxn ang="0">
                  <a:pos x="connsiteX1" y="connsiteY1"/>
                </a:cxn>
              </a:cxnLst>
              <a:rect l="l" t="t" r="r" b="b"/>
              <a:pathLst>
                <a:path w="10000" h="10000">
                  <a:moveTo>
                    <a:pt x="0" y="10000"/>
                  </a:moveTo>
                  <a:cubicBezTo>
                    <a:pt x="3501" y="9958"/>
                    <a:pt x="5938" y="6625"/>
                    <a:pt x="10000" y="0"/>
                  </a:cubicBezTo>
                </a:path>
              </a:pathLst>
            </a:custGeom>
            <a:noFill/>
            <a:ln w="25400" cap="rnd" algn="ctr">
              <a:solidFill>
                <a:srgbClr val="00B050">
                  <a:alpha val="59000"/>
                </a:srgbClr>
              </a:solidFill>
              <a:prstDash val="sysDash"/>
              <a:round/>
              <a:headEnd/>
              <a:tailEnd/>
            </a:ln>
          </p:spPr>
          <p:txBody>
            <a:bodyPr wrap="none" lIns="83058" tIns="43190" rIns="83058" bIns="43190"/>
            <a:lstStyle/>
            <a:p>
              <a:pPr defTabSz="844083" eaLnBrk="1" hangingPunct="1">
                <a:spcAft>
                  <a:spcPct val="0"/>
                </a:spcAft>
                <a:defRPr/>
              </a:pPr>
              <a:endParaRPr lang="de-DE" sz="1477" dirty="0">
                <a:solidFill>
                  <a:srgbClr val="000000"/>
                </a:solidFill>
                <a:latin typeface="Arial"/>
                <a:cs typeface="Arial" charset="0"/>
              </a:endParaRPr>
            </a:p>
          </p:txBody>
        </p:sp>
        <p:sp>
          <p:nvSpPr>
            <p:cNvPr id="77" name="Freihandform 50"/>
            <p:cNvSpPr/>
            <p:nvPr/>
          </p:nvSpPr>
          <p:spPr>
            <a:xfrm rot="21054672">
              <a:off x="2211858" y="5224213"/>
              <a:ext cx="600576" cy="45719"/>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0000 h 10000"/>
                <a:gd name="connsiteX1" fmla="*/ 10000 w 10000"/>
                <a:gd name="connsiteY1" fmla="*/ 0 h 10000"/>
                <a:gd name="connsiteX0" fmla="*/ 0 w 10000"/>
                <a:gd name="connsiteY0" fmla="*/ 10000 h 10000"/>
                <a:gd name="connsiteX1" fmla="*/ 10000 w 10000"/>
                <a:gd name="connsiteY1" fmla="*/ 0 h 10000"/>
                <a:gd name="connsiteX0" fmla="*/ 0 w 10000"/>
                <a:gd name="connsiteY0" fmla="*/ 10643 h 10643"/>
                <a:gd name="connsiteX1" fmla="*/ 10000 w 10000"/>
                <a:gd name="connsiteY1" fmla="*/ 643 h 10643"/>
                <a:gd name="connsiteX0" fmla="*/ 0 w 10000"/>
                <a:gd name="connsiteY0" fmla="*/ 11318 h 11318"/>
                <a:gd name="connsiteX1" fmla="*/ 10000 w 10000"/>
                <a:gd name="connsiteY1" fmla="*/ 1318 h 11318"/>
              </a:gdLst>
              <a:ahLst/>
              <a:cxnLst>
                <a:cxn ang="0">
                  <a:pos x="connsiteX0" y="connsiteY0"/>
                </a:cxn>
                <a:cxn ang="0">
                  <a:pos x="connsiteX1" y="connsiteY1"/>
                </a:cxn>
              </a:cxnLst>
              <a:rect l="l" t="t" r="r" b="b"/>
              <a:pathLst>
                <a:path w="10000" h="11318">
                  <a:moveTo>
                    <a:pt x="0" y="11318"/>
                  </a:moveTo>
                  <a:cubicBezTo>
                    <a:pt x="3951" y="2027"/>
                    <a:pt x="5808" y="-2409"/>
                    <a:pt x="10000" y="1318"/>
                  </a:cubicBezTo>
                </a:path>
              </a:pathLst>
            </a:custGeom>
            <a:noFill/>
            <a:ln w="25400" cap="rnd" algn="ctr">
              <a:solidFill>
                <a:srgbClr val="00B050">
                  <a:alpha val="59000"/>
                </a:srgbClr>
              </a:solidFill>
              <a:prstDash val="sysDash"/>
              <a:round/>
              <a:headEnd/>
              <a:tailEnd/>
            </a:ln>
          </p:spPr>
          <p:txBody>
            <a:bodyPr wrap="none" lIns="83058" tIns="43190" rIns="83058" bIns="43190"/>
            <a:lstStyle/>
            <a:p>
              <a:pPr defTabSz="844083" eaLnBrk="1" hangingPunct="1">
                <a:spcAft>
                  <a:spcPct val="0"/>
                </a:spcAft>
                <a:defRPr/>
              </a:pPr>
              <a:endParaRPr lang="de-DE" sz="1477" dirty="0">
                <a:solidFill>
                  <a:srgbClr val="000000"/>
                </a:solidFill>
                <a:latin typeface="Arial"/>
                <a:cs typeface="Arial" charset="0"/>
              </a:endParaRPr>
            </a:p>
          </p:txBody>
        </p:sp>
        <p:sp>
          <p:nvSpPr>
            <p:cNvPr id="78" name="Freihandform 50"/>
            <p:cNvSpPr/>
            <p:nvPr/>
          </p:nvSpPr>
          <p:spPr>
            <a:xfrm rot="1088803">
              <a:off x="2216292" y="5090329"/>
              <a:ext cx="600577" cy="60275"/>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0000 h 10000"/>
                <a:gd name="connsiteX1" fmla="*/ 10000 w 10000"/>
                <a:gd name="connsiteY1" fmla="*/ 0 h 10000"/>
                <a:gd name="connsiteX0" fmla="*/ 0 w 10000"/>
                <a:gd name="connsiteY0" fmla="*/ 10000 h 10000"/>
                <a:gd name="connsiteX1" fmla="*/ 10000 w 10000"/>
                <a:gd name="connsiteY1" fmla="*/ 0 h 10000"/>
                <a:gd name="connsiteX0" fmla="*/ 0 w 10000"/>
                <a:gd name="connsiteY0" fmla="*/ 10000 h 15047"/>
                <a:gd name="connsiteX1" fmla="*/ 10000 w 10000"/>
                <a:gd name="connsiteY1" fmla="*/ 0 h 15047"/>
                <a:gd name="connsiteX0" fmla="*/ 0 w 10000"/>
                <a:gd name="connsiteY0" fmla="*/ 10000 h 17401"/>
                <a:gd name="connsiteX1" fmla="*/ 10000 w 10000"/>
                <a:gd name="connsiteY1" fmla="*/ 0 h 17401"/>
              </a:gdLst>
              <a:ahLst/>
              <a:cxnLst>
                <a:cxn ang="0">
                  <a:pos x="connsiteX0" y="connsiteY0"/>
                </a:cxn>
                <a:cxn ang="0">
                  <a:pos x="connsiteX1" y="connsiteY1"/>
                </a:cxn>
              </a:cxnLst>
              <a:rect l="l" t="t" r="r" b="b"/>
              <a:pathLst>
                <a:path w="10000" h="17401">
                  <a:moveTo>
                    <a:pt x="0" y="10000"/>
                  </a:moveTo>
                  <a:cubicBezTo>
                    <a:pt x="3575" y="23398"/>
                    <a:pt x="5829" y="17739"/>
                    <a:pt x="10000" y="0"/>
                  </a:cubicBezTo>
                </a:path>
              </a:pathLst>
            </a:custGeom>
            <a:noFill/>
            <a:ln w="25400" cap="rnd" algn="ctr">
              <a:solidFill>
                <a:srgbClr val="00B050">
                  <a:alpha val="59000"/>
                </a:srgbClr>
              </a:solidFill>
              <a:prstDash val="sysDash"/>
              <a:round/>
              <a:headEnd/>
              <a:tailEnd/>
            </a:ln>
          </p:spPr>
          <p:txBody>
            <a:bodyPr wrap="none" lIns="83058" tIns="43190" rIns="83058" bIns="43190"/>
            <a:lstStyle/>
            <a:p>
              <a:pPr defTabSz="844083" eaLnBrk="1" hangingPunct="1">
                <a:spcAft>
                  <a:spcPct val="0"/>
                </a:spcAft>
                <a:defRPr/>
              </a:pPr>
              <a:endParaRPr lang="de-DE" sz="1477" dirty="0">
                <a:solidFill>
                  <a:srgbClr val="000000"/>
                </a:solidFill>
                <a:latin typeface="Arial"/>
                <a:cs typeface="Arial" charset="0"/>
              </a:endParaRPr>
            </a:p>
          </p:txBody>
        </p:sp>
      </p:grpSp>
      <p:pic>
        <p:nvPicPr>
          <p:cNvPr id="79"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3176665" y="3655616"/>
            <a:ext cx="1810326" cy="1557330"/>
          </a:xfrm>
          <a:prstGeom prst="rect">
            <a:avLst/>
          </a:prstGeom>
          <a:noFill/>
          <a:extLst>
            <a:ext uri="{909E8E84-426E-40DD-AFC4-6F175D3DCCD1}">
              <a14:hiddenFill xmlns:a14="http://schemas.microsoft.com/office/drawing/2010/main">
                <a:solidFill>
                  <a:srgbClr val="FFFFFF"/>
                </a:solidFill>
              </a14:hiddenFill>
            </a:ext>
          </a:extLst>
        </p:spPr>
      </p:pic>
      <p:cxnSp>
        <p:nvCxnSpPr>
          <p:cNvPr id="80" name="Gerade Verbindung 114"/>
          <p:cNvCxnSpPr>
            <a:cxnSpLocks noChangeShapeType="1"/>
          </p:cNvCxnSpPr>
          <p:nvPr/>
        </p:nvCxnSpPr>
        <p:spPr bwMode="auto">
          <a:xfrm>
            <a:off x="4169308" y="2066193"/>
            <a:ext cx="0" cy="3926562"/>
          </a:xfrm>
          <a:prstGeom prst="line">
            <a:avLst/>
          </a:prstGeom>
          <a:noFill/>
          <a:ln w="12700" cap="rnd" algn="ctr">
            <a:solidFill>
              <a:schemeClr val="tx1"/>
            </a:solidFill>
            <a:prstDash val="dash"/>
            <a:round/>
            <a:headEnd/>
            <a:tailEnd/>
          </a:ln>
        </p:spPr>
      </p:cxnSp>
      <p:cxnSp>
        <p:nvCxnSpPr>
          <p:cNvPr id="81" name="Gerade Verbindung mit Pfeil 6"/>
          <p:cNvCxnSpPr>
            <a:cxnSpLocks noChangeShapeType="1"/>
          </p:cNvCxnSpPr>
          <p:nvPr/>
        </p:nvCxnSpPr>
        <p:spPr bwMode="auto">
          <a:xfrm flipV="1">
            <a:off x="1904408" y="2066194"/>
            <a:ext cx="0" cy="3705959"/>
          </a:xfrm>
          <a:prstGeom prst="straightConnector1">
            <a:avLst/>
          </a:prstGeom>
          <a:noFill/>
          <a:ln w="12700" cap="rnd" algn="ctr">
            <a:solidFill>
              <a:schemeClr val="tx1"/>
            </a:solidFill>
            <a:round/>
            <a:headEnd/>
            <a:tailEnd type="triangle" w="med" len="med"/>
          </a:ln>
        </p:spPr>
      </p:cxnSp>
      <p:sp>
        <p:nvSpPr>
          <p:cNvPr id="82" name="Kritische Entscheidungszone"/>
          <p:cNvSpPr txBox="1">
            <a:spLocks noChangeArrowheads="1"/>
          </p:cNvSpPr>
          <p:nvPr/>
        </p:nvSpPr>
        <p:spPr bwMode="auto">
          <a:xfrm>
            <a:off x="4518504" y="4612933"/>
            <a:ext cx="2822906" cy="539581"/>
          </a:xfrm>
          <a:prstGeom prst="rect">
            <a:avLst/>
          </a:prstGeom>
          <a:noFill/>
          <a:ln w="9525">
            <a:noFill/>
            <a:miter lim="800000"/>
            <a:headEnd/>
            <a:tailEnd/>
          </a:ln>
        </p:spPr>
        <p:txBody>
          <a:bodyPr wrap="none" lIns="84146" tIns="42074" rIns="84146" bIns="42074">
            <a:spAutoFit/>
          </a:bodyPr>
          <a:lstStyle>
            <a:defPPr>
              <a:defRPr lang="de-DE"/>
            </a:defPPr>
            <a:lvl1pPr>
              <a:spcAft>
                <a:spcPct val="0"/>
              </a:spcAft>
              <a:defRPr sz="1500">
                <a:solidFill>
                  <a:srgbClr val="E20000"/>
                </a:solidFill>
              </a:defRPr>
            </a:lvl1pPr>
          </a:lstStyle>
          <a:p>
            <a:pPr defTabSz="844083" eaLnBrk="1" hangingPunct="1">
              <a:defRPr/>
            </a:pPr>
            <a:r>
              <a:rPr lang="de-DE" sz="1477" b="1" dirty="0">
                <a:solidFill>
                  <a:srgbClr val="E62614"/>
                </a:solidFill>
                <a:latin typeface="Arial"/>
                <a:cs typeface="Arial" charset="0"/>
              </a:rPr>
              <a:t>Kritische</a:t>
            </a:r>
            <a:r>
              <a:rPr lang="de-DE" sz="1477" b="1" dirty="0">
                <a:gradFill flip="none" rotWithShape="1">
                  <a:gsLst>
                    <a:gs pos="0">
                      <a:srgbClr val="4AD378"/>
                    </a:gs>
                    <a:gs pos="50000">
                      <a:srgbClr val="CED6BD"/>
                    </a:gs>
                    <a:gs pos="100000">
                      <a:srgbClr val="E62614"/>
                    </a:gs>
                  </a:gsLst>
                  <a:lin ang="2700000" scaled="1"/>
                  <a:tileRect/>
                </a:gradFill>
                <a:latin typeface="Arial"/>
                <a:cs typeface="Arial" charset="0"/>
              </a:rPr>
              <a:t> </a:t>
            </a:r>
            <a:r>
              <a:rPr lang="de-DE" sz="1477" b="1" dirty="0">
                <a:gradFill flip="none" rotWithShape="1">
                  <a:gsLst>
                    <a:gs pos="32000">
                      <a:srgbClr val="00B050"/>
                    </a:gs>
                    <a:gs pos="41000">
                      <a:srgbClr val="A2625C"/>
                    </a:gs>
                    <a:gs pos="50000">
                      <a:srgbClr val="FF0000"/>
                    </a:gs>
                  </a:gsLst>
                  <a:lin ang="14400000" scaled="0"/>
                  <a:tileRect/>
                </a:gradFill>
                <a:latin typeface="Arial"/>
                <a:cs typeface="Arial" charset="0"/>
              </a:rPr>
              <a:t>Entscheidungszone</a:t>
            </a:r>
            <a:r>
              <a:rPr lang="de-DE" sz="1477" b="1" dirty="0">
                <a:gradFill flip="none" rotWithShape="1">
                  <a:gsLst>
                    <a:gs pos="0">
                      <a:srgbClr val="4AD378"/>
                    </a:gs>
                    <a:gs pos="50000">
                      <a:srgbClr val="CED6BD"/>
                    </a:gs>
                    <a:gs pos="100000">
                      <a:srgbClr val="E62614"/>
                    </a:gs>
                  </a:gsLst>
                  <a:lin ang="2700000" scaled="1"/>
                  <a:tileRect/>
                </a:gradFill>
                <a:latin typeface="Arial"/>
                <a:cs typeface="Arial" charset="0"/>
              </a:rPr>
              <a:t/>
            </a:r>
            <a:br>
              <a:rPr lang="de-DE" sz="1477" b="1" dirty="0">
                <a:gradFill flip="none" rotWithShape="1">
                  <a:gsLst>
                    <a:gs pos="0">
                      <a:srgbClr val="4AD378"/>
                    </a:gs>
                    <a:gs pos="50000">
                      <a:srgbClr val="CED6BD"/>
                    </a:gs>
                    <a:gs pos="100000">
                      <a:srgbClr val="E62614"/>
                    </a:gs>
                  </a:gsLst>
                  <a:lin ang="2700000" scaled="1"/>
                  <a:tileRect/>
                </a:gradFill>
                <a:latin typeface="Arial"/>
                <a:cs typeface="Arial" charset="0"/>
              </a:rPr>
            </a:br>
            <a:r>
              <a:rPr lang="de-DE" sz="1477" b="1" dirty="0">
                <a:gradFill flip="none" rotWithShape="1">
                  <a:gsLst>
                    <a:gs pos="55000">
                      <a:srgbClr val="15935A"/>
                    </a:gs>
                    <a:gs pos="65000">
                      <a:srgbClr val="A2625C"/>
                    </a:gs>
                    <a:gs pos="73000">
                      <a:srgbClr val="E62614"/>
                    </a:gs>
                  </a:gsLst>
                  <a:lin ang="14400000" scaled="0"/>
                  <a:tileRect/>
                </a:gradFill>
                <a:latin typeface="Arial"/>
                <a:cs typeface="Arial" charset="0"/>
              </a:rPr>
              <a:t>Verlagerung</a:t>
            </a:r>
            <a:r>
              <a:rPr lang="de-DE" sz="1477" b="1" dirty="0">
                <a:gradFill flip="none" rotWithShape="1">
                  <a:gsLst>
                    <a:gs pos="0">
                      <a:srgbClr val="4AD378"/>
                    </a:gs>
                    <a:gs pos="50000">
                      <a:srgbClr val="CED6BD"/>
                    </a:gs>
                    <a:gs pos="100000">
                      <a:srgbClr val="E62614"/>
                    </a:gs>
                  </a:gsLst>
                  <a:lin ang="2700000" scaled="1"/>
                  <a:tileRect/>
                </a:gradFill>
                <a:latin typeface="Arial"/>
                <a:cs typeface="Arial" charset="0"/>
              </a:rPr>
              <a:t> </a:t>
            </a:r>
            <a:r>
              <a:rPr lang="de-DE" sz="1477" b="1" dirty="0">
                <a:solidFill>
                  <a:srgbClr val="00B050"/>
                </a:solidFill>
                <a:latin typeface="Arial"/>
                <a:cs typeface="Arial" charset="0"/>
              </a:rPr>
              <a:t>von</a:t>
            </a:r>
            <a:r>
              <a:rPr lang="de-DE" sz="1477" b="1" dirty="0">
                <a:gradFill flip="none" rotWithShape="1">
                  <a:gsLst>
                    <a:gs pos="0">
                      <a:srgbClr val="4AD378"/>
                    </a:gs>
                    <a:gs pos="50000">
                      <a:srgbClr val="CED6BD"/>
                    </a:gs>
                    <a:gs pos="100000">
                      <a:srgbClr val="E62614"/>
                    </a:gs>
                  </a:gsLst>
                  <a:lin ang="2700000" scaled="1"/>
                  <a:tileRect/>
                </a:gradFill>
                <a:latin typeface="Arial"/>
                <a:cs typeface="Arial" charset="0"/>
              </a:rPr>
              <a:t> </a:t>
            </a:r>
            <a:r>
              <a:rPr lang="de-DE" sz="1477" b="1" dirty="0">
                <a:solidFill>
                  <a:srgbClr val="00B050"/>
                </a:solidFill>
                <a:latin typeface="Arial"/>
                <a:cs typeface="Arial" charset="0"/>
              </a:rPr>
              <a:t>Ressourcen</a:t>
            </a:r>
          </a:p>
        </p:txBody>
      </p:sp>
      <p:grpSp>
        <p:nvGrpSpPr>
          <p:cNvPr id="3" name="Gruppieren 2"/>
          <p:cNvGrpSpPr/>
          <p:nvPr/>
        </p:nvGrpSpPr>
        <p:grpSpPr>
          <a:xfrm>
            <a:off x="4167974" y="1538624"/>
            <a:ext cx="4667744" cy="4449734"/>
            <a:chOff x="10357326" y="1625817"/>
            <a:chExt cx="5056723" cy="4820545"/>
          </a:xfrm>
        </p:grpSpPr>
        <p:sp>
          <p:nvSpPr>
            <p:cNvPr id="2" name="Rechteck 1"/>
            <p:cNvSpPr/>
            <p:nvPr/>
          </p:nvSpPr>
          <p:spPr bwMode="auto">
            <a:xfrm>
              <a:off x="10357326" y="1633437"/>
              <a:ext cx="14400" cy="4809027"/>
            </a:xfrm>
            <a:prstGeom prst="rect">
              <a:avLst/>
            </a:prstGeom>
            <a:solidFill>
              <a:schemeClr val="bg1"/>
            </a:solidFill>
            <a:ln w="9525" cap="flat" cmpd="sng" algn="ctr">
              <a:noFill/>
              <a:prstDash val="solid"/>
              <a:round/>
              <a:headEnd type="none" w="med" len="med"/>
              <a:tailEnd type="none" w="med" len="med"/>
            </a:ln>
            <a:effectLst/>
          </p:spPr>
          <p:txBody>
            <a:bodyPr vert="horz" wrap="square" lIns="33231" tIns="43200" rIns="33231" bIns="43200" numCol="1" rtlCol="0" anchor="ctr" anchorCtr="0" compatLnSpc="1">
              <a:prstTxWarp prst="textNoShape">
                <a:avLst/>
              </a:prstTxWarp>
            </a:bodyPr>
            <a:lstStyle/>
            <a:p>
              <a:pPr algn="ctr" defTabSz="844083" eaLnBrk="1" hangingPunct="1">
                <a:spcBef>
                  <a:spcPts val="0"/>
                </a:spcBef>
                <a:spcAft>
                  <a:spcPts val="0"/>
                </a:spcAft>
                <a:defRPr/>
              </a:pPr>
              <a:endParaRPr lang="de-DE" sz="1108" b="1" dirty="0">
                <a:solidFill>
                  <a:srgbClr val="FFFFFF"/>
                </a:solidFill>
                <a:cs typeface="Arial" charset="0"/>
              </a:endParaRPr>
            </a:p>
          </p:txBody>
        </p:sp>
        <p:sp>
          <p:nvSpPr>
            <p:cNvPr id="34" name="Rectangle 33"/>
            <p:cNvSpPr/>
            <p:nvPr/>
          </p:nvSpPr>
          <p:spPr bwMode="auto">
            <a:xfrm>
              <a:off x="10365917" y="1625817"/>
              <a:ext cx="5048132" cy="4649185"/>
            </a:xfrm>
            <a:prstGeom prst="rect">
              <a:avLst/>
            </a:prstGeom>
            <a:solidFill>
              <a:schemeClr val="bg1">
                <a:alpha val="86000"/>
              </a:schemeClr>
            </a:solidFill>
            <a:ln w="9525" cap="flat" cmpd="sng" algn="ctr">
              <a:noFill/>
              <a:prstDash val="solid"/>
              <a:round/>
              <a:headEnd type="none" w="med" len="med"/>
              <a:tailEnd type="none" w="med" len="med"/>
            </a:ln>
            <a:effectLst/>
          </p:spPr>
          <p:txBody>
            <a:bodyPr vert="horz" wrap="square" lIns="33231" tIns="43200" rIns="33231" bIns="43200" numCol="1" rtlCol="0" anchor="ctr" anchorCtr="0" compatLnSpc="1">
              <a:prstTxWarp prst="textNoShape">
                <a:avLst/>
              </a:prstTxWarp>
            </a:bodyPr>
            <a:lstStyle/>
            <a:p>
              <a:pPr algn="ctr" defTabSz="844083" eaLnBrk="1" hangingPunct="1">
                <a:spcBef>
                  <a:spcPts val="0"/>
                </a:spcBef>
                <a:spcAft>
                  <a:spcPts val="0"/>
                </a:spcAft>
                <a:defRPr/>
              </a:pPr>
              <a:endParaRPr lang="de-DE" sz="1108" b="1" dirty="0">
                <a:solidFill>
                  <a:srgbClr val="FFFFFF"/>
                </a:solidFill>
                <a:cs typeface="Arial" charset="0"/>
              </a:endParaRPr>
            </a:p>
          </p:txBody>
        </p:sp>
        <p:cxnSp>
          <p:nvCxnSpPr>
            <p:cNvPr id="35" name="Gerade Verbindung 114"/>
            <p:cNvCxnSpPr>
              <a:cxnSpLocks noChangeShapeType="1"/>
            </p:cNvCxnSpPr>
            <p:nvPr/>
          </p:nvCxnSpPr>
          <p:spPr bwMode="auto">
            <a:xfrm flipV="1">
              <a:off x="10361154" y="2191162"/>
              <a:ext cx="0" cy="4255200"/>
            </a:xfrm>
            <a:prstGeom prst="line">
              <a:avLst/>
            </a:prstGeom>
            <a:noFill/>
            <a:ln w="12700" cap="rnd" algn="ctr">
              <a:solidFill>
                <a:schemeClr val="tx1"/>
              </a:solidFill>
              <a:prstDash val="dash"/>
              <a:round/>
              <a:headEnd/>
              <a:tailEnd/>
            </a:ln>
          </p:spPr>
        </p:cxnSp>
      </p:grpSp>
      <p:sp>
        <p:nvSpPr>
          <p:cNvPr id="43" name="Titel 1"/>
          <p:cNvSpPr>
            <a:spLocks noGrp="1"/>
          </p:cNvSpPr>
          <p:nvPr>
            <p:ph type="title"/>
          </p:nvPr>
        </p:nvSpPr>
        <p:spPr>
          <a:xfrm>
            <a:off x="608872" y="874184"/>
            <a:ext cx="8408445" cy="766156"/>
          </a:xfrm>
        </p:spPr>
        <p:txBody>
          <a:bodyPr/>
          <a:lstStyle/>
          <a:p>
            <a:pPr>
              <a:lnSpc>
                <a:spcPct val="80000"/>
              </a:lnSpc>
            </a:pPr>
            <a:r>
              <a:rPr lang="de-DE" sz="1292" dirty="0"/>
              <a:t>Um heute </a:t>
            </a:r>
            <a:r>
              <a:rPr lang="de-DE" sz="1292"/>
              <a:t>richtig handeln zu können, </a:t>
            </a:r>
            <a:r>
              <a:rPr lang="de-DE" sz="1292" dirty="0"/>
              <a:t>muss man die Muster des Wandels kennen. Herkömmliche Navigationssysteme geben an diesem Punkt systematisch irreführende Signale. An dieser Stelle braucht man drei Strategien, nicht nur eine:</a:t>
            </a:r>
            <a:br>
              <a:rPr lang="de-DE" sz="1292" dirty="0"/>
            </a:br>
            <a:r>
              <a:rPr lang="de-DE" sz="1292" dirty="0"/>
              <a:t>Strategie 1</a:t>
            </a:r>
            <a:r>
              <a:rPr lang="de-DE" sz="1292"/>
              <a:t>: Für die </a:t>
            </a:r>
            <a:r>
              <a:rPr lang="de-DE" sz="1292">
                <a:solidFill>
                  <a:schemeClr val="bg2"/>
                </a:solidFill>
              </a:rPr>
              <a:t>rote Kurve</a:t>
            </a:r>
            <a:r>
              <a:rPr lang="de-DE" sz="1292"/>
              <a:t>, </a:t>
            </a:r>
            <a:r>
              <a:rPr lang="de-DE" sz="1292" dirty="0"/>
              <a:t>solange sie etwas hergibt. </a:t>
            </a:r>
            <a:r>
              <a:rPr lang="de-DE" sz="1292"/>
              <a:t>Strategie 2: Die </a:t>
            </a:r>
            <a:r>
              <a:rPr lang="de-DE" sz="1292">
                <a:solidFill>
                  <a:srgbClr val="00B050"/>
                </a:solidFill>
              </a:rPr>
              <a:t>grüne Kurve </a:t>
            </a:r>
            <a:r>
              <a:rPr lang="de-DE" sz="1292"/>
              <a:t>rechtzeitig </a:t>
            </a:r>
            <a:r>
              <a:rPr lang="de-DE" sz="1292" dirty="0"/>
              <a:t>aufbauen, damit man sie hat, wenn man sie braucht. Strategie 3: Für den Übergang von der roten auf die grüne Kurve.</a:t>
            </a:r>
            <a:br>
              <a:rPr lang="de-DE" sz="1292" dirty="0"/>
            </a:br>
            <a:endParaRPr lang="de-DE" sz="1292" dirty="0"/>
          </a:p>
        </p:txBody>
      </p:sp>
      <p:sp>
        <p:nvSpPr>
          <p:cNvPr id="30" name="TextBox 29"/>
          <p:cNvSpPr txBox="1"/>
          <p:nvPr/>
        </p:nvSpPr>
        <p:spPr>
          <a:xfrm>
            <a:off x="5112201" y="3458324"/>
            <a:ext cx="541600" cy="1089827"/>
          </a:xfrm>
          <a:prstGeom prst="rect">
            <a:avLst/>
          </a:prstGeom>
          <a:ln algn="ctr"/>
        </p:spPr>
        <p:txBody>
          <a:bodyPr wrap="none" lIns="33231" tIns="33231" rIns="33231" bIns="33231" rtlCol="0" anchor="t">
            <a:spAutoFit/>
          </a:bodyPr>
          <a:lstStyle/>
          <a:p>
            <a:pPr defTabSz="844083" eaLnBrk="1" hangingPunct="1">
              <a:spcAft>
                <a:spcPct val="0"/>
              </a:spcAft>
              <a:defRPr/>
            </a:pPr>
            <a:r>
              <a:rPr lang="de-DE" sz="6646" kern="0" dirty="0">
                <a:solidFill>
                  <a:srgbClr val="000000"/>
                </a:solidFill>
                <a:latin typeface="Arial"/>
                <a:cs typeface="Arial" charset="0"/>
              </a:rPr>
              <a:t>?</a:t>
            </a:r>
          </a:p>
        </p:txBody>
      </p:sp>
      <p:cxnSp>
        <p:nvCxnSpPr>
          <p:cNvPr id="32" name="Gerade Verbindung mit Pfeil 8"/>
          <p:cNvCxnSpPr>
            <a:cxnSpLocks noChangeShapeType="1"/>
          </p:cNvCxnSpPr>
          <p:nvPr/>
        </p:nvCxnSpPr>
        <p:spPr bwMode="auto">
          <a:xfrm flipV="1">
            <a:off x="1904409" y="5775174"/>
            <a:ext cx="5666387" cy="6"/>
          </a:xfrm>
          <a:prstGeom prst="straightConnector1">
            <a:avLst/>
          </a:prstGeom>
          <a:noFill/>
          <a:ln w="12700" cap="rnd" algn="ctr">
            <a:solidFill>
              <a:schemeClr val="tx1"/>
            </a:solidFill>
            <a:round/>
            <a:headEnd/>
            <a:tailEnd type="triangle" w="med" len="med"/>
          </a:ln>
        </p:spPr>
      </p:cxnSp>
      <p:sp>
        <p:nvSpPr>
          <p:cNvPr id="54" name="Textfeld 60"/>
          <p:cNvSpPr txBox="1">
            <a:spLocks noChangeArrowheads="1"/>
          </p:cNvSpPr>
          <p:nvPr/>
        </p:nvSpPr>
        <p:spPr bwMode="auto">
          <a:xfrm>
            <a:off x="7056603" y="5755283"/>
            <a:ext cx="468094" cy="298105"/>
          </a:xfrm>
          <a:prstGeom prst="rect">
            <a:avLst/>
          </a:prstGeom>
          <a:noFill/>
          <a:ln w="9525">
            <a:noFill/>
            <a:miter lim="800000"/>
            <a:headEnd/>
            <a:tailEnd/>
          </a:ln>
        </p:spPr>
        <p:txBody>
          <a:bodyPr wrap="none" lIns="84146" tIns="42074" rIns="84146" bIns="42074">
            <a:spAutoFit/>
          </a:bodyPr>
          <a:lstStyle/>
          <a:p>
            <a:pPr defTabSz="844083" eaLnBrk="1" hangingPunct="1">
              <a:spcAft>
                <a:spcPct val="0"/>
              </a:spcAft>
              <a:defRPr/>
            </a:pPr>
            <a:r>
              <a:rPr lang="de-DE" sz="1385" dirty="0">
                <a:solidFill>
                  <a:srgbClr val="000000"/>
                </a:solidFill>
                <a:latin typeface="Arial"/>
                <a:cs typeface="Arial" charset="0"/>
              </a:rPr>
              <a:t>Zeit</a:t>
            </a:r>
          </a:p>
        </p:txBody>
      </p:sp>
    </p:spTree>
    <p:extLst>
      <p:ext uri="{BB962C8B-B14F-4D97-AF65-F5344CB8AC3E}">
        <p14:creationId xmlns:p14="http://schemas.microsoft.com/office/powerpoint/2010/main" val="3922558467"/>
      </p:ext>
    </p:extLst>
  </p:cSld>
  <p:clrMapOvr>
    <a:masterClrMapping/>
  </p:clrMapOvr>
  <p:transition spd="slow"/>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el 1"/>
          <p:cNvSpPr>
            <a:spLocks noGrp="1"/>
          </p:cNvSpPr>
          <p:nvPr>
            <p:ph type="title"/>
          </p:nvPr>
        </p:nvSpPr>
        <p:spPr/>
        <p:txBody>
          <a:bodyPr/>
          <a:lstStyle/>
          <a:p>
            <a:r>
              <a:rPr lang="de-DE" dirty="0"/>
              <a:t>Das Wachstum kann weitergehen, aber auf einem anderen Pfad</a:t>
            </a:r>
            <a:r>
              <a:rPr lang="de-DE" dirty="0" smtClean="0"/>
              <a:t>.</a:t>
            </a:r>
            <a:br>
              <a:rPr lang="de-DE" dirty="0" smtClean="0"/>
            </a:br>
            <a:r>
              <a:rPr lang="de-DE" dirty="0" smtClean="0"/>
              <a:t>Wenn komplexe Systeme zu stark </a:t>
            </a:r>
            <a:r>
              <a:rPr lang="de-DE" dirty="0" err="1" smtClean="0"/>
              <a:t>gestretcht</a:t>
            </a:r>
            <a:r>
              <a:rPr lang="de-DE" dirty="0" smtClean="0"/>
              <a:t> werden, können sie kollabieren. </a:t>
            </a:r>
            <a:endParaRPr lang="de-DE" dirty="0"/>
          </a:p>
        </p:txBody>
      </p:sp>
      <p:cxnSp>
        <p:nvCxnSpPr>
          <p:cNvPr id="92" name="Gerade Verbindung mit Pfeil 8"/>
          <p:cNvCxnSpPr>
            <a:cxnSpLocks noChangeShapeType="1"/>
          </p:cNvCxnSpPr>
          <p:nvPr/>
        </p:nvCxnSpPr>
        <p:spPr bwMode="auto">
          <a:xfrm>
            <a:off x="2667396" y="5189506"/>
            <a:ext cx="4249791" cy="1095"/>
          </a:xfrm>
          <a:prstGeom prst="straightConnector1">
            <a:avLst/>
          </a:prstGeom>
          <a:noFill/>
          <a:ln w="12700" cap="rnd" algn="ctr">
            <a:solidFill>
              <a:schemeClr val="tx1"/>
            </a:solidFill>
            <a:round/>
            <a:headEnd/>
            <a:tailEnd type="triangle" w="med" len="med"/>
          </a:ln>
        </p:spPr>
      </p:cxnSp>
      <p:sp>
        <p:nvSpPr>
          <p:cNvPr id="93" name="Textfeld 53"/>
          <p:cNvSpPr txBox="1">
            <a:spLocks noChangeArrowheads="1"/>
          </p:cNvSpPr>
          <p:nvPr/>
        </p:nvSpPr>
        <p:spPr bwMode="auto">
          <a:xfrm>
            <a:off x="6489656" y="2404879"/>
            <a:ext cx="1347338" cy="500449"/>
          </a:xfrm>
          <a:prstGeom prst="rect">
            <a:avLst/>
          </a:prstGeom>
          <a:noFill/>
          <a:ln w="9525">
            <a:noFill/>
            <a:miter lim="800000"/>
            <a:headEnd/>
            <a:tailEnd/>
          </a:ln>
        </p:spPr>
        <p:txBody>
          <a:bodyPr wrap="none" lIns="63110" tIns="31555" rIns="63110" bIns="31555">
            <a:spAutoFit/>
          </a:bodyPr>
          <a:lstStyle/>
          <a:p>
            <a:pPr defTabSz="844083" eaLnBrk="1" hangingPunct="1">
              <a:spcAft>
                <a:spcPct val="0"/>
              </a:spcAft>
              <a:defRPr/>
            </a:pPr>
            <a:r>
              <a:rPr lang="de-DE" sz="1038" dirty="0">
                <a:solidFill>
                  <a:srgbClr val="009E47"/>
                </a:solidFill>
                <a:latin typeface="Arial"/>
                <a:cs typeface="Arial" charset="0"/>
              </a:rPr>
              <a:t>Grundlagen der </a:t>
            </a:r>
          </a:p>
          <a:p>
            <a:pPr defTabSz="844083" eaLnBrk="1" hangingPunct="1">
              <a:spcAft>
                <a:spcPct val="0"/>
              </a:spcAft>
              <a:defRPr/>
            </a:pPr>
            <a:r>
              <a:rPr lang="de-DE" sz="1038">
                <a:solidFill>
                  <a:srgbClr val="009E47"/>
                </a:solidFill>
                <a:latin typeface="Arial"/>
                <a:cs typeface="Arial" charset="0"/>
              </a:rPr>
              <a:t>zukünftigen Existenz</a:t>
            </a:r>
          </a:p>
          <a:p>
            <a:pPr defTabSz="844083" eaLnBrk="1" hangingPunct="1">
              <a:spcAft>
                <a:spcPct val="0"/>
              </a:spcAft>
              <a:defRPr/>
            </a:pPr>
            <a:r>
              <a:rPr lang="de-DE" sz="762">
                <a:solidFill>
                  <a:srgbClr val="009E47"/>
                </a:solidFill>
                <a:latin typeface="Arial"/>
                <a:cs typeface="Arial" charset="0"/>
              </a:rPr>
              <a:t>Malik Management Modelle</a:t>
            </a:r>
            <a:endParaRPr lang="de-DE" sz="1038" dirty="0">
              <a:solidFill>
                <a:srgbClr val="009E47"/>
              </a:solidFill>
              <a:latin typeface="Arial"/>
              <a:cs typeface="Arial" charset="0"/>
            </a:endParaRPr>
          </a:p>
        </p:txBody>
      </p:sp>
      <p:sp>
        <p:nvSpPr>
          <p:cNvPr id="95" name="Textfeld 57"/>
          <p:cNvSpPr txBox="1">
            <a:spLocks noChangeArrowheads="1"/>
          </p:cNvSpPr>
          <p:nvPr/>
        </p:nvSpPr>
        <p:spPr bwMode="auto">
          <a:xfrm rot="16200000">
            <a:off x="1105468" y="3662494"/>
            <a:ext cx="2884618" cy="223450"/>
          </a:xfrm>
          <a:prstGeom prst="rect">
            <a:avLst/>
          </a:prstGeom>
          <a:noFill/>
          <a:ln w="9525">
            <a:noFill/>
            <a:miter lim="800000"/>
            <a:headEnd/>
            <a:tailEnd/>
          </a:ln>
        </p:spPr>
        <p:txBody>
          <a:bodyPr wrap="none" lIns="63110" tIns="31555" rIns="63110" bIns="31555">
            <a:spAutoFit/>
          </a:bodyPr>
          <a:lstStyle/>
          <a:p>
            <a:pPr defTabSz="844083" eaLnBrk="1" hangingPunct="1">
              <a:spcAft>
                <a:spcPct val="0"/>
              </a:spcAft>
              <a:defRPr/>
            </a:pPr>
            <a:r>
              <a:rPr lang="de-DE" sz="1038" dirty="0">
                <a:solidFill>
                  <a:srgbClr val="000000"/>
                </a:solidFill>
                <a:latin typeface="Arial"/>
                <a:cs typeface="Arial" charset="0"/>
              </a:rPr>
              <a:t>Entwicklungsverläufe wichtiger Systemaspekte</a:t>
            </a:r>
          </a:p>
        </p:txBody>
      </p:sp>
      <p:sp>
        <p:nvSpPr>
          <p:cNvPr id="96" name="Textfeld 58"/>
          <p:cNvSpPr txBox="1">
            <a:spLocks noChangeArrowheads="1"/>
          </p:cNvSpPr>
          <p:nvPr/>
        </p:nvSpPr>
        <p:spPr bwMode="auto">
          <a:xfrm>
            <a:off x="2853648" y="5174801"/>
            <a:ext cx="989868" cy="223450"/>
          </a:xfrm>
          <a:prstGeom prst="rect">
            <a:avLst/>
          </a:prstGeom>
          <a:noFill/>
          <a:ln w="9525">
            <a:noFill/>
            <a:miter lim="800000"/>
            <a:headEnd/>
            <a:tailEnd/>
          </a:ln>
        </p:spPr>
        <p:txBody>
          <a:bodyPr wrap="none" lIns="63110" tIns="31555" rIns="63110" bIns="31555">
            <a:spAutoFit/>
          </a:bodyPr>
          <a:lstStyle/>
          <a:p>
            <a:pPr algn="r" defTabSz="844083" eaLnBrk="1" hangingPunct="1">
              <a:spcAft>
                <a:spcPct val="0"/>
              </a:spcAft>
              <a:defRPr/>
            </a:pPr>
            <a:r>
              <a:rPr lang="de-DE" sz="1038" dirty="0">
                <a:solidFill>
                  <a:srgbClr val="000000"/>
                </a:solidFill>
                <a:latin typeface="Arial"/>
                <a:cs typeface="Arial" charset="0"/>
              </a:rPr>
              <a:t>Vergangenheit</a:t>
            </a:r>
          </a:p>
        </p:txBody>
      </p:sp>
      <p:sp>
        <p:nvSpPr>
          <p:cNvPr id="97" name="Textfeld 59"/>
          <p:cNvSpPr txBox="1">
            <a:spLocks noChangeArrowheads="1"/>
          </p:cNvSpPr>
          <p:nvPr/>
        </p:nvSpPr>
        <p:spPr bwMode="auto">
          <a:xfrm>
            <a:off x="4132021" y="5376270"/>
            <a:ext cx="481717" cy="223450"/>
          </a:xfrm>
          <a:prstGeom prst="rect">
            <a:avLst/>
          </a:prstGeom>
          <a:noFill/>
          <a:ln w="9525">
            <a:noFill/>
            <a:miter lim="800000"/>
            <a:headEnd/>
            <a:tailEnd/>
          </a:ln>
        </p:spPr>
        <p:txBody>
          <a:bodyPr wrap="none" lIns="63110" tIns="31555" rIns="63110" bIns="31555">
            <a:spAutoFit/>
          </a:bodyPr>
          <a:lstStyle/>
          <a:p>
            <a:pPr defTabSz="844083" eaLnBrk="1" hangingPunct="1">
              <a:spcAft>
                <a:spcPct val="0"/>
              </a:spcAft>
              <a:defRPr/>
            </a:pPr>
            <a:r>
              <a:rPr lang="de-DE" sz="1038" dirty="0">
                <a:solidFill>
                  <a:srgbClr val="000000"/>
                </a:solidFill>
                <a:latin typeface="Arial"/>
                <a:cs typeface="Arial" charset="0"/>
              </a:rPr>
              <a:t>Heute</a:t>
            </a:r>
          </a:p>
        </p:txBody>
      </p:sp>
      <p:sp>
        <p:nvSpPr>
          <p:cNvPr id="98" name="Textfeld 60"/>
          <p:cNvSpPr txBox="1">
            <a:spLocks noChangeArrowheads="1"/>
          </p:cNvSpPr>
          <p:nvPr/>
        </p:nvSpPr>
        <p:spPr bwMode="auto">
          <a:xfrm>
            <a:off x="4810164" y="5176120"/>
            <a:ext cx="571485" cy="223450"/>
          </a:xfrm>
          <a:prstGeom prst="rect">
            <a:avLst/>
          </a:prstGeom>
          <a:noFill/>
          <a:ln w="9525">
            <a:noFill/>
            <a:miter lim="800000"/>
            <a:headEnd/>
            <a:tailEnd/>
          </a:ln>
        </p:spPr>
        <p:txBody>
          <a:bodyPr wrap="none" lIns="63110" tIns="31555" rIns="63110" bIns="31555">
            <a:spAutoFit/>
          </a:bodyPr>
          <a:lstStyle/>
          <a:p>
            <a:pPr defTabSz="844083" eaLnBrk="1" hangingPunct="1">
              <a:spcAft>
                <a:spcPct val="0"/>
              </a:spcAft>
              <a:defRPr/>
            </a:pPr>
            <a:r>
              <a:rPr lang="de-DE" sz="1038" dirty="0">
                <a:solidFill>
                  <a:srgbClr val="000000"/>
                </a:solidFill>
                <a:latin typeface="Arial"/>
                <a:cs typeface="Arial" charset="0"/>
              </a:rPr>
              <a:t>Zukunft</a:t>
            </a:r>
          </a:p>
        </p:txBody>
      </p:sp>
      <p:cxnSp>
        <p:nvCxnSpPr>
          <p:cNvPr id="99" name="Gerade Verbindung mit Pfeil 117"/>
          <p:cNvCxnSpPr>
            <a:cxnSpLocks noChangeShapeType="1"/>
          </p:cNvCxnSpPr>
          <p:nvPr/>
        </p:nvCxnSpPr>
        <p:spPr bwMode="auto">
          <a:xfrm>
            <a:off x="4418435" y="5286286"/>
            <a:ext cx="388406" cy="0"/>
          </a:xfrm>
          <a:prstGeom prst="straightConnector1">
            <a:avLst/>
          </a:prstGeom>
          <a:noFill/>
          <a:ln w="6350" algn="ctr">
            <a:solidFill>
              <a:schemeClr val="tx1"/>
            </a:solidFill>
            <a:round/>
            <a:headEnd/>
            <a:tailEnd type="triangle" w="med" len="med"/>
          </a:ln>
        </p:spPr>
      </p:cxnSp>
      <p:cxnSp>
        <p:nvCxnSpPr>
          <p:cNvPr id="100" name="Gerade Verbindung mit Pfeil 118"/>
          <p:cNvCxnSpPr>
            <a:cxnSpLocks noChangeShapeType="1"/>
          </p:cNvCxnSpPr>
          <p:nvPr/>
        </p:nvCxnSpPr>
        <p:spPr bwMode="auto">
          <a:xfrm flipH="1">
            <a:off x="3925986" y="5286286"/>
            <a:ext cx="388406" cy="0"/>
          </a:xfrm>
          <a:prstGeom prst="straightConnector1">
            <a:avLst/>
          </a:prstGeom>
          <a:noFill/>
          <a:ln w="6350" algn="ctr">
            <a:solidFill>
              <a:schemeClr val="tx1"/>
            </a:solidFill>
            <a:round/>
            <a:headEnd/>
            <a:tailEnd type="triangle" w="med" len="med"/>
          </a:ln>
        </p:spPr>
      </p:cxnSp>
      <p:sp>
        <p:nvSpPr>
          <p:cNvPr id="101" name="Freihandform 54"/>
          <p:cNvSpPr>
            <a:spLocks/>
          </p:cNvSpPr>
          <p:nvPr/>
        </p:nvSpPr>
        <p:spPr bwMode="auto">
          <a:xfrm rot="21396569">
            <a:off x="3634241" y="3603091"/>
            <a:ext cx="1421205" cy="1080801"/>
          </a:xfrm>
          <a:custGeom>
            <a:avLst/>
            <a:gdLst>
              <a:gd name="T0" fmla="*/ 4815 w 1944304"/>
              <a:gd name="T1" fmla="*/ 1019810 h 1090863"/>
              <a:gd name="T2" fmla="*/ 678849 w 1944304"/>
              <a:gd name="T3" fmla="*/ 452179 h 1090863"/>
              <a:gd name="T4" fmla="*/ 1131416 w 1944304"/>
              <a:gd name="T5" fmla="*/ 240521 h 1090863"/>
              <a:gd name="T6" fmla="*/ 1901742 w 1944304"/>
              <a:gd name="T7" fmla="*/ 48104 h 1090863"/>
              <a:gd name="T8" fmla="*/ 1391401 w 1944304"/>
              <a:gd name="T9" fmla="*/ 529147 h 1090863"/>
              <a:gd name="T10" fmla="*/ 707737 w 1944304"/>
              <a:gd name="T11" fmla="*/ 875497 h 1090863"/>
              <a:gd name="T12" fmla="*/ 4815 w 1944304"/>
              <a:gd name="T13" fmla="*/ 1019810 h 1090863"/>
              <a:gd name="T14" fmla="*/ 0 60000 65536"/>
              <a:gd name="T15" fmla="*/ 0 60000 65536"/>
              <a:gd name="T16" fmla="*/ 0 60000 65536"/>
              <a:gd name="T17" fmla="*/ 0 60000 65536"/>
              <a:gd name="T18" fmla="*/ 0 60000 65536"/>
              <a:gd name="T19" fmla="*/ 0 60000 65536"/>
              <a:gd name="T20" fmla="*/ 0 60000 65536"/>
              <a:gd name="connsiteX0" fmla="*/ 39 w 1842839"/>
              <a:gd name="connsiteY0" fmla="*/ 959272 h 981220"/>
              <a:gd name="connsiteX1" fmla="*/ 616799 w 1842839"/>
              <a:gd name="connsiteY1" fmla="*/ 412589 h 981220"/>
              <a:gd name="connsiteX2" fmla="*/ 1069187 w 1842839"/>
              <a:gd name="connsiteY2" fmla="*/ 200833 h 981220"/>
              <a:gd name="connsiteX3" fmla="*/ 1839208 w 1842839"/>
              <a:gd name="connsiteY3" fmla="*/ 8328 h 981220"/>
              <a:gd name="connsiteX4" fmla="*/ 1329069 w 1842839"/>
              <a:gd name="connsiteY4" fmla="*/ 489591 h 981220"/>
              <a:gd name="connsiteX5" fmla="*/ 645675 w 1842839"/>
              <a:gd name="connsiteY5" fmla="*/ 836101 h 981220"/>
              <a:gd name="connsiteX6" fmla="*/ 39 w 1842839"/>
              <a:gd name="connsiteY6" fmla="*/ 959272 h 981220"/>
              <a:gd name="connsiteX0" fmla="*/ 463 w 1843263"/>
              <a:gd name="connsiteY0" fmla="*/ 959272 h 981747"/>
              <a:gd name="connsiteX1" fmla="*/ 617223 w 1843263"/>
              <a:gd name="connsiteY1" fmla="*/ 412589 h 981747"/>
              <a:gd name="connsiteX2" fmla="*/ 1069611 w 1843263"/>
              <a:gd name="connsiteY2" fmla="*/ 200833 h 981747"/>
              <a:gd name="connsiteX3" fmla="*/ 1839632 w 1843263"/>
              <a:gd name="connsiteY3" fmla="*/ 8328 h 981747"/>
              <a:gd name="connsiteX4" fmla="*/ 1329493 w 1843263"/>
              <a:gd name="connsiteY4" fmla="*/ 489591 h 981747"/>
              <a:gd name="connsiteX5" fmla="*/ 719223 w 1843263"/>
              <a:gd name="connsiteY5" fmla="*/ 838859 h 981747"/>
              <a:gd name="connsiteX6" fmla="*/ 463 w 1843263"/>
              <a:gd name="connsiteY6" fmla="*/ 959272 h 981747"/>
              <a:gd name="connsiteX0" fmla="*/ 55759 w 1898559"/>
              <a:gd name="connsiteY0" fmla="*/ 959272 h 960290"/>
              <a:gd name="connsiteX1" fmla="*/ 672519 w 1898559"/>
              <a:gd name="connsiteY1" fmla="*/ 412589 h 960290"/>
              <a:gd name="connsiteX2" fmla="*/ 1124907 w 1898559"/>
              <a:gd name="connsiteY2" fmla="*/ 200833 h 960290"/>
              <a:gd name="connsiteX3" fmla="*/ 1894928 w 1898559"/>
              <a:gd name="connsiteY3" fmla="*/ 8328 h 960290"/>
              <a:gd name="connsiteX4" fmla="*/ 1384789 w 1898559"/>
              <a:gd name="connsiteY4" fmla="*/ 489591 h 960290"/>
              <a:gd name="connsiteX5" fmla="*/ 774519 w 1898559"/>
              <a:gd name="connsiteY5" fmla="*/ 838859 h 960290"/>
              <a:gd name="connsiteX6" fmla="*/ 55759 w 1898559"/>
              <a:gd name="connsiteY6" fmla="*/ 959272 h 960290"/>
              <a:gd name="connsiteX0" fmla="*/ 55759 w 1898559"/>
              <a:gd name="connsiteY0" fmla="*/ 959272 h 960290"/>
              <a:gd name="connsiteX1" fmla="*/ 672519 w 1898559"/>
              <a:gd name="connsiteY1" fmla="*/ 412589 h 960290"/>
              <a:gd name="connsiteX2" fmla="*/ 1124907 w 1898559"/>
              <a:gd name="connsiteY2" fmla="*/ 200833 h 960290"/>
              <a:gd name="connsiteX3" fmla="*/ 1894928 w 1898559"/>
              <a:gd name="connsiteY3" fmla="*/ 8328 h 960290"/>
              <a:gd name="connsiteX4" fmla="*/ 1384789 w 1898559"/>
              <a:gd name="connsiteY4" fmla="*/ 489591 h 960290"/>
              <a:gd name="connsiteX5" fmla="*/ 774519 w 1898559"/>
              <a:gd name="connsiteY5" fmla="*/ 838859 h 960290"/>
              <a:gd name="connsiteX6" fmla="*/ 55759 w 1898559"/>
              <a:gd name="connsiteY6" fmla="*/ 959272 h 960290"/>
              <a:gd name="connsiteX0" fmla="*/ 0 w 1842800"/>
              <a:gd name="connsiteY0" fmla="*/ 959272 h 959272"/>
              <a:gd name="connsiteX1" fmla="*/ 616760 w 1842800"/>
              <a:gd name="connsiteY1" fmla="*/ 412589 h 959272"/>
              <a:gd name="connsiteX2" fmla="*/ 1069148 w 1842800"/>
              <a:gd name="connsiteY2" fmla="*/ 200833 h 959272"/>
              <a:gd name="connsiteX3" fmla="*/ 1839169 w 1842800"/>
              <a:gd name="connsiteY3" fmla="*/ 8328 h 959272"/>
              <a:gd name="connsiteX4" fmla="*/ 1329030 w 1842800"/>
              <a:gd name="connsiteY4" fmla="*/ 489591 h 959272"/>
              <a:gd name="connsiteX5" fmla="*/ 718760 w 1842800"/>
              <a:gd name="connsiteY5" fmla="*/ 838859 h 959272"/>
              <a:gd name="connsiteX6" fmla="*/ 0 w 1842800"/>
              <a:gd name="connsiteY6" fmla="*/ 959272 h 959272"/>
              <a:gd name="connsiteX0" fmla="*/ 0 w 1842800"/>
              <a:gd name="connsiteY0" fmla="*/ 959272 h 959272"/>
              <a:gd name="connsiteX1" fmla="*/ 616760 w 1842800"/>
              <a:gd name="connsiteY1" fmla="*/ 412589 h 959272"/>
              <a:gd name="connsiteX2" fmla="*/ 1069148 w 1842800"/>
              <a:gd name="connsiteY2" fmla="*/ 200833 h 959272"/>
              <a:gd name="connsiteX3" fmla="*/ 1839169 w 1842800"/>
              <a:gd name="connsiteY3" fmla="*/ 8328 h 959272"/>
              <a:gd name="connsiteX4" fmla="*/ 1329030 w 1842800"/>
              <a:gd name="connsiteY4" fmla="*/ 489591 h 959272"/>
              <a:gd name="connsiteX5" fmla="*/ 718760 w 1842800"/>
              <a:gd name="connsiteY5" fmla="*/ 838859 h 959272"/>
              <a:gd name="connsiteX6" fmla="*/ 0 w 1842800"/>
              <a:gd name="connsiteY6" fmla="*/ 959272 h 959272"/>
              <a:gd name="connsiteX0" fmla="*/ 0 w 1839169"/>
              <a:gd name="connsiteY0" fmla="*/ 959272 h 959272"/>
              <a:gd name="connsiteX1" fmla="*/ 616760 w 1839169"/>
              <a:gd name="connsiteY1" fmla="*/ 412589 h 959272"/>
              <a:gd name="connsiteX2" fmla="*/ 1069148 w 1839169"/>
              <a:gd name="connsiteY2" fmla="*/ 200833 h 959272"/>
              <a:gd name="connsiteX3" fmla="*/ 1839169 w 1839169"/>
              <a:gd name="connsiteY3" fmla="*/ 8328 h 959272"/>
              <a:gd name="connsiteX4" fmla="*/ 1329030 w 1839169"/>
              <a:gd name="connsiteY4" fmla="*/ 489591 h 959272"/>
              <a:gd name="connsiteX5" fmla="*/ 718760 w 1839169"/>
              <a:gd name="connsiteY5" fmla="*/ 838859 h 959272"/>
              <a:gd name="connsiteX6" fmla="*/ 0 w 1839169"/>
              <a:gd name="connsiteY6" fmla="*/ 959272 h 959272"/>
              <a:gd name="connsiteX0" fmla="*/ 0 w 1839169"/>
              <a:gd name="connsiteY0" fmla="*/ 950944 h 950944"/>
              <a:gd name="connsiteX1" fmla="*/ 616760 w 1839169"/>
              <a:gd name="connsiteY1" fmla="*/ 404261 h 950944"/>
              <a:gd name="connsiteX2" fmla="*/ 1069148 w 1839169"/>
              <a:gd name="connsiteY2" fmla="*/ 192505 h 950944"/>
              <a:gd name="connsiteX3" fmla="*/ 1839169 w 1839169"/>
              <a:gd name="connsiteY3" fmla="*/ 0 h 950944"/>
              <a:gd name="connsiteX4" fmla="*/ 1329030 w 1839169"/>
              <a:gd name="connsiteY4" fmla="*/ 481263 h 950944"/>
              <a:gd name="connsiteX5" fmla="*/ 718760 w 1839169"/>
              <a:gd name="connsiteY5" fmla="*/ 830531 h 950944"/>
              <a:gd name="connsiteX6" fmla="*/ 0 w 1839169"/>
              <a:gd name="connsiteY6" fmla="*/ 950944 h 950944"/>
              <a:gd name="connsiteX0" fmla="*/ 0 w 1839169"/>
              <a:gd name="connsiteY0" fmla="*/ 950944 h 950944"/>
              <a:gd name="connsiteX1" fmla="*/ 603513 w 1839169"/>
              <a:gd name="connsiteY1" fmla="*/ 387093 h 950944"/>
              <a:gd name="connsiteX2" fmla="*/ 1069148 w 1839169"/>
              <a:gd name="connsiteY2" fmla="*/ 192505 h 950944"/>
              <a:gd name="connsiteX3" fmla="*/ 1839169 w 1839169"/>
              <a:gd name="connsiteY3" fmla="*/ 0 h 950944"/>
              <a:gd name="connsiteX4" fmla="*/ 1329030 w 1839169"/>
              <a:gd name="connsiteY4" fmla="*/ 481263 h 950944"/>
              <a:gd name="connsiteX5" fmla="*/ 718760 w 1839169"/>
              <a:gd name="connsiteY5" fmla="*/ 830531 h 950944"/>
              <a:gd name="connsiteX6" fmla="*/ 0 w 1839169"/>
              <a:gd name="connsiteY6" fmla="*/ 950944 h 950944"/>
              <a:gd name="connsiteX0" fmla="*/ 0 w 1839169"/>
              <a:gd name="connsiteY0" fmla="*/ 950944 h 950944"/>
              <a:gd name="connsiteX1" fmla="*/ 603513 w 1839169"/>
              <a:gd name="connsiteY1" fmla="*/ 387093 h 950944"/>
              <a:gd name="connsiteX2" fmla="*/ 1118464 w 1839169"/>
              <a:gd name="connsiteY2" fmla="*/ 134591 h 950944"/>
              <a:gd name="connsiteX3" fmla="*/ 1839169 w 1839169"/>
              <a:gd name="connsiteY3" fmla="*/ 0 h 950944"/>
              <a:gd name="connsiteX4" fmla="*/ 1329030 w 1839169"/>
              <a:gd name="connsiteY4" fmla="*/ 481263 h 950944"/>
              <a:gd name="connsiteX5" fmla="*/ 718760 w 1839169"/>
              <a:gd name="connsiteY5" fmla="*/ 830531 h 950944"/>
              <a:gd name="connsiteX6" fmla="*/ 0 w 1839169"/>
              <a:gd name="connsiteY6" fmla="*/ 950944 h 950944"/>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329030 w 1889323"/>
              <a:gd name="connsiteY4" fmla="*/ 492562 h 962243"/>
              <a:gd name="connsiteX5" fmla="*/ 718760 w 1889323"/>
              <a:gd name="connsiteY5" fmla="*/ 841830 h 962243"/>
              <a:gd name="connsiteX6" fmla="*/ 0 w 1889323"/>
              <a:gd name="connsiteY6" fmla="*/ 962243 h 962243"/>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329030 w 1889323"/>
              <a:gd name="connsiteY4" fmla="*/ 492562 h 962243"/>
              <a:gd name="connsiteX5" fmla="*/ 718760 w 1889323"/>
              <a:gd name="connsiteY5" fmla="*/ 841830 h 962243"/>
              <a:gd name="connsiteX6" fmla="*/ 0 w 1889323"/>
              <a:gd name="connsiteY6" fmla="*/ 962243 h 962243"/>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406546 w 1889323"/>
              <a:gd name="connsiteY4" fmla="*/ 505652 h 962243"/>
              <a:gd name="connsiteX5" fmla="*/ 718760 w 1889323"/>
              <a:gd name="connsiteY5" fmla="*/ 841830 h 962243"/>
              <a:gd name="connsiteX6" fmla="*/ 0 w 1889323"/>
              <a:gd name="connsiteY6" fmla="*/ 962243 h 962243"/>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406546 w 1889323"/>
              <a:gd name="connsiteY4" fmla="*/ 505652 h 962243"/>
              <a:gd name="connsiteX5" fmla="*/ 721918 w 1889323"/>
              <a:gd name="connsiteY5" fmla="*/ 861921 h 962243"/>
              <a:gd name="connsiteX6" fmla="*/ 0 w 1889323"/>
              <a:gd name="connsiteY6" fmla="*/ 962243 h 962243"/>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27883 w 1910660"/>
              <a:gd name="connsiteY4" fmla="*/ 505652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27883 w 1910660"/>
              <a:gd name="connsiteY4" fmla="*/ 505652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27883 w 1910660"/>
              <a:gd name="connsiteY4" fmla="*/ 505652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34283 w 1910660"/>
              <a:gd name="connsiteY4" fmla="*/ 518666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34283 w 1910660"/>
              <a:gd name="connsiteY4" fmla="*/ 51866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39801 w 1910660"/>
              <a:gd name="connsiteY2" fmla="*/ 145890 h 981351"/>
              <a:gd name="connsiteX3" fmla="*/ 1910660 w 1910660"/>
              <a:gd name="connsiteY3" fmla="*/ 0 h 981351"/>
              <a:gd name="connsiteX4" fmla="*/ 1434283 w 1910660"/>
              <a:gd name="connsiteY4" fmla="*/ 51866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34283 w 1910660"/>
              <a:gd name="connsiteY4" fmla="*/ 51866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85569 w 1910660"/>
              <a:gd name="connsiteY4" fmla="*/ 49265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85569 w 1910660"/>
              <a:gd name="connsiteY4" fmla="*/ 49265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7205"/>
              <a:gd name="connsiteY0" fmla="*/ 981089 h 981089"/>
              <a:gd name="connsiteX1" fmla="*/ 614616 w 1917205"/>
              <a:gd name="connsiteY1" fmla="*/ 399788 h 981089"/>
              <a:gd name="connsiteX2" fmla="*/ 1151739 w 1917205"/>
              <a:gd name="connsiteY2" fmla="*/ 138453 h 981089"/>
              <a:gd name="connsiteX3" fmla="*/ 1917205 w 1917205"/>
              <a:gd name="connsiteY3" fmla="*/ 0 h 981089"/>
              <a:gd name="connsiteX4" fmla="*/ 1490661 w 1917205"/>
              <a:gd name="connsiteY4" fmla="*/ 477290 h 981089"/>
              <a:gd name="connsiteX5" fmla="*/ 769551 w 1917205"/>
              <a:gd name="connsiteY5" fmla="*/ 862713 h 981089"/>
              <a:gd name="connsiteX6" fmla="*/ 0 w 1917205"/>
              <a:gd name="connsiteY6" fmla="*/ 981089 h 981089"/>
              <a:gd name="connsiteX0" fmla="*/ 0 w 1928243"/>
              <a:gd name="connsiteY0" fmla="*/ 982129 h 982129"/>
              <a:gd name="connsiteX1" fmla="*/ 614616 w 1928243"/>
              <a:gd name="connsiteY1" fmla="*/ 400828 h 982129"/>
              <a:gd name="connsiteX2" fmla="*/ 1151739 w 1928243"/>
              <a:gd name="connsiteY2" fmla="*/ 139493 h 982129"/>
              <a:gd name="connsiteX3" fmla="*/ 1928243 w 1928243"/>
              <a:gd name="connsiteY3" fmla="*/ 0 h 982129"/>
              <a:gd name="connsiteX4" fmla="*/ 1490661 w 1928243"/>
              <a:gd name="connsiteY4" fmla="*/ 478330 h 982129"/>
              <a:gd name="connsiteX5" fmla="*/ 769551 w 1928243"/>
              <a:gd name="connsiteY5" fmla="*/ 863753 h 982129"/>
              <a:gd name="connsiteX6" fmla="*/ 0 w 1928243"/>
              <a:gd name="connsiteY6" fmla="*/ 982129 h 982129"/>
              <a:gd name="connsiteX0" fmla="*/ 0 w 1928243"/>
              <a:gd name="connsiteY0" fmla="*/ 982129 h 982129"/>
              <a:gd name="connsiteX1" fmla="*/ 614616 w 1928243"/>
              <a:gd name="connsiteY1" fmla="*/ 400828 h 982129"/>
              <a:gd name="connsiteX2" fmla="*/ 1151739 w 1928243"/>
              <a:gd name="connsiteY2" fmla="*/ 139493 h 982129"/>
              <a:gd name="connsiteX3" fmla="*/ 1928243 w 1928243"/>
              <a:gd name="connsiteY3" fmla="*/ 0 h 982129"/>
              <a:gd name="connsiteX4" fmla="*/ 1490661 w 1928243"/>
              <a:gd name="connsiteY4" fmla="*/ 478330 h 982129"/>
              <a:gd name="connsiteX5" fmla="*/ 769551 w 1928243"/>
              <a:gd name="connsiteY5" fmla="*/ 863753 h 982129"/>
              <a:gd name="connsiteX6" fmla="*/ 0 w 1928243"/>
              <a:gd name="connsiteY6" fmla="*/ 982129 h 982129"/>
              <a:gd name="connsiteX0" fmla="*/ 0 w 1928243"/>
              <a:gd name="connsiteY0" fmla="*/ 982129 h 982129"/>
              <a:gd name="connsiteX1" fmla="*/ 614616 w 1928243"/>
              <a:gd name="connsiteY1" fmla="*/ 400828 h 982129"/>
              <a:gd name="connsiteX2" fmla="*/ 1151739 w 1928243"/>
              <a:gd name="connsiteY2" fmla="*/ 139493 h 982129"/>
              <a:gd name="connsiteX3" fmla="*/ 1928243 w 1928243"/>
              <a:gd name="connsiteY3" fmla="*/ 0 h 982129"/>
              <a:gd name="connsiteX4" fmla="*/ 1490661 w 1928243"/>
              <a:gd name="connsiteY4" fmla="*/ 478330 h 982129"/>
              <a:gd name="connsiteX5" fmla="*/ 769551 w 1928243"/>
              <a:gd name="connsiteY5" fmla="*/ 863753 h 982129"/>
              <a:gd name="connsiteX6" fmla="*/ 0 w 1928243"/>
              <a:gd name="connsiteY6" fmla="*/ 982129 h 982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8243" h="982129">
                <a:moveTo>
                  <a:pt x="0" y="982129"/>
                </a:moveTo>
                <a:cubicBezTo>
                  <a:pt x="222870" y="793691"/>
                  <a:pt x="414784" y="526469"/>
                  <a:pt x="614616" y="400828"/>
                </a:cubicBezTo>
                <a:cubicBezTo>
                  <a:pt x="814448" y="275187"/>
                  <a:pt x="932801" y="206298"/>
                  <a:pt x="1151739" y="139493"/>
                </a:cubicBezTo>
                <a:cubicBezTo>
                  <a:pt x="1370677" y="72688"/>
                  <a:pt x="1608569" y="14507"/>
                  <a:pt x="1928243" y="0"/>
                </a:cubicBezTo>
                <a:cubicBezTo>
                  <a:pt x="1843665" y="107229"/>
                  <a:pt x="1712682" y="301142"/>
                  <a:pt x="1490661" y="478330"/>
                </a:cubicBezTo>
                <a:cubicBezTo>
                  <a:pt x="1291739" y="616292"/>
                  <a:pt x="1017994" y="779787"/>
                  <a:pt x="769551" y="863753"/>
                </a:cubicBezTo>
                <a:cubicBezTo>
                  <a:pt x="521108" y="947719"/>
                  <a:pt x="268507" y="974216"/>
                  <a:pt x="0" y="982129"/>
                </a:cubicBezTo>
                <a:close/>
              </a:path>
            </a:pathLst>
          </a:custGeom>
          <a:gradFill flip="none" rotWithShape="1">
            <a:gsLst>
              <a:gs pos="37000">
                <a:srgbClr val="86D598"/>
              </a:gs>
              <a:gs pos="14000">
                <a:srgbClr val="3ED06F"/>
              </a:gs>
              <a:gs pos="67000">
                <a:srgbClr val="F1A29C">
                  <a:lumMod val="94000"/>
                </a:srgbClr>
              </a:gs>
              <a:gs pos="50000">
                <a:srgbClr val="E4EBDD">
                  <a:lumMod val="90000"/>
                </a:srgbClr>
              </a:gs>
              <a:gs pos="92000">
                <a:srgbClr val="FB4F4F">
                  <a:lumMod val="98000"/>
                </a:srgbClr>
              </a:gs>
            </a:gsLst>
            <a:lin ang="8100000" scaled="1"/>
            <a:tileRect/>
          </a:gradFill>
          <a:ln>
            <a:noFill/>
          </a:ln>
          <a:extLst/>
        </p:spPr>
        <p:txBody>
          <a:bodyPr wrap="none" lIns="62294" tIns="32393" rIns="62294" bIns="32393"/>
          <a:lstStyle/>
          <a:p>
            <a:pPr defTabSz="844083">
              <a:defRPr/>
            </a:pPr>
            <a:endParaRPr lang="de-DE" sz="1108" dirty="0">
              <a:solidFill>
                <a:srgbClr val="000000"/>
              </a:solidFill>
              <a:latin typeface="Arial"/>
              <a:cs typeface="Arial" charset="0"/>
            </a:endParaRPr>
          </a:p>
        </p:txBody>
      </p:sp>
      <p:grpSp>
        <p:nvGrpSpPr>
          <p:cNvPr id="103" name="Gruppieren 82"/>
          <p:cNvGrpSpPr/>
          <p:nvPr/>
        </p:nvGrpSpPr>
        <p:grpSpPr>
          <a:xfrm>
            <a:off x="2677434" y="3541935"/>
            <a:ext cx="3080064" cy="1531902"/>
            <a:chOff x="1649581" y="3714729"/>
            <a:chExt cx="4516799" cy="2212746"/>
          </a:xfrm>
        </p:grpSpPr>
        <p:sp>
          <p:nvSpPr>
            <p:cNvPr id="104" name="Freihandform 9"/>
            <p:cNvSpPr>
              <a:spLocks noChangeArrowheads="1"/>
            </p:cNvSpPr>
            <p:nvPr/>
          </p:nvSpPr>
          <p:spPr bwMode="auto">
            <a:xfrm>
              <a:off x="1649581" y="3714729"/>
              <a:ext cx="3762451" cy="2212746"/>
            </a:xfrm>
            <a:custGeom>
              <a:avLst/>
              <a:gdLst>
                <a:gd name="T0" fmla="*/ 24855 w 4279231"/>
                <a:gd name="T1" fmla="*/ 1761059 h 1770246"/>
                <a:gd name="T2" fmla="*/ 82581 w 4279231"/>
                <a:gd name="T3" fmla="*/ 1732189 h 1770246"/>
                <a:gd name="T4" fmla="*/ 669470 w 4279231"/>
                <a:gd name="T5" fmla="*/ 1481985 h 1770246"/>
                <a:gd name="T6" fmla="*/ 1593100 w 4279231"/>
                <a:gd name="T7" fmla="*/ 702498 h 1770246"/>
                <a:gd name="T8" fmla="*/ 2093398 w 4279231"/>
                <a:gd name="T9" fmla="*/ 413800 h 1770246"/>
                <a:gd name="T10" fmla="*/ 2978542 w 4279231"/>
                <a:gd name="T11" fmla="*/ 163596 h 1770246"/>
                <a:gd name="T12" fmla="*/ 4277393 w 4279231"/>
                <a:gd name="T13" fmla="*/ 0 h 1770246"/>
                <a:gd name="T14" fmla="*/ 0 60000 65536"/>
                <a:gd name="T15" fmla="*/ 0 60000 65536"/>
                <a:gd name="T16" fmla="*/ 0 60000 65536"/>
                <a:gd name="T17" fmla="*/ 0 60000 65536"/>
                <a:gd name="T18" fmla="*/ 0 60000 65536"/>
                <a:gd name="T19" fmla="*/ 0 60000 65536"/>
                <a:gd name="T20" fmla="*/ 0 60000 65536"/>
                <a:gd name="T21" fmla="*/ 0 w 4279231"/>
                <a:gd name="T22" fmla="*/ 0 h 1770246"/>
                <a:gd name="T23" fmla="*/ 4279231 w 4279231"/>
                <a:gd name="T24" fmla="*/ 1770246 h 1770246"/>
                <a:gd name="connsiteX0" fmla="*/ 0 w 4254366"/>
                <a:gd name="connsiteY0" fmla="*/ 1761423 h 1761423"/>
                <a:gd name="connsiteX1" fmla="*/ 644893 w 4254366"/>
                <a:gd name="connsiteY1" fmla="*/ 1482291 h 1761423"/>
                <a:gd name="connsiteX2" fmla="*/ 1568918 w 4254366"/>
                <a:gd name="connsiteY2" fmla="*/ 702644 h 1761423"/>
                <a:gd name="connsiteX3" fmla="*/ 2069432 w 4254366"/>
                <a:gd name="connsiteY3" fmla="*/ 413886 h 1761423"/>
                <a:gd name="connsiteX4" fmla="*/ 2954956 w 4254366"/>
                <a:gd name="connsiteY4" fmla="*/ 163630 h 1761423"/>
                <a:gd name="connsiteX5" fmla="*/ 4254366 w 4254366"/>
                <a:gd name="connsiteY5" fmla="*/ 0 h 1761423"/>
                <a:gd name="connsiteX0" fmla="*/ 0 w 4703568"/>
                <a:gd name="connsiteY0" fmla="*/ 1726616 h 1726616"/>
                <a:gd name="connsiteX1" fmla="*/ 1094095 w 4703568"/>
                <a:gd name="connsiteY1" fmla="*/ 1482291 h 1726616"/>
                <a:gd name="connsiteX2" fmla="*/ 2018120 w 4703568"/>
                <a:gd name="connsiteY2" fmla="*/ 702644 h 1726616"/>
                <a:gd name="connsiteX3" fmla="*/ 2518634 w 4703568"/>
                <a:gd name="connsiteY3" fmla="*/ 413886 h 1726616"/>
                <a:gd name="connsiteX4" fmla="*/ 3404158 w 4703568"/>
                <a:gd name="connsiteY4" fmla="*/ 163630 h 1726616"/>
                <a:gd name="connsiteX5" fmla="*/ 4703568 w 4703568"/>
                <a:gd name="connsiteY5" fmla="*/ 0 h 1726616"/>
                <a:gd name="connsiteX0" fmla="*/ 0 w 4703568"/>
                <a:gd name="connsiteY0" fmla="*/ 1726616 h 1726616"/>
                <a:gd name="connsiteX1" fmla="*/ 1094095 w 4703568"/>
                <a:gd name="connsiteY1" fmla="*/ 1482291 h 1726616"/>
                <a:gd name="connsiteX2" fmla="*/ 2018120 w 4703568"/>
                <a:gd name="connsiteY2" fmla="*/ 702644 h 1726616"/>
                <a:gd name="connsiteX3" fmla="*/ 2518634 w 4703568"/>
                <a:gd name="connsiteY3" fmla="*/ 413886 h 1726616"/>
                <a:gd name="connsiteX4" fmla="*/ 3404158 w 4703568"/>
                <a:gd name="connsiteY4" fmla="*/ 163630 h 1726616"/>
                <a:gd name="connsiteX5" fmla="*/ 4703568 w 4703568"/>
                <a:gd name="connsiteY5" fmla="*/ 0 h 1726616"/>
                <a:gd name="connsiteX0" fmla="*/ 0 w 4703568"/>
                <a:gd name="connsiteY0" fmla="*/ 1726616 h 1726616"/>
                <a:gd name="connsiteX1" fmla="*/ 1094095 w 4703568"/>
                <a:gd name="connsiteY1" fmla="*/ 1482291 h 1726616"/>
                <a:gd name="connsiteX2" fmla="*/ 2018120 w 4703568"/>
                <a:gd name="connsiteY2" fmla="*/ 702644 h 1726616"/>
                <a:gd name="connsiteX3" fmla="*/ 2518634 w 4703568"/>
                <a:gd name="connsiteY3" fmla="*/ 413886 h 1726616"/>
                <a:gd name="connsiteX4" fmla="*/ 3404158 w 4703568"/>
                <a:gd name="connsiteY4" fmla="*/ 163630 h 1726616"/>
                <a:gd name="connsiteX5" fmla="*/ 4703568 w 4703568"/>
                <a:gd name="connsiteY5" fmla="*/ 0 h 1726616"/>
                <a:gd name="connsiteX0" fmla="*/ 0 w 5164591"/>
                <a:gd name="connsiteY0" fmla="*/ 1747500 h 1747500"/>
                <a:gd name="connsiteX1" fmla="*/ 1555118 w 5164591"/>
                <a:gd name="connsiteY1" fmla="*/ 1482291 h 1747500"/>
                <a:gd name="connsiteX2" fmla="*/ 2479143 w 5164591"/>
                <a:gd name="connsiteY2" fmla="*/ 702644 h 1747500"/>
                <a:gd name="connsiteX3" fmla="*/ 2979657 w 5164591"/>
                <a:gd name="connsiteY3" fmla="*/ 413886 h 1747500"/>
                <a:gd name="connsiteX4" fmla="*/ 3865181 w 5164591"/>
                <a:gd name="connsiteY4" fmla="*/ 163630 h 1747500"/>
                <a:gd name="connsiteX5" fmla="*/ 5164591 w 5164591"/>
                <a:gd name="connsiteY5" fmla="*/ 0 h 1747500"/>
                <a:gd name="connsiteX0" fmla="*/ 0 w 5164591"/>
                <a:gd name="connsiteY0" fmla="*/ 1747500 h 1747500"/>
                <a:gd name="connsiteX1" fmla="*/ 1555118 w 5164591"/>
                <a:gd name="connsiteY1" fmla="*/ 1482291 h 1747500"/>
                <a:gd name="connsiteX2" fmla="*/ 2479143 w 5164591"/>
                <a:gd name="connsiteY2" fmla="*/ 702644 h 1747500"/>
                <a:gd name="connsiteX3" fmla="*/ 2979657 w 5164591"/>
                <a:gd name="connsiteY3" fmla="*/ 413886 h 1747500"/>
                <a:gd name="connsiteX4" fmla="*/ 3865181 w 5164591"/>
                <a:gd name="connsiteY4" fmla="*/ 163630 h 1747500"/>
                <a:gd name="connsiteX5" fmla="*/ 5164591 w 5164591"/>
                <a:gd name="connsiteY5" fmla="*/ 0 h 1747500"/>
                <a:gd name="connsiteX0" fmla="*/ 0 w 4674687"/>
                <a:gd name="connsiteY0" fmla="*/ 1700316 h 1700316"/>
                <a:gd name="connsiteX1" fmla="*/ 1555118 w 4674687"/>
                <a:gd name="connsiteY1" fmla="*/ 1435107 h 1700316"/>
                <a:gd name="connsiteX2" fmla="*/ 2479143 w 4674687"/>
                <a:gd name="connsiteY2" fmla="*/ 655460 h 1700316"/>
                <a:gd name="connsiteX3" fmla="*/ 2979657 w 4674687"/>
                <a:gd name="connsiteY3" fmla="*/ 366702 h 1700316"/>
                <a:gd name="connsiteX4" fmla="*/ 3865181 w 4674687"/>
                <a:gd name="connsiteY4" fmla="*/ 116446 h 1700316"/>
                <a:gd name="connsiteX5" fmla="*/ 4674687 w 4674687"/>
                <a:gd name="connsiteY5" fmla="*/ 0 h 1700316"/>
                <a:gd name="connsiteX0" fmla="*/ 0 w 4674687"/>
                <a:gd name="connsiteY0" fmla="*/ 1700316 h 1700316"/>
                <a:gd name="connsiteX1" fmla="*/ 1555118 w 4674687"/>
                <a:gd name="connsiteY1" fmla="*/ 1435107 h 1700316"/>
                <a:gd name="connsiteX2" fmla="*/ 2479143 w 4674687"/>
                <a:gd name="connsiteY2" fmla="*/ 655460 h 1700316"/>
                <a:gd name="connsiteX3" fmla="*/ 2979657 w 4674687"/>
                <a:gd name="connsiteY3" fmla="*/ 366702 h 1700316"/>
                <a:gd name="connsiteX4" fmla="*/ 3865181 w 4674687"/>
                <a:gd name="connsiteY4" fmla="*/ 116446 h 1700316"/>
                <a:gd name="connsiteX5" fmla="*/ 4674687 w 4674687"/>
                <a:gd name="connsiteY5" fmla="*/ 0 h 1700316"/>
                <a:gd name="connsiteX0" fmla="*/ 0 w 4674687"/>
                <a:gd name="connsiteY0" fmla="*/ 1700316 h 1700316"/>
                <a:gd name="connsiteX1" fmla="*/ 1555118 w 4674687"/>
                <a:gd name="connsiteY1" fmla="*/ 1435107 h 1700316"/>
                <a:gd name="connsiteX2" fmla="*/ 2479143 w 4674687"/>
                <a:gd name="connsiteY2" fmla="*/ 655460 h 1700316"/>
                <a:gd name="connsiteX3" fmla="*/ 2979657 w 4674687"/>
                <a:gd name="connsiteY3" fmla="*/ 366702 h 1700316"/>
                <a:gd name="connsiteX4" fmla="*/ 3865181 w 4674687"/>
                <a:gd name="connsiteY4" fmla="*/ 116446 h 1700316"/>
                <a:gd name="connsiteX5" fmla="*/ 4674687 w 4674687"/>
                <a:gd name="connsiteY5" fmla="*/ 0 h 1700316"/>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589897"/>
                <a:gd name="connsiteY0" fmla="*/ 1659030 h 1659030"/>
                <a:gd name="connsiteX1" fmla="*/ 1555118 w 4589897"/>
                <a:gd name="connsiteY1" fmla="*/ 1393821 h 1659030"/>
                <a:gd name="connsiteX2" fmla="*/ 2479143 w 4589897"/>
                <a:gd name="connsiteY2" fmla="*/ 614174 h 1659030"/>
                <a:gd name="connsiteX3" fmla="*/ 2979657 w 4589897"/>
                <a:gd name="connsiteY3" fmla="*/ 325416 h 1659030"/>
                <a:gd name="connsiteX4" fmla="*/ 3865181 w 4589897"/>
                <a:gd name="connsiteY4" fmla="*/ 75160 h 1659030"/>
                <a:gd name="connsiteX5" fmla="*/ 4589897 w 4589897"/>
                <a:gd name="connsiteY5"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2979657 w 4589897"/>
                <a:gd name="connsiteY3" fmla="*/ 325416 h 1659030"/>
                <a:gd name="connsiteX4" fmla="*/ 3865181 w 4589897"/>
                <a:gd name="connsiteY4" fmla="*/ 75160 h 1659030"/>
                <a:gd name="connsiteX5" fmla="*/ 4589897 w 4589897"/>
                <a:gd name="connsiteY5"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2979657 w 4589897"/>
                <a:gd name="connsiteY3" fmla="*/ 325416 h 1659030"/>
                <a:gd name="connsiteX4" fmla="*/ 4589897 w 4589897"/>
                <a:gd name="connsiteY4"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3215187 w 4589897"/>
                <a:gd name="connsiteY3" fmla="*/ 231048 h 1659030"/>
                <a:gd name="connsiteX4" fmla="*/ 4589897 w 4589897"/>
                <a:gd name="connsiteY4"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3215187 w 4589897"/>
                <a:gd name="connsiteY3" fmla="*/ 231048 h 1659030"/>
                <a:gd name="connsiteX4" fmla="*/ 4589897 w 4589897"/>
                <a:gd name="connsiteY4" fmla="*/ 0 h 1659030"/>
                <a:gd name="connsiteX0" fmla="*/ 0 w 4552211"/>
                <a:gd name="connsiteY0" fmla="*/ 1653132 h 1653132"/>
                <a:gd name="connsiteX1" fmla="*/ 1555118 w 4552211"/>
                <a:gd name="connsiteY1" fmla="*/ 1387923 h 1653132"/>
                <a:gd name="connsiteX2" fmla="*/ 2479143 w 4552211"/>
                <a:gd name="connsiteY2" fmla="*/ 608276 h 1653132"/>
                <a:gd name="connsiteX3" fmla="*/ 3215187 w 4552211"/>
                <a:gd name="connsiteY3" fmla="*/ 225150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15187 w 4552211"/>
                <a:gd name="connsiteY3" fmla="*/ 225150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05766 w 4552211"/>
                <a:gd name="connsiteY3" fmla="*/ 231048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05766 w 4552211"/>
                <a:gd name="connsiteY3" fmla="*/ 231048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05766 w 4552211"/>
                <a:gd name="connsiteY3" fmla="*/ 231048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43452 w 4552211"/>
                <a:gd name="connsiteY3" fmla="*/ 225150 h 1653132"/>
                <a:gd name="connsiteX4" fmla="*/ 4552211 w 4552211"/>
                <a:gd name="connsiteY4" fmla="*/ 0 h 1653132"/>
                <a:gd name="connsiteX0" fmla="*/ 0 w 4533369"/>
                <a:gd name="connsiteY0" fmla="*/ 1623642 h 1623642"/>
                <a:gd name="connsiteX1" fmla="*/ 1555118 w 4533369"/>
                <a:gd name="connsiteY1" fmla="*/ 1358433 h 1623642"/>
                <a:gd name="connsiteX2" fmla="*/ 2479143 w 4533369"/>
                <a:gd name="connsiteY2" fmla="*/ 578786 h 1623642"/>
                <a:gd name="connsiteX3" fmla="*/ 3243452 w 4533369"/>
                <a:gd name="connsiteY3" fmla="*/ 195660 h 1623642"/>
                <a:gd name="connsiteX4" fmla="*/ 4533369 w 4533369"/>
                <a:gd name="connsiteY4" fmla="*/ 0 h 1623642"/>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6806 w 4458000"/>
                <a:gd name="connsiteY3" fmla="*/ 2028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56869 w 4458000"/>
                <a:gd name="connsiteY3" fmla="*/ 2049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56869 w 4458000"/>
                <a:gd name="connsiteY3" fmla="*/ 204954 h 1641336"/>
                <a:gd name="connsiteX4" fmla="*/ 4458000 w 4458000"/>
                <a:gd name="connsiteY4" fmla="*/ 0 h 1641336"/>
                <a:gd name="connsiteX0" fmla="*/ 0 w 4458000"/>
                <a:gd name="connsiteY0" fmla="*/ 1641336 h 1641336"/>
                <a:gd name="connsiteX1" fmla="*/ 1555118 w 4458000"/>
                <a:gd name="connsiteY1" fmla="*/ 1376127 h 1641336"/>
                <a:gd name="connsiteX2" fmla="*/ 2417484 w 4458000"/>
                <a:gd name="connsiteY2" fmla="*/ 582694 h 1641336"/>
                <a:gd name="connsiteX3" fmla="*/ 3256869 w 4458000"/>
                <a:gd name="connsiteY3" fmla="*/ 204954 h 1641336"/>
                <a:gd name="connsiteX4" fmla="*/ 4458000 w 4458000"/>
                <a:gd name="connsiteY4" fmla="*/ 0 h 1641336"/>
                <a:gd name="connsiteX0" fmla="*/ 0 w 4458000"/>
                <a:gd name="connsiteY0" fmla="*/ 1641336 h 1641336"/>
                <a:gd name="connsiteX1" fmla="*/ 1555118 w 4458000"/>
                <a:gd name="connsiteY1" fmla="*/ 1376127 h 1641336"/>
                <a:gd name="connsiteX2" fmla="*/ 2417484 w 4458000"/>
                <a:gd name="connsiteY2" fmla="*/ 582694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8000" h="1641336">
                  <a:moveTo>
                    <a:pt x="0" y="1641336"/>
                  </a:moveTo>
                  <a:cubicBezTo>
                    <a:pt x="689945" y="1617991"/>
                    <a:pt x="1210193" y="1541998"/>
                    <a:pt x="1555118" y="1376127"/>
                  </a:cubicBezTo>
                  <a:cubicBezTo>
                    <a:pt x="1900043" y="1210256"/>
                    <a:pt x="2081742" y="846820"/>
                    <a:pt x="2333803" y="646109"/>
                  </a:cubicBezTo>
                  <a:cubicBezTo>
                    <a:pt x="2585864" y="445398"/>
                    <a:pt x="2898432" y="279553"/>
                    <a:pt x="3252465" y="171868"/>
                  </a:cubicBezTo>
                  <a:cubicBezTo>
                    <a:pt x="3606498" y="64183"/>
                    <a:pt x="4072224" y="2039"/>
                    <a:pt x="4458000" y="0"/>
                  </a:cubicBezTo>
                </a:path>
              </a:pathLst>
            </a:custGeom>
            <a:noFill/>
            <a:ln w="25400" cap="rnd"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lIns="62294" tIns="32393" rIns="62294" bIns="32393"/>
            <a:lstStyle/>
            <a:p>
              <a:pPr defTabSz="844083" eaLnBrk="1" hangingPunct="1">
                <a:spcAft>
                  <a:spcPct val="0"/>
                </a:spcAft>
                <a:defRPr/>
              </a:pPr>
              <a:endParaRPr lang="de-DE" sz="1038" dirty="0">
                <a:solidFill>
                  <a:srgbClr val="000000"/>
                </a:solidFill>
                <a:latin typeface="Arial"/>
                <a:cs typeface="Arial" charset="0"/>
              </a:endParaRPr>
            </a:p>
          </p:txBody>
        </p:sp>
        <p:sp>
          <p:nvSpPr>
            <p:cNvPr id="105" name="Freihandform 57"/>
            <p:cNvSpPr/>
            <p:nvPr/>
          </p:nvSpPr>
          <p:spPr>
            <a:xfrm rot="248835">
              <a:off x="5481242" y="3727012"/>
              <a:ext cx="685138" cy="12277"/>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2091"/>
                <a:gd name="connsiteY0" fmla="*/ 21054 h 21054"/>
                <a:gd name="connsiteX1" fmla="*/ 12091 w 12091"/>
                <a:gd name="connsiteY1" fmla="*/ 0 h 21054"/>
                <a:gd name="connsiteX0" fmla="*/ 0 w 12039"/>
                <a:gd name="connsiteY0" fmla="*/ 4473 h 4473"/>
                <a:gd name="connsiteX1" fmla="*/ 12039 w 12039"/>
                <a:gd name="connsiteY1" fmla="*/ 0 h 4473"/>
                <a:gd name="connsiteX0" fmla="*/ 0 w 10000"/>
                <a:gd name="connsiteY0" fmla="*/ 14454 h 14454"/>
                <a:gd name="connsiteX1" fmla="*/ 10000 w 10000"/>
                <a:gd name="connsiteY1" fmla="*/ 4454 h 14454"/>
                <a:gd name="connsiteX0" fmla="*/ 0 w 10000"/>
                <a:gd name="connsiteY0" fmla="*/ 17863 h 17863"/>
                <a:gd name="connsiteX1" fmla="*/ 10000 w 10000"/>
                <a:gd name="connsiteY1" fmla="*/ 7863 h 17863"/>
              </a:gdLst>
              <a:ahLst/>
              <a:cxnLst>
                <a:cxn ang="0">
                  <a:pos x="connsiteX0" y="connsiteY0"/>
                </a:cxn>
                <a:cxn ang="0">
                  <a:pos x="connsiteX1" y="connsiteY1"/>
                </a:cxn>
              </a:cxnLst>
              <a:rect l="l" t="t" r="r" b="b"/>
              <a:pathLst>
                <a:path w="10000" h="17863">
                  <a:moveTo>
                    <a:pt x="0" y="17863"/>
                  </a:moveTo>
                  <a:cubicBezTo>
                    <a:pt x="3594" y="-1947"/>
                    <a:pt x="6710" y="-5280"/>
                    <a:pt x="10000" y="7863"/>
                  </a:cubicBezTo>
                </a:path>
              </a:pathLst>
            </a:custGeom>
            <a:noFill/>
            <a:ln w="25400" cap="rnd" algn="ctr">
              <a:solidFill>
                <a:schemeClr val="bg2"/>
              </a:solidFill>
              <a:prstDash val="sysDash"/>
              <a:round/>
              <a:headEnd/>
              <a:tailEnd/>
            </a:ln>
          </p:spPr>
          <p:txBody>
            <a:bodyPr wrap="none" lIns="62294" tIns="32393" rIns="62294" bIns="32393"/>
            <a:lstStyle/>
            <a:p>
              <a:pPr defTabSz="844083" eaLnBrk="1" hangingPunct="1">
                <a:spcAft>
                  <a:spcPct val="0"/>
                </a:spcAft>
                <a:defRPr/>
              </a:pPr>
              <a:endParaRPr lang="de-DE" sz="1038" dirty="0">
                <a:solidFill>
                  <a:srgbClr val="000000"/>
                </a:solidFill>
                <a:latin typeface="Arial"/>
                <a:cs typeface="Arial" charset="0"/>
              </a:endParaRPr>
            </a:p>
          </p:txBody>
        </p:sp>
        <p:sp>
          <p:nvSpPr>
            <p:cNvPr id="106" name="Freihandform 58"/>
            <p:cNvSpPr/>
            <p:nvPr/>
          </p:nvSpPr>
          <p:spPr>
            <a:xfrm rot="1324690">
              <a:off x="5454736" y="3808489"/>
              <a:ext cx="661156" cy="71226"/>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6488 h 16488"/>
                <a:gd name="connsiteX1" fmla="*/ 10000 w 10000"/>
                <a:gd name="connsiteY1" fmla="*/ 6488 h 16488"/>
                <a:gd name="connsiteX0" fmla="*/ 0 w 10000"/>
                <a:gd name="connsiteY0" fmla="*/ 31774 h 31774"/>
                <a:gd name="connsiteX1" fmla="*/ 10000 w 10000"/>
                <a:gd name="connsiteY1" fmla="*/ 21774 h 31774"/>
                <a:gd name="connsiteX0" fmla="*/ 0 w 10000"/>
                <a:gd name="connsiteY0" fmla="*/ 38044 h 38044"/>
                <a:gd name="connsiteX1" fmla="*/ 10000 w 10000"/>
                <a:gd name="connsiteY1" fmla="*/ 28044 h 38044"/>
                <a:gd name="connsiteX0" fmla="*/ 0 w 11374"/>
                <a:gd name="connsiteY0" fmla="*/ 24544 h 50576"/>
                <a:gd name="connsiteX1" fmla="*/ 11374 w 11374"/>
                <a:gd name="connsiteY1" fmla="*/ 50576 h 50576"/>
                <a:gd name="connsiteX0" fmla="*/ 0 w 11374"/>
                <a:gd name="connsiteY0" fmla="*/ 14232 h 40264"/>
                <a:gd name="connsiteX1" fmla="*/ 11374 w 11374"/>
                <a:gd name="connsiteY1" fmla="*/ 40264 h 40264"/>
                <a:gd name="connsiteX0" fmla="*/ 0 w 11374"/>
                <a:gd name="connsiteY0" fmla="*/ 9796 h 35828"/>
                <a:gd name="connsiteX1" fmla="*/ 11374 w 11374"/>
                <a:gd name="connsiteY1" fmla="*/ 35828 h 35828"/>
                <a:gd name="connsiteX0" fmla="*/ 0 w 11374"/>
                <a:gd name="connsiteY0" fmla="*/ 20322 h 46354"/>
                <a:gd name="connsiteX1" fmla="*/ 11374 w 11374"/>
                <a:gd name="connsiteY1" fmla="*/ 46354 h 46354"/>
              </a:gdLst>
              <a:ahLst/>
              <a:cxnLst>
                <a:cxn ang="0">
                  <a:pos x="connsiteX0" y="connsiteY0"/>
                </a:cxn>
                <a:cxn ang="0">
                  <a:pos x="connsiteX1" y="connsiteY1"/>
                </a:cxn>
              </a:cxnLst>
              <a:rect l="l" t="t" r="r" b="b"/>
              <a:pathLst>
                <a:path w="11374" h="46354">
                  <a:moveTo>
                    <a:pt x="0" y="20322"/>
                  </a:moveTo>
                  <a:cubicBezTo>
                    <a:pt x="4921" y="-22895"/>
                    <a:pt x="8385" y="10968"/>
                    <a:pt x="11374" y="46354"/>
                  </a:cubicBezTo>
                </a:path>
              </a:pathLst>
            </a:custGeom>
            <a:noFill/>
            <a:ln w="25400" cap="rnd" algn="ctr">
              <a:solidFill>
                <a:schemeClr val="bg2"/>
              </a:solidFill>
              <a:prstDash val="sysDash"/>
              <a:round/>
              <a:headEnd/>
              <a:tailEnd/>
            </a:ln>
          </p:spPr>
          <p:txBody>
            <a:bodyPr wrap="none" lIns="62294" tIns="32393" rIns="62294" bIns="32393"/>
            <a:lstStyle/>
            <a:p>
              <a:pPr defTabSz="844083" eaLnBrk="1" hangingPunct="1">
                <a:spcAft>
                  <a:spcPct val="0"/>
                </a:spcAft>
                <a:defRPr/>
              </a:pPr>
              <a:endParaRPr lang="de-DE" sz="1038" dirty="0">
                <a:solidFill>
                  <a:srgbClr val="000000"/>
                </a:solidFill>
                <a:latin typeface="Arial"/>
                <a:cs typeface="Arial" charset="0"/>
              </a:endParaRPr>
            </a:p>
          </p:txBody>
        </p:sp>
      </p:grpSp>
      <p:cxnSp>
        <p:nvCxnSpPr>
          <p:cNvPr id="107" name="Gerade Verbindung mit Pfeil 6"/>
          <p:cNvCxnSpPr>
            <a:cxnSpLocks noChangeShapeType="1"/>
          </p:cNvCxnSpPr>
          <p:nvPr/>
        </p:nvCxnSpPr>
        <p:spPr bwMode="auto">
          <a:xfrm flipV="1">
            <a:off x="2667395" y="2418726"/>
            <a:ext cx="0" cy="2770778"/>
          </a:xfrm>
          <a:prstGeom prst="straightConnector1">
            <a:avLst/>
          </a:prstGeom>
          <a:noFill/>
          <a:ln w="12700" cap="rnd" algn="ctr">
            <a:solidFill>
              <a:schemeClr val="tx1"/>
            </a:solidFill>
            <a:round/>
            <a:headEnd/>
            <a:tailEnd type="triangle" w="med" len="med"/>
          </a:ln>
        </p:spPr>
      </p:cxnSp>
      <p:sp>
        <p:nvSpPr>
          <p:cNvPr id="108" name="Textfeld 60"/>
          <p:cNvSpPr txBox="1">
            <a:spLocks noChangeArrowheads="1"/>
          </p:cNvSpPr>
          <p:nvPr/>
        </p:nvSpPr>
        <p:spPr bwMode="auto">
          <a:xfrm>
            <a:off x="6529859" y="5178319"/>
            <a:ext cx="348667" cy="223450"/>
          </a:xfrm>
          <a:prstGeom prst="rect">
            <a:avLst/>
          </a:prstGeom>
          <a:noFill/>
          <a:ln w="9525">
            <a:noFill/>
            <a:miter lim="800000"/>
            <a:headEnd/>
            <a:tailEnd/>
          </a:ln>
        </p:spPr>
        <p:txBody>
          <a:bodyPr wrap="none" lIns="63110" tIns="31555" rIns="63110" bIns="31555">
            <a:spAutoFit/>
          </a:bodyPr>
          <a:lstStyle/>
          <a:p>
            <a:pPr defTabSz="844083" eaLnBrk="1" hangingPunct="1">
              <a:spcAft>
                <a:spcPct val="0"/>
              </a:spcAft>
              <a:defRPr/>
            </a:pPr>
            <a:r>
              <a:rPr lang="de-DE" sz="1038" dirty="0">
                <a:solidFill>
                  <a:srgbClr val="000000"/>
                </a:solidFill>
                <a:latin typeface="Arial"/>
                <a:cs typeface="Arial" charset="0"/>
              </a:rPr>
              <a:t>Zeit</a:t>
            </a:r>
          </a:p>
        </p:txBody>
      </p:sp>
      <p:sp>
        <p:nvSpPr>
          <p:cNvPr id="110" name="Freihandform 10"/>
          <p:cNvSpPr>
            <a:spLocks noChangeArrowheads="1"/>
          </p:cNvSpPr>
          <p:nvPr/>
        </p:nvSpPr>
        <p:spPr bwMode="auto">
          <a:xfrm>
            <a:off x="3455672" y="2611740"/>
            <a:ext cx="2380438" cy="2141456"/>
          </a:xfrm>
          <a:custGeom>
            <a:avLst/>
            <a:gdLst>
              <a:gd name="T0" fmla="*/ 0 w 4591250"/>
              <a:gd name="T1" fmla="*/ 2743200 h 2743200"/>
              <a:gd name="T2" fmla="*/ 914320 w 4591250"/>
              <a:gd name="T3" fmla="*/ 2579570 h 2743200"/>
              <a:gd name="T4" fmla="*/ 1491787 w 4591250"/>
              <a:gd name="T5" fmla="*/ 2367814 h 2743200"/>
              <a:gd name="T6" fmla="*/ 2059628 w 4591250"/>
              <a:gd name="T7" fmla="*/ 1896177 h 2743200"/>
              <a:gd name="T8" fmla="*/ 2637094 w 4591250"/>
              <a:gd name="T9" fmla="*/ 1241659 h 2743200"/>
              <a:gd name="T10" fmla="*/ 3118314 w 4591250"/>
              <a:gd name="T11" fmla="*/ 750770 h 2743200"/>
              <a:gd name="T12" fmla="*/ 3926766 w 4591250"/>
              <a:gd name="T13" fmla="*/ 231006 h 2743200"/>
              <a:gd name="T14" fmla="*/ 4590851 w 4591250"/>
              <a:gd name="T15" fmla="*/ 0 h 2743200"/>
              <a:gd name="T16" fmla="*/ 0 60000 65536"/>
              <a:gd name="T17" fmla="*/ 0 60000 65536"/>
              <a:gd name="T18" fmla="*/ 0 60000 65536"/>
              <a:gd name="T19" fmla="*/ 0 60000 65536"/>
              <a:gd name="T20" fmla="*/ 0 60000 65536"/>
              <a:gd name="T21" fmla="*/ 0 60000 65536"/>
              <a:gd name="T22" fmla="*/ 0 60000 65536"/>
              <a:gd name="T23" fmla="*/ 0 60000 65536"/>
              <a:gd name="T24" fmla="*/ 0 w 4591250"/>
              <a:gd name="T25" fmla="*/ 0 h 2743200"/>
              <a:gd name="T26" fmla="*/ 4591250 w 4591250"/>
              <a:gd name="T27" fmla="*/ 2743200 h 2743200"/>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463353 w 5140203"/>
              <a:gd name="connsiteY1" fmla="*/ 2579570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575639 w 5140203"/>
              <a:gd name="connsiteY1" fmla="*/ 2549342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575639 w 5140203"/>
              <a:gd name="connsiteY1" fmla="*/ 2549342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575639 w 5140203"/>
              <a:gd name="connsiteY1" fmla="*/ 2549342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302393"/>
              <a:gd name="connsiteY0" fmla="*/ 2780986 h 2780986"/>
              <a:gd name="connsiteX1" fmla="*/ 1737829 w 5302393"/>
              <a:gd name="connsiteY1" fmla="*/ 2549342 h 2780986"/>
              <a:gd name="connsiteX2" fmla="*/ 2770949 w 5302393"/>
              <a:gd name="connsiteY2" fmla="*/ 1896177 h 2780986"/>
              <a:gd name="connsiteX3" fmla="*/ 3348465 w 5302393"/>
              <a:gd name="connsiteY3" fmla="*/ 1241659 h 2780986"/>
              <a:gd name="connsiteX4" fmla="*/ 3829728 w 5302393"/>
              <a:gd name="connsiteY4" fmla="*/ 750770 h 2780986"/>
              <a:gd name="connsiteX5" fmla="*/ 4638250 w 5302393"/>
              <a:gd name="connsiteY5" fmla="*/ 231006 h 2780986"/>
              <a:gd name="connsiteX6" fmla="*/ 5302393 w 5302393"/>
              <a:gd name="connsiteY6" fmla="*/ 0 h 2780986"/>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3829728 w 5302393"/>
              <a:gd name="connsiteY4" fmla="*/ 750770 h 2781033"/>
              <a:gd name="connsiteX5" fmla="*/ 4638250 w 5302393"/>
              <a:gd name="connsiteY5" fmla="*/ 231006 h 2781033"/>
              <a:gd name="connsiteX6" fmla="*/ 5302393 w 5302393"/>
              <a:gd name="connsiteY6"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3954491 w 5302393"/>
              <a:gd name="connsiteY4" fmla="*/ 614743 h 2781033"/>
              <a:gd name="connsiteX5" fmla="*/ 4638250 w 5302393"/>
              <a:gd name="connsiteY5" fmla="*/ 231006 h 2781033"/>
              <a:gd name="connsiteX6" fmla="*/ 5302393 w 5302393"/>
              <a:gd name="connsiteY6"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3954491 w 5302393"/>
              <a:gd name="connsiteY4" fmla="*/ 61474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4864764"/>
              <a:gd name="connsiteY0" fmla="*/ 2762806 h 2762862"/>
              <a:gd name="connsiteX1" fmla="*/ 1300200 w 4864764"/>
              <a:gd name="connsiteY1" fmla="*/ 2549342 h 2762862"/>
              <a:gd name="connsiteX2" fmla="*/ 2333320 w 4864764"/>
              <a:gd name="connsiteY2" fmla="*/ 1896177 h 2762862"/>
              <a:gd name="connsiteX3" fmla="*/ 2910836 w 4864764"/>
              <a:gd name="connsiteY3" fmla="*/ 1241659 h 2762862"/>
              <a:gd name="connsiteX4" fmla="*/ 3716480 w 4864764"/>
              <a:gd name="connsiteY4" fmla="*/ 463603 h 2762862"/>
              <a:gd name="connsiteX5" fmla="*/ 4864764 w 4864764"/>
              <a:gd name="connsiteY5" fmla="*/ 0 h 2762862"/>
              <a:gd name="connsiteX0" fmla="*/ 0 w 4864764"/>
              <a:gd name="connsiteY0" fmla="*/ 2762806 h 2762806"/>
              <a:gd name="connsiteX1" fmla="*/ 1300200 w 4864764"/>
              <a:gd name="connsiteY1" fmla="*/ 2549342 h 2762806"/>
              <a:gd name="connsiteX2" fmla="*/ 2333320 w 4864764"/>
              <a:gd name="connsiteY2" fmla="*/ 1896177 h 2762806"/>
              <a:gd name="connsiteX3" fmla="*/ 2910836 w 4864764"/>
              <a:gd name="connsiteY3" fmla="*/ 1241659 h 2762806"/>
              <a:gd name="connsiteX4" fmla="*/ 3716480 w 4864764"/>
              <a:gd name="connsiteY4" fmla="*/ 463603 h 2762806"/>
              <a:gd name="connsiteX5" fmla="*/ 4864764 w 4864764"/>
              <a:gd name="connsiteY5" fmla="*/ 0 h 2762806"/>
              <a:gd name="connsiteX0" fmla="*/ 0 w 4798337"/>
              <a:gd name="connsiteY0" fmla="*/ 2759751 h 2759751"/>
              <a:gd name="connsiteX1" fmla="*/ 1233773 w 4798337"/>
              <a:gd name="connsiteY1" fmla="*/ 2549342 h 2759751"/>
              <a:gd name="connsiteX2" fmla="*/ 2266893 w 4798337"/>
              <a:gd name="connsiteY2" fmla="*/ 1896177 h 2759751"/>
              <a:gd name="connsiteX3" fmla="*/ 2844409 w 4798337"/>
              <a:gd name="connsiteY3" fmla="*/ 1241659 h 2759751"/>
              <a:gd name="connsiteX4" fmla="*/ 3650053 w 4798337"/>
              <a:gd name="connsiteY4" fmla="*/ 463603 h 2759751"/>
              <a:gd name="connsiteX5" fmla="*/ 4798337 w 4798337"/>
              <a:gd name="connsiteY5" fmla="*/ 0 h 2759751"/>
              <a:gd name="connsiteX0" fmla="*/ 0 w 4788394"/>
              <a:gd name="connsiteY0" fmla="*/ 2695724 h 2695724"/>
              <a:gd name="connsiteX1" fmla="*/ 1233773 w 4788394"/>
              <a:gd name="connsiteY1" fmla="*/ 2485315 h 2695724"/>
              <a:gd name="connsiteX2" fmla="*/ 2266893 w 4788394"/>
              <a:gd name="connsiteY2" fmla="*/ 1832150 h 2695724"/>
              <a:gd name="connsiteX3" fmla="*/ 2844409 w 4788394"/>
              <a:gd name="connsiteY3" fmla="*/ 1177632 h 2695724"/>
              <a:gd name="connsiteX4" fmla="*/ 3650053 w 4788394"/>
              <a:gd name="connsiteY4" fmla="*/ 399576 h 2695724"/>
              <a:gd name="connsiteX5" fmla="*/ 4788394 w 4788394"/>
              <a:gd name="connsiteY5" fmla="*/ 0 h 2695724"/>
              <a:gd name="connsiteX0" fmla="*/ 0 w 4788394"/>
              <a:gd name="connsiteY0" fmla="*/ 2695724 h 2695724"/>
              <a:gd name="connsiteX1" fmla="*/ 1233773 w 4788394"/>
              <a:gd name="connsiteY1" fmla="*/ 2485315 h 2695724"/>
              <a:gd name="connsiteX2" fmla="*/ 2266893 w 4788394"/>
              <a:gd name="connsiteY2" fmla="*/ 1832150 h 2695724"/>
              <a:gd name="connsiteX3" fmla="*/ 2844409 w 4788394"/>
              <a:gd name="connsiteY3" fmla="*/ 1177632 h 2695724"/>
              <a:gd name="connsiteX4" fmla="*/ 3650053 w 4788394"/>
              <a:gd name="connsiteY4" fmla="*/ 399576 h 2695724"/>
              <a:gd name="connsiteX5" fmla="*/ 4788394 w 4788394"/>
              <a:gd name="connsiteY5" fmla="*/ 0 h 2695724"/>
              <a:gd name="connsiteX0" fmla="*/ 0 w 4916465"/>
              <a:gd name="connsiteY0" fmla="*/ 2701614 h 2701614"/>
              <a:gd name="connsiteX1" fmla="*/ 1233773 w 4916465"/>
              <a:gd name="connsiteY1" fmla="*/ 2491205 h 2701614"/>
              <a:gd name="connsiteX2" fmla="*/ 2266893 w 4916465"/>
              <a:gd name="connsiteY2" fmla="*/ 1838040 h 2701614"/>
              <a:gd name="connsiteX3" fmla="*/ 2844409 w 4916465"/>
              <a:gd name="connsiteY3" fmla="*/ 1183522 h 2701614"/>
              <a:gd name="connsiteX4" fmla="*/ 3650053 w 4916465"/>
              <a:gd name="connsiteY4" fmla="*/ 405466 h 2701614"/>
              <a:gd name="connsiteX5" fmla="*/ 4916465 w 4916465"/>
              <a:gd name="connsiteY5" fmla="*/ 0 h 2701614"/>
              <a:gd name="connsiteX0" fmla="*/ 0 w 4916465"/>
              <a:gd name="connsiteY0" fmla="*/ 2701614 h 2701614"/>
              <a:gd name="connsiteX1" fmla="*/ 1233773 w 4916465"/>
              <a:gd name="connsiteY1" fmla="*/ 2491205 h 2701614"/>
              <a:gd name="connsiteX2" fmla="*/ 2266893 w 4916465"/>
              <a:gd name="connsiteY2" fmla="*/ 1838040 h 2701614"/>
              <a:gd name="connsiteX3" fmla="*/ 2844409 w 4916465"/>
              <a:gd name="connsiteY3" fmla="*/ 1183522 h 2701614"/>
              <a:gd name="connsiteX4" fmla="*/ 3650053 w 4916465"/>
              <a:gd name="connsiteY4" fmla="*/ 405466 h 2701614"/>
              <a:gd name="connsiteX5" fmla="*/ 4916465 w 4916465"/>
              <a:gd name="connsiteY5" fmla="*/ 0 h 2701614"/>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650053 w 4916465"/>
              <a:gd name="connsiteY4" fmla="*/ 429028 h 2725176"/>
              <a:gd name="connsiteX5" fmla="*/ 4916465 w 4916465"/>
              <a:gd name="connsiteY5" fmla="*/ 0 h 2725176"/>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650053 w 4916465"/>
              <a:gd name="connsiteY4" fmla="*/ 429028 h 2725176"/>
              <a:gd name="connsiteX5" fmla="*/ 4916465 w 4916465"/>
              <a:gd name="connsiteY5" fmla="*/ 0 h 2725176"/>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650053 w 4916465"/>
              <a:gd name="connsiteY4" fmla="*/ 429028 h 2725176"/>
              <a:gd name="connsiteX5" fmla="*/ 4916465 w 4916465"/>
              <a:gd name="connsiteY5" fmla="*/ 0 h 2725176"/>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517090 w 4916465"/>
              <a:gd name="connsiteY4" fmla="*/ 566015 h 2725176"/>
              <a:gd name="connsiteX5" fmla="*/ 4916465 w 4916465"/>
              <a:gd name="connsiteY5" fmla="*/ 0 h 2725176"/>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517090 w 4770205"/>
              <a:gd name="connsiteY4" fmla="*/ 437590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517090 w 4770205"/>
              <a:gd name="connsiteY4" fmla="*/ 437590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485473 w 4733318"/>
              <a:gd name="connsiteY3" fmla="*/ 440983 h 2556033"/>
              <a:gd name="connsiteX4" fmla="*/ 4733318 w 4733318"/>
              <a:gd name="connsiteY4"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333414 w 4733318"/>
              <a:gd name="connsiteY3" fmla="*/ 542813 h 2556033"/>
              <a:gd name="connsiteX4" fmla="*/ 4733318 w 4733318"/>
              <a:gd name="connsiteY4"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333414 w 4733318"/>
              <a:gd name="connsiteY3" fmla="*/ 542813 h 2556033"/>
              <a:gd name="connsiteX4" fmla="*/ 4733318 w 4733318"/>
              <a:gd name="connsiteY4"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333414 w 4733318"/>
              <a:gd name="connsiteY3" fmla="*/ 542813 h 2556033"/>
              <a:gd name="connsiteX4" fmla="*/ 4733318 w 4733318"/>
              <a:gd name="connsiteY4" fmla="*/ 0 h 2556033"/>
              <a:gd name="connsiteX0" fmla="*/ 0 w 4727237"/>
              <a:gd name="connsiteY0" fmla="*/ 2505119 h 2505119"/>
              <a:gd name="connsiteX1" fmla="*/ 1233773 w 4727237"/>
              <a:gd name="connsiteY1" fmla="*/ 2294710 h 2505119"/>
              <a:gd name="connsiteX2" fmla="*/ 2266893 w 4727237"/>
              <a:gd name="connsiteY2" fmla="*/ 1641545 h 2505119"/>
              <a:gd name="connsiteX3" fmla="*/ 3333414 w 4727237"/>
              <a:gd name="connsiteY3" fmla="*/ 491899 h 2505119"/>
              <a:gd name="connsiteX4" fmla="*/ 4727237 w 4727237"/>
              <a:gd name="connsiteY4" fmla="*/ 0 h 2505119"/>
              <a:gd name="connsiteX0" fmla="*/ 0 w 4727237"/>
              <a:gd name="connsiteY0" fmla="*/ 2520785 h 2520785"/>
              <a:gd name="connsiteX1" fmla="*/ 1233773 w 4727237"/>
              <a:gd name="connsiteY1" fmla="*/ 2310376 h 2520785"/>
              <a:gd name="connsiteX2" fmla="*/ 2266893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266893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07326 w 4405495"/>
              <a:gd name="connsiteY3" fmla="*/ 457173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37576 h 2456394"/>
              <a:gd name="connsiteX4" fmla="*/ 4405495 w 4405495"/>
              <a:gd name="connsiteY4" fmla="*/ 0 h 2456394"/>
              <a:gd name="connsiteX0" fmla="*/ 0 w 4370711"/>
              <a:gd name="connsiteY0" fmla="*/ 2464793 h 2464793"/>
              <a:gd name="connsiteX1" fmla="*/ 1233773 w 4370711"/>
              <a:gd name="connsiteY1" fmla="*/ 2254384 h 2464793"/>
              <a:gd name="connsiteX2" fmla="*/ 2309469 w 4370711"/>
              <a:gd name="connsiteY2" fmla="*/ 1601219 h 2464793"/>
              <a:gd name="connsiteX3" fmla="*/ 3333414 w 4370711"/>
              <a:gd name="connsiteY3" fmla="*/ 445975 h 2464793"/>
              <a:gd name="connsiteX4" fmla="*/ 4370711 w 4370711"/>
              <a:gd name="connsiteY4" fmla="*/ 0 h 2464793"/>
              <a:gd name="connsiteX0" fmla="*/ 0 w 4370711"/>
              <a:gd name="connsiteY0" fmla="*/ 2464793 h 2464793"/>
              <a:gd name="connsiteX1" fmla="*/ 1233773 w 4370711"/>
              <a:gd name="connsiteY1" fmla="*/ 2254384 h 2464793"/>
              <a:gd name="connsiteX2" fmla="*/ 2309469 w 4370711"/>
              <a:gd name="connsiteY2" fmla="*/ 1601219 h 2464793"/>
              <a:gd name="connsiteX3" fmla="*/ 3333414 w 4370711"/>
              <a:gd name="connsiteY3" fmla="*/ 445975 h 2464793"/>
              <a:gd name="connsiteX4" fmla="*/ 4370711 w 4370711"/>
              <a:gd name="connsiteY4" fmla="*/ 0 h 2464793"/>
              <a:gd name="connsiteX0" fmla="*/ 0 w 4370711"/>
              <a:gd name="connsiteY0" fmla="*/ 2464793 h 2464793"/>
              <a:gd name="connsiteX1" fmla="*/ 1233773 w 4370711"/>
              <a:gd name="connsiteY1" fmla="*/ 2254384 h 2464793"/>
              <a:gd name="connsiteX2" fmla="*/ 2337359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337359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374545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360600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370711"/>
              <a:gd name="connsiteY0" fmla="*/ 2464793 h 2464793"/>
              <a:gd name="connsiteX1" fmla="*/ 1411583 w 4370711"/>
              <a:gd name="connsiteY1" fmla="*/ 2228356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370711"/>
              <a:gd name="connsiteY0" fmla="*/ 2464793 h 2464793"/>
              <a:gd name="connsiteX1" fmla="*/ 1411583 w 4370711"/>
              <a:gd name="connsiteY1" fmla="*/ 2228356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89629"/>
              <a:gd name="connsiteY0" fmla="*/ 2471045 h 2471045"/>
              <a:gd name="connsiteX1" fmla="*/ 1411583 w 4289629"/>
              <a:gd name="connsiteY1" fmla="*/ 2234608 h 2471045"/>
              <a:gd name="connsiteX2" fmla="*/ 2405346 w 4289629"/>
              <a:gd name="connsiteY2" fmla="*/ 1609007 h 2471045"/>
              <a:gd name="connsiteX3" fmla="*/ 3333414 w 4289629"/>
              <a:gd name="connsiteY3" fmla="*/ 452227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3414 w 4289629"/>
              <a:gd name="connsiteY3" fmla="*/ 452227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3414 w 4289629"/>
              <a:gd name="connsiteY3" fmla="*/ 452227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99838"/>
              <a:gd name="connsiteY0" fmla="*/ 2490768 h 2490768"/>
              <a:gd name="connsiteX1" fmla="*/ 1411583 w 4299838"/>
              <a:gd name="connsiteY1" fmla="*/ 2254331 h 2490768"/>
              <a:gd name="connsiteX2" fmla="*/ 2405346 w 4299838"/>
              <a:gd name="connsiteY2" fmla="*/ 1628730 h 2490768"/>
              <a:gd name="connsiteX3" fmla="*/ 3339563 w 4299838"/>
              <a:gd name="connsiteY3" fmla="*/ 462053 h 2490768"/>
              <a:gd name="connsiteX4" fmla="*/ 4299838 w 4299838"/>
              <a:gd name="connsiteY4" fmla="*/ 0 h 2490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9838" h="2490768">
                <a:moveTo>
                  <a:pt x="0" y="2490768"/>
                </a:moveTo>
                <a:cubicBezTo>
                  <a:pt x="587319" y="2465864"/>
                  <a:pt x="1000749" y="2410809"/>
                  <a:pt x="1411583" y="2254331"/>
                </a:cubicBezTo>
                <a:cubicBezTo>
                  <a:pt x="1822417" y="2097853"/>
                  <a:pt x="2084016" y="1927443"/>
                  <a:pt x="2405346" y="1628730"/>
                </a:cubicBezTo>
                <a:cubicBezTo>
                  <a:pt x="2726676" y="1330017"/>
                  <a:pt x="3023814" y="733508"/>
                  <a:pt x="3339563" y="462053"/>
                </a:cubicBezTo>
                <a:cubicBezTo>
                  <a:pt x="3655312" y="190598"/>
                  <a:pt x="3999976" y="68859"/>
                  <a:pt x="4299838" y="0"/>
                </a:cubicBezTo>
              </a:path>
            </a:pathLst>
          </a:custGeom>
          <a:noFill/>
          <a:ln w="25400" cap="rnd" algn="ctr">
            <a:solidFill>
              <a:srgbClr val="00B050"/>
            </a:solidFill>
            <a:round/>
            <a:headEnd/>
            <a:tailEnd/>
          </a:ln>
          <a:extLst>
            <a:ext uri="{909E8E84-426E-40DD-AFC4-6F175D3DCCD1}">
              <a14:hiddenFill xmlns:a14="http://schemas.microsoft.com/office/drawing/2010/main">
                <a:solidFill>
                  <a:srgbClr val="FFFFFF"/>
                </a:solidFill>
              </a14:hiddenFill>
            </a:ext>
          </a:extLst>
        </p:spPr>
        <p:txBody>
          <a:bodyPr wrap="none" lIns="62294" tIns="32393" rIns="62294" bIns="32393"/>
          <a:lstStyle/>
          <a:p>
            <a:pPr defTabSz="844083">
              <a:defRPr/>
            </a:pPr>
            <a:endParaRPr lang="de-DE" sz="1108" dirty="0">
              <a:solidFill>
                <a:srgbClr val="000000"/>
              </a:solidFill>
              <a:latin typeface="Arial"/>
              <a:cs typeface="Arial" charset="0"/>
            </a:endParaRPr>
          </a:p>
        </p:txBody>
      </p:sp>
      <p:grpSp>
        <p:nvGrpSpPr>
          <p:cNvPr id="111" name="Group 110"/>
          <p:cNvGrpSpPr/>
          <p:nvPr/>
        </p:nvGrpSpPr>
        <p:grpSpPr>
          <a:xfrm>
            <a:off x="3015817" y="4690541"/>
            <a:ext cx="423995" cy="124340"/>
            <a:chOff x="2204432" y="5090329"/>
            <a:chExt cx="612437" cy="179603"/>
          </a:xfrm>
        </p:grpSpPr>
        <p:sp>
          <p:nvSpPr>
            <p:cNvPr id="112" name="Freihandform 50"/>
            <p:cNvSpPr/>
            <p:nvPr/>
          </p:nvSpPr>
          <p:spPr>
            <a:xfrm rot="224175">
              <a:off x="2204432" y="5162018"/>
              <a:ext cx="600577" cy="45719"/>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0000 h 10000"/>
                <a:gd name="connsiteX1" fmla="*/ 10000 w 10000"/>
                <a:gd name="connsiteY1" fmla="*/ 0 h 10000"/>
                <a:gd name="connsiteX0" fmla="*/ 0 w 10000"/>
                <a:gd name="connsiteY0" fmla="*/ 10000 h 10000"/>
                <a:gd name="connsiteX1" fmla="*/ 10000 w 10000"/>
                <a:gd name="connsiteY1" fmla="*/ 0 h 10000"/>
              </a:gdLst>
              <a:ahLst/>
              <a:cxnLst>
                <a:cxn ang="0">
                  <a:pos x="connsiteX0" y="connsiteY0"/>
                </a:cxn>
                <a:cxn ang="0">
                  <a:pos x="connsiteX1" y="connsiteY1"/>
                </a:cxn>
              </a:cxnLst>
              <a:rect l="l" t="t" r="r" b="b"/>
              <a:pathLst>
                <a:path w="10000" h="10000">
                  <a:moveTo>
                    <a:pt x="0" y="10000"/>
                  </a:moveTo>
                  <a:cubicBezTo>
                    <a:pt x="3501" y="9958"/>
                    <a:pt x="5938" y="6625"/>
                    <a:pt x="10000" y="0"/>
                  </a:cubicBezTo>
                </a:path>
              </a:pathLst>
            </a:custGeom>
            <a:noFill/>
            <a:ln w="25400" cap="rnd" algn="ctr">
              <a:solidFill>
                <a:srgbClr val="00B050">
                  <a:alpha val="59000"/>
                </a:srgbClr>
              </a:solidFill>
              <a:prstDash val="sysDash"/>
              <a:round/>
              <a:headEnd/>
              <a:tailEnd/>
            </a:ln>
          </p:spPr>
          <p:txBody>
            <a:bodyPr wrap="none" lIns="62294" tIns="32393" rIns="62294" bIns="32393"/>
            <a:lstStyle/>
            <a:p>
              <a:pPr defTabSz="844083" eaLnBrk="1" hangingPunct="1">
                <a:spcAft>
                  <a:spcPct val="0"/>
                </a:spcAft>
                <a:defRPr/>
              </a:pPr>
              <a:endParaRPr lang="de-DE" sz="1108" dirty="0">
                <a:solidFill>
                  <a:srgbClr val="000000"/>
                </a:solidFill>
                <a:latin typeface="Arial"/>
                <a:cs typeface="Arial" charset="0"/>
              </a:endParaRPr>
            </a:p>
          </p:txBody>
        </p:sp>
        <p:sp>
          <p:nvSpPr>
            <p:cNvPr id="113" name="Freihandform 50"/>
            <p:cNvSpPr/>
            <p:nvPr/>
          </p:nvSpPr>
          <p:spPr>
            <a:xfrm rot="21054672">
              <a:off x="2211858" y="5224213"/>
              <a:ext cx="600576" cy="45719"/>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0000 h 10000"/>
                <a:gd name="connsiteX1" fmla="*/ 10000 w 10000"/>
                <a:gd name="connsiteY1" fmla="*/ 0 h 10000"/>
                <a:gd name="connsiteX0" fmla="*/ 0 w 10000"/>
                <a:gd name="connsiteY0" fmla="*/ 10000 h 10000"/>
                <a:gd name="connsiteX1" fmla="*/ 10000 w 10000"/>
                <a:gd name="connsiteY1" fmla="*/ 0 h 10000"/>
                <a:gd name="connsiteX0" fmla="*/ 0 w 10000"/>
                <a:gd name="connsiteY0" fmla="*/ 10643 h 10643"/>
                <a:gd name="connsiteX1" fmla="*/ 10000 w 10000"/>
                <a:gd name="connsiteY1" fmla="*/ 643 h 10643"/>
                <a:gd name="connsiteX0" fmla="*/ 0 w 10000"/>
                <a:gd name="connsiteY0" fmla="*/ 11318 h 11318"/>
                <a:gd name="connsiteX1" fmla="*/ 10000 w 10000"/>
                <a:gd name="connsiteY1" fmla="*/ 1318 h 11318"/>
              </a:gdLst>
              <a:ahLst/>
              <a:cxnLst>
                <a:cxn ang="0">
                  <a:pos x="connsiteX0" y="connsiteY0"/>
                </a:cxn>
                <a:cxn ang="0">
                  <a:pos x="connsiteX1" y="connsiteY1"/>
                </a:cxn>
              </a:cxnLst>
              <a:rect l="l" t="t" r="r" b="b"/>
              <a:pathLst>
                <a:path w="10000" h="11318">
                  <a:moveTo>
                    <a:pt x="0" y="11318"/>
                  </a:moveTo>
                  <a:cubicBezTo>
                    <a:pt x="3951" y="2027"/>
                    <a:pt x="5808" y="-2409"/>
                    <a:pt x="10000" y="1318"/>
                  </a:cubicBezTo>
                </a:path>
              </a:pathLst>
            </a:custGeom>
            <a:noFill/>
            <a:ln w="25400" cap="rnd" algn="ctr">
              <a:solidFill>
                <a:srgbClr val="00B050">
                  <a:alpha val="59000"/>
                </a:srgbClr>
              </a:solidFill>
              <a:prstDash val="sysDash"/>
              <a:round/>
              <a:headEnd/>
              <a:tailEnd/>
            </a:ln>
          </p:spPr>
          <p:txBody>
            <a:bodyPr wrap="none" lIns="62294" tIns="32393" rIns="62294" bIns="32393"/>
            <a:lstStyle/>
            <a:p>
              <a:pPr defTabSz="844083" eaLnBrk="1" hangingPunct="1">
                <a:spcAft>
                  <a:spcPct val="0"/>
                </a:spcAft>
                <a:defRPr/>
              </a:pPr>
              <a:endParaRPr lang="de-DE" sz="1108" dirty="0">
                <a:solidFill>
                  <a:srgbClr val="000000"/>
                </a:solidFill>
                <a:latin typeface="Arial"/>
                <a:cs typeface="Arial" charset="0"/>
              </a:endParaRPr>
            </a:p>
          </p:txBody>
        </p:sp>
        <p:sp>
          <p:nvSpPr>
            <p:cNvPr id="114" name="Freihandform 50"/>
            <p:cNvSpPr/>
            <p:nvPr/>
          </p:nvSpPr>
          <p:spPr>
            <a:xfrm rot="1088803">
              <a:off x="2216292" y="5090329"/>
              <a:ext cx="600577" cy="60275"/>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0000 h 10000"/>
                <a:gd name="connsiteX1" fmla="*/ 10000 w 10000"/>
                <a:gd name="connsiteY1" fmla="*/ 0 h 10000"/>
                <a:gd name="connsiteX0" fmla="*/ 0 w 10000"/>
                <a:gd name="connsiteY0" fmla="*/ 10000 h 10000"/>
                <a:gd name="connsiteX1" fmla="*/ 10000 w 10000"/>
                <a:gd name="connsiteY1" fmla="*/ 0 h 10000"/>
                <a:gd name="connsiteX0" fmla="*/ 0 w 10000"/>
                <a:gd name="connsiteY0" fmla="*/ 10000 h 15047"/>
                <a:gd name="connsiteX1" fmla="*/ 10000 w 10000"/>
                <a:gd name="connsiteY1" fmla="*/ 0 h 15047"/>
                <a:gd name="connsiteX0" fmla="*/ 0 w 10000"/>
                <a:gd name="connsiteY0" fmla="*/ 10000 h 17401"/>
                <a:gd name="connsiteX1" fmla="*/ 10000 w 10000"/>
                <a:gd name="connsiteY1" fmla="*/ 0 h 17401"/>
              </a:gdLst>
              <a:ahLst/>
              <a:cxnLst>
                <a:cxn ang="0">
                  <a:pos x="connsiteX0" y="connsiteY0"/>
                </a:cxn>
                <a:cxn ang="0">
                  <a:pos x="connsiteX1" y="connsiteY1"/>
                </a:cxn>
              </a:cxnLst>
              <a:rect l="l" t="t" r="r" b="b"/>
              <a:pathLst>
                <a:path w="10000" h="17401">
                  <a:moveTo>
                    <a:pt x="0" y="10000"/>
                  </a:moveTo>
                  <a:cubicBezTo>
                    <a:pt x="3575" y="23398"/>
                    <a:pt x="5829" y="17739"/>
                    <a:pt x="10000" y="0"/>
                  </a:cubicBezTo>
                </a:path>
              </a:pathLst>
            </a:custGeom>
            <a:noFill/>
            <a:ln w="25400" cap="rnd" algn="ctr">
              <a:solidFill>
                <a:srgbClr val="00B050">
                  <a:alpha val="59000"/>
                </a:srgbClr>
              </a:solidFill>
              <a:prstDash val="sysDash"/>
              <a:round/>
              <a:headEnd/>
              <a:tailEnd/>
            </a:ln>
          </p:spPr>
          <p:txBody>
            <a:bodyPr wrap="none" lIns="62294" tIns="32393" rIns="62294" bIns="32393"/>
            <a:lstStyle/>
            <a:p>
              <a:pPr defTabSz="844083" eaLnBrk="1" hangingPunct="1">
                <a:spcAft>
                  <a:spcPct val="0"/>
                </a:spcAft>
                <a:defRPr/>
              </a:pPr>
              <a:endParaRPr lang="de-DE" sz="1108" dirty="0">
                <a:solidFill>
                  <a:srgbClr val="000000"/>
                </a:solidFill>
                <a:latin typeface="Arial"/>
                <a:cs typeface="Arial" charset="0"/>
              </a:endParaRPr>
            </a:p>
          </p:txBody>
        </p:sp>
      </p:grpSp>
      <p:pic>
        <p:nvPicPr>
          <p:cNvPr id="31" name="Picture 2"/>
          <p:cNvPicPr>
            <a:picLocks noChangeAspect="1" noChangeArrowheads="1"/>
          </p:cNvPicPr>
          <p:nvPr/>
        </p:nvPicPr>
        <p:blipFill>
          <a:blip r:embed="rId4">
            <a:extLst>
              <a:ext uri="{28A0092B-C50C-407E-A947-70E740481C1C}">
                <a14:useLocalDpi xmlns:a14="http://schemas.microsoft.com/office/drawing/2010/main"/>
              </a:ext>
            </a:extLst>
          </a:blip>
          <a:stretch>
            <a:fillRect/>
          </a:stretch>
        </p:blipFill>
        <p:spPr bwMode="auto">
          <a:xfrm>
            <a:off x="3680546" y="3555324"/>
            <a:ext cx="1325148" cy="1167998"/>
          </a:xfrm>
          <a:prstGeom prst="rect">
            <a:avLst/>
          </a:prstGeom>
          <a:noFill/>
          <a:extLst>
            <a:ext uri="{909E8E84-426E-40DD-AFC4-6F175D3DCCD1}">
              <a14:hiddenFill xmlns:a14="http://schemas.microsoft.com/office/drawing/2010/main">
                <a:solidFill>
                  <a:srgbClr val="FFFFFF"/>
                </a:solidFill>
              </a14:hiddenFill>
            </a:ext>
          </a:extLst>
        </p:spPr>
      </p:pic>
      <p:sp>
        <p:nvSpPr>
          <p:cNvPr id="42" name="Freeform 41"/>
          <p:cNvSpPr/>
          <p:nvPr/>
        </p:nvSpPr>
        <p:spPr>
          <a:xfrm>
            <a:off x="3964102" y="3531656"/>
            <a:ext cx="320504" cy="700612"/>
          </a:xfrm>
          <a:custGeom>
            <a:avLst/>
            <a:gdLst>
              <a:gd name="connsiteX0" fmla="*/ 0 w 862704"/>
              <a:gd name="connsiteY0" fmla="*/ 2349505 h 3940180"/>
              <a:gd name="connsiteX1" fmla="*/ 781050 w 862704"/>
              <a:gd name="connsiteY1" fmla="*/ 34930 h 3940180"/>
              <a:gd name="connsiteX2" fmla="*/ 800100 w 862704"/>
              <a:gd name="connsiteY2" fmla="*/ 3940180 h 3940180"/>
              <a:gd name="connsiteX0" fmla="*/ 0 w 862704"/>
              <a:gd name="connsiteY0" fmla="*/ 2349505 h 3940180"/>
              <a:gd name="connsiteX1" fmla="*/ 781050 w 862704"/>
              <a:gd name="connsiteY1" fmla="*/ 34930 h 3940180"/>
              <a:gd name="connsiteX2" fmla="*/ 800100 w 862704"/>
              <a:gd name="connsiteY2" fmla="*/ 3940180 h 3940180"/>
              <a:gd name="connsiteX0" fmla="*/ 0 w 862704"/>
              <a:gd name="connsiteY0" fmla="*/ 2314575 h 3905250"/>
              <a:gd name="connsiteX1" fmla="*/ 781050 w 862704"/>
              <a:gd name="connsiteY1" fmla="*/ 0 h 3905250"/>
              <a:gd name="connsiteX2" fmla="*/ 800100 w 862704"/>
              <a:gd name="connsiteY2" fmla="*/ 3905250 h 3905250"/>
              <a:gd name="connsiteX0" fmla="*/ 0 w 819897"/>
              <a:gd name="connsiteY0" fmla="*/ 2314575 h 3905250"/>
              <a:gd name="connsiteX1" fmla="*/ 781050 w 819897"/>
              <a:gd name="connsiteY1" fmla="*/ 0 h 3905250"/>
              <a:gd name="connsiteX2" fmla="*/ 800100 w 819897"/>
              <a:gd name="connsiteY2" fmla="*/ 3905250 h 3905250"/>
              <a:gd name="connsiteX0" fmla="*/ 0 w 800100"/>
              <a:gd name="connsiteY0" fmla="*/ 2314575 h 3905250"/>
              <a:gd name="connsiteX1" fmla="*/ 781050 w 800100"/>
              <a:gd name="connsiteY1" fmla="*/ 0 h 3905250"/>
              <a:gd name="connsiteX2" fmla="*/ 800100 w 800100"/>
              <a:gd name="connsiteY2" fmla="*/ 3905250 h 3905250"/>
              <a:gd name="connsiteX0" fmla="*/ 0 w 800100"/>
              <a:gd name="connsiteY0" fmla="*/ 2314575 h 3905250"/>
              <a:gd name="connsiteX1" fmla="*/ 781050 w 800100"/>
              <a:gd name="connsiteY1" fmla="*/ 0 h 3905250"/>
              <a:gd name="connsiteX2" fmla="*/ 800100 w 800100"/>
              <a:gd name="connsiteY2" fmla="*/ 3905250 h 3905250"/>
              <a:gd name="connsiteX0" fmla="*/ 0 w 800100"/>
              <a:gd name="connsiteY0" fmla="*/ 2390775 h 3981450"/>
              <a:gd name="connsiteX1" fmla="*/ 790575 w 800100"/>
              <a:gd name="connsiteY1" fmla="*/ 0 h 3981450"/>
              <a:gd name="connsiteX2" fmla="*/ 800100 w 800100"/>
              <a:gd name="connsiteY2" fmla="*/ 3981450 h 3981450"/>
              <a:gd name="connsiteX0" fmla="*/ 0 w 800100"/>
              <a:gd name="connsiteY0" fmla="*/ 2424486 h 4015161"/>
              <a:gd name="connsiteX1" fmla="*/ 799002 w 800100"/>
              <a:gd name="connsiteY1" fmla="*/ 0 h 4015161"/>
              <a:gd name="connsiteX2" fmla="*/ 800100 w 800100"/>
              <a:gd name="connsiteY2" fmla="*/ 4015161 h 4015161"/>
              <a:gd name="connsiteX0" fmla="*/ 0 w 800100"/>
              <a:gd name="connsiteY0" fmla="*/ 2416058 h 4006733"/>
              <a:gd name="connsiteX1" fmla="*/ 794788 w 800100"/>
              <a:gd name="connsiteY1" fmla="*/ 0 h 4006733"/>
              <a:gd name="connsiteX2" fmla="*/ 800100 w 800100"/>
              <a:gd name="connsiteY2" fmla="*/ 4006733 h 4006733"/>
              <a:gd name="connsiteX0" fmla="*/ 0 w 794788"/>
              <a:gd name="connsiteY0" fmla="*/ 2416058 h 3884532"/>
              <a:gd name="connsiteX1" fmla="*/ 794788 w 794788"/>
              <a:gd name="connsiteY1" fmla="*/ 0 h 3884532"/>
              <a:gd name="connsiteX2" fmla="*/ 791673 w 794788"/>
              <a:gd name="connsiteY2" fmla="*/ 3884532 h 3884532"/>
              <a:gd name="connsiteX0" fmla="*/ 0 w 794788"/>
              <a:gd name="connsiteY0" fmla="*/ 2416058 h 3968808"/>
              <a:gd name="connsiteX1" fmla="*/ 794788 w 794788"/>
              <a:gd name="connsiteY1" fmla="*/ 0 h 3968808"/>
              <a:gd name="connsiteX2" fmla="*/ 791673 w 794788"/>
              <a:gd name="connsiteY2" fmla="*/ 3968808 h 3968808"/>
              <a:gd name="connsiteX0" fmla="*/ 0 w 794788"/>
              <a:gd name="connsiteY0" fmla="*/ 2416058 h 4019374"/>
              <a:gd name="connsiteX1" fmla="*/ 794788 w 794788"/>
              <a:gd name="connsiteY1" fmla="*/ 0 h 4019374"/>
              <a:gd name="connsiteX2" fmla="*/ 791673 w 794788"/>
              <a:gd name="connsiteY2" fmla="*/ 4019374 h 4019374"/>
              <a:gd name="connsiteX0" fmla="*/ 0 w 794788"/>
              <a:gd name="connsiteY0" fmla="*/ 2416058 h 4019374"/>
              <a:gd name="connsiteX1" fmla="*/ 794788 w 794788"/>
              <a:gd name="connsiteY1" fmla="*/ 0 h 4019374"/>
              <a:gd name="connsiteX2" fmla="*/ 791673 w 794788"/>
              <a:gd name="connsiteY2" fmla="*/ 4019374 h 4019374"/>
              <a:gd name="connsiteX0" fmla="*/ 0 w 794788"/>
              <a:gd name="connsiteY0" fmla="*/ 2416058 h 2416058"/>
              <a:gd name="connsiteX1" fmla="*/ 794788 w 794788"/>
              <a:gd name="connsiteY1" fmla="*/ 0 h 2416058"/>
              <a:gd name="connsiteX0" fmla="*/ 0 w 737638"/>
              <a:gd name="connsiteY0" fmla="*/ 2416058 h 2416058"/>
              <a:gd name="connsiteX1" fmla="*/ 737638 w 737638"/>
              <a:gd name="connsiteY1" fmla="*/ 0 h 2416058"/>
              <a:gd name="connsiteX0" fmla="*/ 0 w 737638"/>
              <a:gd name="connsiteY0" fmla="*/ 2416058 h 2416058"/>
              <a:gd name="connsiteX1" fmla="*/ 737638 w 737638"/>
              <a:gd name="connsiteY1" fmla="*/ 0 h 2416058"/>
              <a:gd name="connsiteX0" fmla="*/ 0 w 754494"/>
              <a:gd name="connsiteY0" fmla="*/ 2450985 h 2450985"/>
              <a:gd name="connsiteX1" fmla="*/ 754494 w 754494"/>
              <a:gd name="connsiteY1" fmla="*/ 0 h 2450985"/>
              <a:gd name="connsiteX0" fmla="*/ 0 w 475602"/>
              <a:gd name="connsiteY0" fmla="*/ 1143610 h 1143610"/>
              <a:gd name="connsiteX1" fmla="*/ 475602 w 475602"/>
              <a:gd name="connsiteY1" fmla="*/ 0 h 1143610"/>
              <a:gd name="connsiteX0" fmla="*/ 0 w 475602"/>
              <a:gd name="connsiteY0" fmla="*/ 1143610 h 1143610"/>
              <a:gd name="connsiteX1" fmla="*/ 475602 w 475602"/>
              <a:gd name="connsiteY1" fmla="*/ 0 h 1143610"/>
              <a:gd name="connsiteX0" fmla="*/ 0 w 475602"/>
              <a:gd name="connsiteY0" fmla="*/ 1143610 h 1143610"/>
              <a:gd name="connsiteX1" fmla="*/ 475602 w 475602"/>
              <a:gd name="connsiteY1" fmla="*/ 0 h 1143610"/>
              <a:gd name="connsiteX0" fmla="*/ 0 w 475602"/>
              <a:gd name="connsiteY0" fmla="*/ 1143610 h 1143610"/>
              <a:gd name="connsiteX1" fmla="*/ 475602 w 475602"/>
              <a:gd name="connsiteY1" fmla="*/ 0 h 1143610"/>
              <a:gd name="connsiteX0" fmla="*/ 0 w 478561"/>
              <a:gd name="connsiteY0" fmla="*/ 1158940 h 1158940"/>
              <a:gd name="connsiteX1" fmla="*/ 478561 w 478561"/>
              <a:gd name="connsiteY1" fmla="*/ 0 h 1158940"/>
              <a:gd name="connsiteX0" fmla="*/ 0 w 484480"/>
              <a:gd name="connsiteY0" fmla="*/ 1152809 h 1152809"/>
              <a:gd name="connsiteX1" fmla="*/ 484480 w 484480"/>
              <a:gd name="connsiteY1" fmla="*/ 0 h 1152809"/>
              <a:gd name="connsiteX0" fmla="*/ 0 w 493357"/>
              <a:gd name="connsiteY0" fmla="*/ 1177337 h 1177337"/>
              <a:gd name="connsiteX1" fmla="*/ 493357 w 493357"/>
              <a:gd name="connsiteY1" fmla="*/ 0 h 1177337"/>
              <a:gd name="connsiteX0" fmla="*/ 0 w 493357"/>
              <a:gd name="connsiteY0" fmla="*/ 1177337 h 1177337"/>
              <a:gd name="connsiteX1" fmla="*/ 493357 w 493357"/>
              <a:gd name="connsiteY1" fmla="*/ 0 h 1177337"/>
              <a:gd name="connsiteX0" fmla="*/ 0 w 493357"/>
              <a:gd name="connsiteY0" fmla="*/ 1177337 h 1177337"/>
              <a:gd name="connsiteX1" fmla="*/ 493357 w 493357"/>
              <a:gd name="connsiteY1" fmla="*/ 0 h 1177337"/>
              <a:gd name="connsiteX0" fmla="*/ 0 w 493357"/>
              <a:gd name="connsiteY0" fmla="*/ 1177337 h 1177337"/>
              <a:gd name="connsiteX1" fmla="*/ 493357 w 493357"/>
              <a:gd name="connsiteY1" fmla="*/ 0 h 1177337"/>
              <a:gd name="connsiteX0" fmla="*/ 0 w 493357"/>
              <a:gd name="connsiteY0" fmla="*/ 1177337 h 1177337"/>
              <a:gd name="connsiteX1" fmla="*/ 493357 w 493357"/>
              <a:gd name="connsiteY1" fmla="*/ 0 h 1177337"/>
              <a:gd name="connsiteX0" fmla="*/ 0 w 498120"/>
              <a:gd name="connsiteY0" fmla="*/ 1174869 h 1174869"/>
              <a:gd name="connsiteX1" fmla="*/ 498120 w 498120"/>
              <a:gd name="connsiteY1" fmla="*/ 0 h 1174869"/>
              <a:gd name="connsiteX0" fmla="*/ 0 w 498120"/>
              <a:gd name="connsiteY0" fmla="*/ 1174869 h 1174869"/>
              <a:gd name="connsiteX1" fmla="*/ 498120 w 498120"/>
              <a:gd name="connsiteY1" fmla="*/ 0 h 1174869"/>
              <a:gd name="connsiteX0" fmla="*/ 0 w 498120"/>
              <a:gd name="connsiteY0" fmla="*/ 1174869 h 1174869"/>
              <a:gd name="connsiteX1" fmla="*/ 498120 w 498120"/>
              <a:gd name="connsiteY1" fmla="*/ 0 h 1174869"/>
              <a:gd name="connsiteX0" fmla="*/ 0 w 498120"/>
              <a:gd name="connsiteY0" fmla="*/ 1174869 h 1174869"/>
              <a:gd name="connsiteX1" fmla="*/ 498120 w 498120"/>
              <a:gd name="connsiteY1" fmla="*/ 0 h 1174869"/>
              <a:gd name="connsiteX0" fmla="*/ 0 w 653396"/>
              <a:gd name="connsiteY0" fmla="*/ 1407243 h 1407243"/>
              <a:gd name="connsiteX1" fmla="*/ 653396 w 653396"/>
              <a:gd name="connsiteY1" fmla="*/ 0 h 1407243"/>
              <a:gd name="connsiteX0" fmla="*/ 0 w 653396"/>
              <a:gd name="connsiteY0" fmla="*/ 1407243 h 1407243"/>
              <a:gd name="connsiteX1" fmla="*/ 653396 w 653396"/>
              <a:gd name="connsiteY1" fmla="*/ 0 h 1407243"/>
              <a:gd name="connsiteX0" fmla="*/ 0 w 415045"/>
              <a:gd name="connsiteY0" fmla="*/ 953760 h 953760"/>
              <a:gd name="connsiteX1" fmla="*/ 415045 w 415045"/>
              <a:gd name="connsiteY1" fmla="*/ 0 h 953760"/>
              <a:gd name="connsiteX0" fmla="*/ 0 w 415045"/>
              <a:gd name="connsiteY0" fmla="*/ 953760 h 953760"/>
              <a:gd name="connsiteX1" fmla="*/ 415045 w 415045"/>
              <a:gd name="connsiteY1" fmla="*/ 0 h 953760"/>
              <a:gd name="connsiteX0" fmla="*/ 0 w 428046"/>
              <a:gd name="connsiteY0" fmla="*/ 962740 h 962740"/>
              <a:gd name="connsiteX1" fmla="*/ 428046 w 428046"/>
              <a:gd name="connsiteY1" fmla="*/ 0 h 962740"/>
              <a:gd name="connsiteX0" fmla="*/ 0 w 428046"/>
              <a:gd name="connsiteY0" fmla="*/ 962740 h 962740"/>
              <a:gd name="connsiteX1" fmla="*/ 428046 w 428046"/>
              <a:gd name="connsiteY1" fmla="*/ 0 h 962740"/>
              <a:gd name="connsiteX0" fmla="*/ 0 w 428046"/>
              <a:gd name="connsiteY0" fmla="*/ 962740 h 962740"/>
              <a:gd name="connsiteX1" fmla="*/ 428046 w 428046"/>
              <a:gd name="connsiteY1" fmla="*/ 0 h 962740"/>
              <a:gd name="connsiteX0" fmla="*/ 0 w 428046"/>
              <a:gd name="connsiteY0" fmla="*/ 962740 h 962740"/>
              <a:gd name="connsiteX1" fmla="*/ 428046 w 428046"/>
              <a:gd name="connsiteY1" fmla="*/ 0 h 962740"/>
              <a:gd name="connsiteX0" fmla="*/ 0 w 433332"/>
              <a:gd name="connsiteY0" fmla="*/ 973692 h 973692"/>
              <a:gd name="connsiteX1" fmla="*/ 433332 w 433332"/>
              <a:gd name="connsiteY1" fmla="*/ 0 h 973692"/>
              <a:gd name="connsiteX0" fmla="*/ 0 w 433332"/>
              <a:gd name="connsiteY0" fmla="*/ 973692 h 973692"/>
              <a:gd name="connsiteX1" fmla="*/ 433332 w 433332"/>
              <a:gd name="connsiteY1" fmla="*/ 0 h 973692"/>
              <a:gd name="connsiteX0" fmla="*/ 0 w 443903"/>
              <a:gd name="connsiteY0" fmla="*/ 1006549 h 1006549"/>
              <a:gd name="connsiteX1" fmla="*/ 443903 w 443903"/>
              <a:gd name="connsiteY1" fmla="*/ 0 h 1006549"/>
              <a:gd name="connsiteX0" fmla="*/ 0 w 443903"/>
              <a:gd name="connsiteY0" fmla="*/ 1006549 h 1006549"/>
              <a:gd name="connsiteX1" fmla="*/ 443903 w 443903"/>
              <a:gd name="connsiteY1" fmla="*/ 0 h 1006549"/>
              <a:gd name="connsiteX0" fmla="*/ 0 w 443903"/>
              <a:gd name="connsiteY0" fmla="*/ 1006549 h 1006549"/>
              <a:gd name="connsiteX1" fmla="*/ 443903 w 443903"/>
              <a:gd name="connsiteY1" fmla="*/ 0 h 1006549"/>
              <a:gd name="connsiteX0" fmla="*/ 0 w 439140"/>
              <a:gd name="connsiteY0" fmla="*/ 1018884 h 1018884"/>
              <a:gd name="connsiteX1" fmla="*/ 439140 w 439140"/>
              <a:gd name="connsiteY1" fmla="*/ 0 h 1018884"/>
              <a:gd name="connsiteX0" fmla="*/ 0 w 441521"/>
              <a:gd name="connsiteY0" fmla="*/ 1018884 h 1018884"/>
              <a:gd name="connsiteX1" fmla="*/ 441521 w 441521"/>
              <a:gd name="connsiteY1" fmla="*/ 0 h 1018884"/>
              <a:gd name="connsiteX0" fmla="*/ 0 w 448664"/>
              <a:gd name="connsiteY0" fmla="*/ 1018884 h 1018884"/>
              <a:gd name="connsiteX1" fmla="*/ 448664 w 448664"/>
              <a:gd name="connsiteY1" fmla="*/ 0 h 1018884"/>
              <a:gd name="connsiteX0" fmla="*/ 0 w 458189"/>
              <a:gd name="connsiteY0" fmla="*/ 1041089 h 1041089"/>
              <a:gd name="connsiteX1" fmla="*/ 458189 w 458189"/>
              <a:gd name="connsiteY1" fmla="*/ 0 h 1041089"/>
              <a:gd name="connsiteX0" fmla="*/ 0 w 458189"/>
              <a:gd name="connsiteY0" fmla="*/ 1041089 h 1041089"/>
              <a:gd name="connsiteX1" fmla="*/ 458189 w 458189"/>
              <a:gd name="connsiteY1" fmla="*/ 0 h 1041089"/>
              <a:gd name="connsiteX0" fmla="*/ 0 w 462951"/>
              <a:gd name="connsiteY0" fmla="*/ 1048490 h 1048490"/>
              <a:gd name="connsiteX1" fmla="*/ 462951 w 462951"/>
              <a:gd name="connsiteY1" fmla="*/ 0 h 1048490"/>
              <a:gd name="connsiteX0" fmla="*/ 0 w 462951"/>
              <a:gd name="connsiteY0" fmla="*/ 1048490 h 1048490"/>
              <a:gd name="connsiteX1" fmla="*/ 462951 w 462951"/>
              <a:gd name="connsiteY1" fmla="*/ 0 h 1048490"/>
              <a:gd name="connsiteX0" fmla="*/ 0 w 462951"/>
              <a:gd name="connsiteY0" fmla="*/ 1048490 h 1048490"/>
              <a:gd name="connsiteX1" fmla="*/ 462951 w 462951"/>
              <a:gd name="connsiteY1" fmla="*/ 0 h 1048490"/>
            </a:gdLst>
            <a:ahLst/>
            <a:cxnLst>
              <a:cxn ang="0">
                <a:pos x="connsiteX0" y="connsiteY0"/>
              </a:cxn>
              <a:cxn ang="0">
                <a:pos x="connsiteX1" y="connsiteY1"/>
              </a:cxn>
            </a:cxnLst>
            <a:rect l="l" t="t" r="r" b="b"/>
            <a:pathLst>
              <a:path w="462951" h="1048490">
                <a:moveTo>
                  <a:pt x="0" y="1048490"/>
                </a:moveTo>
                <a:cubicBezTo>
                  <a:pt x="215687" y="665144"/>
                  <a:pt x="356843" y="332069"/>
                  <a:pt x="462951" y="0"/>
                </a:cubicBezTo>
              </a:path>
            </a:pathLst>
          </a:custGeom>
          <a:ln w="25400" cap="rnd">
            <a:solidFill>
              <a:schemeClr val="bg2"/>
            </a:solidFill>
            <a:prstDash val="solid"/>
            <a:tailEnd type="none" w="med" len="lg"/>
          </a:ln>
          <a:effectLst/>
        </p:spPr>
        <p:txBody>
          <a:bodyPr rtlCol="0" anchor="ctr"/>
          <a:lstStyle/>
          <a:p>
            <a:pPr algn="ctr" defTabSz="844083" eaLnBrk="1" hangingPunct="1">
              <a:spcAft>
                <a:spcPct val="0"/>
              </a:spcAft>
              <a:defRPr/>
            </a:pPr>
            <a:endParaRPr lang="de-DE" sz="1038" dirty="0">
              <a:solidFill>
                <a:srgbClr val="E60000"/>
              </a:solidFill>
              <a:latin typeface="Arial"/>
              <a:cs typeface="Arial" charset="0"/>
            </a:endParaRPr>
          </a:p>
        </p:txBody>
      </p:sp>
      <p:sp>
        <p:nvSpPr>
          <p:cNvPr id="44" name="Freeform 43"/>
          <p:cNvSpPr/>
          <p:nvPr/>
        </p:nvSpPr>
        <p:spPr>
          <a:xfrm>
            <a:off x="4294201" y="3010712"/>
            <a:ext cx="116135" cy="427876"/>
          </a:xfrm>
          <a:custGeom>
            <a:avLst/>
            <a:gdLst>
              <a:gd name="connsiteX0" fmla="*/ 0 w 862704"/>
              <a:gd name="connsiteY0" fmla="*/ 2349505 h 3940180"/>
              <a:gd name="connsiteX1" fmla="*/ 781050 w 862704"/>
              <a:gd name="connsiteY1" fmla="*/ 34930 h 3940180"/>
              <a:gd name="connsiteX2" fmla="*/ 800100 w 862704"/>
              <a:gd name="connsiteY2" fmla="*/ 3940180 h 3940180"/>
              <a:gd name="connsiteX0" fmla="*/ 0 w 862704"/>
              <a:gd name="connsiteY0" fmla="*/ 2349505 h 3940180"/>
              <a:gd name="connsiteX1" fmla="*/ 781050 w 862704"/>
              <a:gd name="connsiteY1" fmla="*/ 34930 h 3940180"/>
              <a:gd name="connsiteX2" fmla="*/ 800100 w 862704"/>
              <a:gd name="connsiteY2" fmla="*/ 3940180 h 3940180"/>
              <a:gd name="connsiteX0" fmla="*/ 0 w 862704"/>
              <a:gd name="connsiteY0" fmla="*/ 2314575 h 3905250"/>
              <a:gd name="connsiteX1" fmla="*/ 781050 w 862704"/>
              <a:gd name="connsiteY1" fmla="*/ 0 h 3905250"/>
              <a:gd name="connsiteX2" fmla="*/ 800100 w 862704"/>
              <a:gd name="connsiteY2" fmla="*/ 3905250 h 3905250"/>
              <a:gd name="connsiteX0" fmla="*/ 0 w 819897"/>
              <a:gd name="connsiteY0" fmla="*/ 2314575 h 3905250"/>
              <a:gd name="connsiteX1" fmla="*/ 781050 w 819897"/>
              <a:gd name="connsiteY1" fmla="*/ 0 h 3905250"/>
              <a:gd name="connsiteX2" fmla="*/ 800100 w 819897"/>
              <a:gd name="connsiteY2" fmla="*/ 3905250 h 3905250"/>
              <a:gd name="connsiteX0" fmla="*/ 0 w 800100"/>
              <a:gd name="connsiteY0" fmla="*/ 2314575 h 3905250"/>
              <a:gd name="connsiteX1" fmla="*/ 781050 w 800100"/>
              <a:gd name="connsiteY1" fmla="*/ 0 h 3905250"/>
              <a:gd name="connsiteX2" fmla="*/ 800100 w 800100"/>
              <a:gd name="connsiteY2" fmla="*/ 3905250 h 3905250"/>
              <a:gd name="connsiteX0" fmla="*/ 0 w 800100"/>
              <a:gd name="connsiteY0" fmla="*/ 2314575 h 3905250"/>
              <a:gd name="connsiteX1" fmla="*/ 781050 w 800100"/>
              <a:gd name="connsiteY1" fmla="*/ 0 h 3905250"/>
              <a:gd name="connsiteX2" fmla="*/ 800100 w 800100"/>
              <a:gd name="connsiteY2" fmla="*/ 3905250 h 3905250"/>
              <a:gd name="connsiteX0" fmla="*/ 0 w 800100"/>
              <a:gd name="connsiteY0" fmla="*/ 2390775 h 3981450"/>
              <a:gd name="connsiteX1" fmla="*/ 790575 w 800100"/>
              <a:gd name="connsiteY1" fmla="*/ 0 h 3981450"/>
              <a:gd name="connsiteX2" fmla="*/ 800100 w 800100"/>
              <a:gd name="connsiteY2" fmla="*/ 3981450 h 3981450"/>
              <a:gd name="connsiteX0" fmla="*/ 0 w 800100"/>
              <a:gd name="connsiteY0" fmla="*/ 2424486 h 4015161"/>
              <a:gd name="connsiteX1" fmla="*/ 799002 w 800100"/>
              <a:gd name="connsiteY1" fmla="*/ 0 h 4015161"/>
              <a:gd name="connsiteX2" fmla="*/ 800100 w 800100"/>
              <a:gd name="connsiteY2" fmla="*/ 4015161 h 4015161"/>
              <a:gd name="connsiteX0" fmla="*/ 0 w 800100"/>
              <a:gd name="connsiteY0" fmla="*/ 2416058 h 4006733"/>
              <a:gd name="connsiteX1" fmla="*/ 794788 w 800100"/>
              <a:gd name="connsiteY1" fmla="*/ 0 h 4006733"/>
              <a:gd name="connsiteX2" fmla="*/ 800100 w 800100"/>
              <a:gd name="connsiteY2" fmla="*/ 4006733 h 4006733"/>
              <a:gd name="connsiteX0" fmla="*/ 0 w 794788"/>
              <a:gd name="connsiteY0" fmla="*/ 2416058 h 3884532"/>
              <a:gd name="connsiteX1" fmla="*/ 794788 w 794788"/>
              <a:gd name="connsiteY1" fmla="*/ 0 h 3884532"/>
              <a:gd name="connsiteX2" fmla="*/ 791673 w 794788"/>
              <a:gd name="connsiteY2" fmla="*/ 3884532 h 3884532"/>
              <a:gd name="connsiteX0" fmla="*/ 0 w 794788"/>
              <a:gd name="connsiteY0" fmla="*/ 2416058 h 3968808"/>
              <a:gd name="connsiteX1" fmla="*/ 794788 w 794788"/>
              <a:gd name="connsiteY1" fmla="*/ 0 h 3968808"/>
              <a:gd name="connsiteX2" fmla="*/ 791673 w 794788"/>
              <a:gd name="connsiteY2" fmla="*/ 3968808 h 3968808"/>
              <a:gd name="connsiteX0" fmla="*/ 0 w 794788"/>
              <a:gd name="connsiteY0" fmla="*/ 2416058 h 4019374"/>
              <a:gd name="connsiteX1" fmla="*/ 794788 w 794788"/>
              <a:gd name="connsiteY1" fmla="*/ 0 h 4019374"/>
              <a:gd name="connsiteX2" fmla="*/ 791673 w 794788"/>
              <a:gd name="connsiteY2" fmla="*/ 4019374 h 4019374"/>
              <a:gd name="connsiteX0" fmla="*/ 0 w 794788"/>
              <a:gd name="connsiteY0" fmla="*/ 2416058 h 4019374"/>
              <a:gd name="connsiteX1" fmla="*/ 794788 w 794788"/>
              <a:gd name="connsiteY1" fmla="*/ 0 h 4019374"/>
              <a:gd name="connsiteX2" fmla="*/ 791673 w 794788"/>
              <a:gd name="connsiteY2" fmla="*/ 4019374 h 4019374"/>
              <a:gd name="connsiteX0" fmla="*/ 0 w 794788"/>
              <a:gd name="connsiteY0" fmla="*/ 2416058 h 2416058"/>
              <a:gd name="connsiteX1" fmla="*/ 794788 w 794788"/>
              <a:gd name="connsiteY1" fmla="*/ 0 h 2416058"/>
              <a:gd name="connsiteX0" fmla="*/ 0 w 737638"/>
              <a:gd name="connsiteY0" fmla="*/ 2416058 h 2416058"/>
              <a:gd name="connsiteX1" fmla="*/ 737638 w 737638"/>
              <a:gd name="connsiteY1" fmla="*/ 0 h 2416058"/>
              <a:gd name="connsiteX0" fmla="*/ 0 w 737638"/>
              <a:gd name="connsiteY0" fmla="*/ 2416058 h 2416058"/>
              <a:gd name="connsiteX1" fmla="*/ 737638 w 737638"/>
              <a:gd name="connsiteY1" fmla="*/ 0 h 2416058"/>
              <a:gd name="connsiteX0" fmla="*/ 0 w 754494"/>
              <a:gd name="connsiteY0" fmla="*/ 2450985 h 2450985"/>
              <a:gd name="connsiteX1" fmla="*/ 754494 w 754494"/>
              <a:gd name="connsiteY1" fmla="*/ 0 h 2450985"/>
              <a:gd name="connsiteX0" fmla="*/ 0 w 283578"/>
              <a:gd name="connsiteY0" fmla="*/ 1314137 h 1314137"/>
              <a:gd name="connsiteX1" fmla="*/ 283578 w 283578"/>
              <a:gd name="connsiteY1" fmla="*/ 0 h 1314137"/>
              <a:gd name="connsiteX0" fmla="*/ 0 w 283578"/>
              <a:gd name="connsiteY0" fmla="*/ 1314137 h 1314137"/>
              <a:gd name="connsiteX1" fmla="*/ 283578 w 283578"/>
              <a:gd name="connsiteY1" fmla="*/ 0 h 1314137"/>
              <a:gd name="connsiteX0" fmla="*/ 0 w 283578"/>
              <a:gd name="connsiteY0" fmla="*/ 1314137 h 1314137"/>
              <a:gd name="connsiteX1" fmla="*/ 283578 w 283578"/>
              <a:gd name="connsiteY1" fmla="*/ 0 h 1314137"/>
              <a:gd name="connsiteX0" fmla="*/ 0 w 256146"/>
              <a:gd name="connsiteY0" fmla="*/ 1257295 h 1257295"/>
              <a:gd name="connsiteX1" fmla="*/ 256146 w 256146"/>
              <a:gd name="connsiteY1" fmla="*/ 0 h 1257295"/>
              <a:gd name="connsiteX0" fmla="*/ 0 w 229952"/>
              <a:gd name="connsiteY0" fmla="*/ 1156142 h 1156142"/>
              <a:gd name="connsiteX1" fmla="*/ 229952 w 229952"/>
              <a:gd name="connsiteY1" fmla="*/ 0 h 1156142"/>
              <a:gd name="connsiteX0" fmla="*/ 0 w 234714"/>
              <a:gd name="connsiteY0" fmla="*/ 1173412 h 1173412"/>
              <a:gd name="connsiteX1" fmla="*/ 234714 w 234714"/>
              <a:gd name="connsiteY1" fmla="*/ 0 h 1173412"/>
              <a:gd name="connsiteX0" fmla="*/ 0 w 234714"/>
              <a:gd name="connsiteY0" fmla="*/ 1173412 h 1173412"/>
              <a:gd name="connsiteX1" fmla="*/ 234714 w 234714"/>
              <a:gd name="connsiteY1" fmla="*/ 0 h 1173412"/>
              <a:gd name="connsiteX0" fmla="*/ 0 w 234714"/>
              <a:gd name="connsiteY0" fmla="*/ 1173412 h 1173412"/>
              <a:gd name="connsiteX1" fmla="*/ 234714 w 234714"/>
              <a:gd name="connsiteY1" fmla="*/ 0 h 1173412"/>
              <a:gd name="connsiteX0" fmla="*/ 0 w 148989"/>
              <a:gd name="connsiteY0" fmla="*/ 709594 h 709594"/>
              <a:gd name="connsiteX1" fmla="*/ 148989 w 148989"/>
              <a:gd name="connsiteY1" fmla="*/ 0 h 709594"/>
              <a:gd name="connsiteX0" fmla="*/ 0 w 148989"/>
              <a:gd name="connsiteY0" fmla="*/ 709594 h 709594"/>
              <a:gd name="connsiteX1" fmla="*/ 148989 w 148989"/>
              <a:gd name="connsiteY1" fmla="*/ 0 h 709594"/>
              <a:gd name="connsiteX0" fmla="*/ 0 w 148989"/>
              <a:gd name="connsiteY0" fmla="*/ 709594 h 709594"/>
              <a:gd name="connsiteX1" fmla="*/ 148989 w 148989"/>
              <a:gd name="connsiteY1" fmla="*/ 0 h 709594"/>
              <a:gd name="connsiteX0" fmla="*/ 0 w 146608"/>
              <a:gd name="connsiteY0" fmla="*/ 716996 h 716996"/>
              <a:gd name="connsiteX1" fmla="*/ 146608 w 146608"/>
              <a:gd name="connsiteY1" fmla="*/ 0 h 716996"/>
              <a:gd name="connsiteX0" fmla="*/ 0 w 146608"/>
              <a:gd name="connsiteY0" fmla="*/ 716996 h 716996"/>
              <a:gd name="connsiteX1" fmla="*/ 146608 w 146608"/>
              <a:gd name="connsiteY1" fmla="*/ 0 h 716996"/>
              <a:gd name="connsiteX0" fmla="*/ 0 w 146608"/>
              <a:gd name="connsiteY0" fmla="*/ 716996 h 716996"/>
              <a:gd name="connsiteX1" fmla="*/ 146608 w 146608"/>
              <a:gd name="connsiteY1" fmla="*/ 0 h 716996"/>
              <a:gd name="connsiteX0" fmla="*/ 0 w 136037"/>
              <a:gd name="connsiteY0" fmla="*/ 618425 h 618425"/>
              <a:gd name="connsiteX1" fmla="*/ 136037 w 136037"/>
              <a:gd name="connsiteY1" fmla="*/ 0 h 618425"/>
              <a:gd name="connsiteX0" fmla="*/ 0 w 136037"/>
              <a:gd name="connsiteY0" fmla="*/ 618425 h 618425"/>
              <a:gd name="connsiteX1" fmla="*/ 136037 w 136037"/>
              <a:gd name="connsiteY1" fmla="*/ 0 h 618425"/>
              <a:gd name="connsiteX0" fmla="*/ 0 w 167751"/>
              <a:gd name="connsiteY0" fmla="*/ 640329 h 640329"/>
              <a:gd name="connsiteX1" fmla="*/ 167751 w 167751"/>
              <a:gd name="connsiteY1" fmla="*/ 0 h 640329"/>
              <a:gd name="connsiteX0" fmla="*/ 0 w 167751"/>
              <a:gd name="connsiteY0" fmla="*/ 640329 h 640329"/>
              <a:gd name="connsiteX1" fmla="*/ 167751 w 167751"/>
              <a:gd name="connsiteY1" fmla="*/ 0 h 640329"/>
              <a:gd name="connsiteX0" fmla="*/ 0 w 167751"/>
              <a:gd name="connsiteY0" fmla="*/ 640329 h 640329"/>
              <a:gd name="connsiteX1" fmla="*/ 167751 w 167751"/>
              <a:gd name="connsiteY1" fmla="*/ 0 h 640329"/>
              <a:gd name="connsiteX0" fmla="*/ 0 w 167751"/>
              <a:gd name="connsiteY0" fmla="*/ 640329 h 640329"/>
              <a:gd name="connsiteX1" fmla="*/ 167751 w 167751"/>
              <a:gd name="connsiteY1" fmla="*/ 0 h 640329"/>
              <a:gd name="connsiteX0" fmla="*/ 0 w 167751"/>
              <a:gd name="connsiteY0" fmla="*/ 640329 h 640329"/>
              <a:gd name="connsiteX1" fmla="*/ 167751 w 167751"/>
              <a:gd name="connsiteY1" fmla="*/ 0 h 640329"/>
              <a:gd name="connsiteX0" fmla="*/ 0 w 167751"/>
              <a:gd name="connsiteY0" fmla="*/ 640329 h 640329"/>
              <a:gd name="connsiteX1" fmla="*/ 167751 w 167751"/>
              <a:gd name="connsiteY1" fmla="*/ 0 h 640329"/>
            </a:gdLst>
            <a:ahLst/>
            <a:cxnLst>
              <a:cxn ang="0">
                <a:pos x="connsiteX0" y="connsiteY0"/>
              </a:cxn>
              <a:cxn ang="0">
                <a:pos x="connsiteX1" y="connsiteY1"/>
              </a:cxn>
            </a:cxnLst>
            <a:rect l="l" t="t" r="r" b="b"/>
            <a:pathLst>
              <a:path w="167751" h="640329">
                <a:moveTo>
                  <a:pt x="0" y="640329"/>
                </a:moveTo>
                <a:cubicBezTo>
                  <a:pt x="69901" y="420572"/>
                  <a:pt x="98460" y="312284"/>
                  <a:pt x="167751" y="0"/>
                </a:cubicBezTo>
              </a:path>
            </a:pathLst>
          </a:custGeom>
          <a:ln w="25400" cap="rnd">
            <a:solidFill>
              <a:schemeClr val="bg2"/>
            </a:solidFill>
            <a:prstDash val="solid"/>
            <a:tailEnd type="none" w="med" len="lg"/>
          </a:ln>
          <a:effectLst>
            <a:glow rad="76200">
              <a:schemeClr val="bg1">
                <a:alpha val="88000"/>
              </a:schemeClr>
            </a:glow>
          </a:effectLst>
        </p:spPr>
        <p:txBody>
          <a:bodyPr rtlCol="0" anchor="ctr"/>
          <a:lstStyle/>
          <a:p>
            <a:pPr algn="ctr" defTabSz="844083" eaLnBrk="1" hangingPunct="1">
              <a:spcAft>
                <a:spcPct val="0"/>
              </a:spcAft>
              <a:defRPr/>
            </a:pPr>
            <a:endParaRPr lang="de-DE" sz="1038" dirty="0">
              <a:solidFill>
                <a:srgbClr val="E60000"/>
              </a:solidFill>
              <a:latin typeface="Arial"/>
              <a:cs typeface="Arial" charset="0"/>
            </a:endParaRPr>
          </a:p>
        </p:txBody>
      </p:sp>
      <p:sp>
        <p:nvSpPr>
          <p:cNvPr id="45" name="TextBox 44"/>
          <p:cNvSpPr txBox="1"/>
          <p:nvPr/>
        </p:nvSpPr>
        <p:spPr>
          <a:xfrm>
            <a:off x="4568435" y="4901873"/>
            <a:ext cx="467114" cy="188832"/>
          </a:xfrm>
          <a:prstGeom prst="rect">
            <a:avLst/>
          </a:prstGeom>
          <a:ln algn="ctr"/>
          <a:effectLst>
            <a:glow rad="127000">
              <a:schemeClr val="bg1">
                <a:alpha val="35000"/>
              </a:schemeClr>
            </a:glow>
          </a:effectLst>
        </p:spPr>
        <p:txBody>
          <a:bodyPr wrap="none" lIns="24923" tIns="24923" rIns="24923" bIns="24923" rtlCol="0" anchor="t">
            <a:spAutoFit/>
          </a:bodyPr>
          <a:lstStyle/>
          <a:p>
            <a:pPr defTabSz="844083" eaLnBrk="1" hangingPunct="1">
              <a:spcAft>
                <a:spcPct val="0"/>
              </a:spcAft>
              <a:defRPr/>
            </a:pPr>
            <a:r>
              <a:rPr lang="de-DE" sz="900" b="1" kern="0" dirty="0">
                <a:solidFill>
                  <a:srgbClr val="E60000"/>
                </a:solidFill>
                <a:effectLst>
                  <a:glow rad="317500">
                    <a:srgbClr val="FFFFFF">
                      <a:alpha val="44000"/>
                    </a:srgbClr>
                  </a:glow>
                </a:effectLst>
                <a:latin typeface="Arial"/>
                <a:cs typeface="Arial" charset="0"/>
              </a:rPr>
              <a:t>Kollaps</a:t>
            </a:r>
          </a:p>
        </p:txBody>
      </p:sp>
      <p:sp>
        <p:nvSpPr>
          <p:cNvPr id="46" name="Freeform 45"/>
          <p:cNvSpPr/>
          <p:nvPr/>
        </p:nvSpPr>
        <p:spPr>
          <a:xfrm>
            <a:off x="4416729" y="2566801"/>
            <a:ext cx="94782" cy="425252"/>
          </a:xfrm>
          <a:custGeom>
            <a:avLst/>
            <a:gdLst>
              <a:gd name="connsiteX0" fmla="*/ 0 w 862704"/>
              <a:gd name="connsiteY0" fmla="*/ 2349505 h 3940180"/>
              <a:gd name="connsiteX1" fmla="*/ 781050 w 862704"/>
              <a:gd name="connsiteY1" fmla="*/ 34930 h 3940180"/>
              <a:gd name="connsiteX2" fmla="*/ 800100 w 862704"/>
              <a:gd name="connsiteY2" fmla="*/ 3940180 h 3940180"/>
              <a:gd name="connsiteX0" fmla="*/ 0 w 862704"/>
              <a:gd name="connsiteY0" fmla="*/ 2349505 h 3940180"/>
              <a:gd name="connsiteX1" fmla="*/ 781050 w 862704"/>
              <a:gd name="connsiteY1" fmla="*/ 34930 h 3940180"/>
              <a:gd name="connsiteX2" fmla="*/ 800100 w 862704"/>
              <a:gd name="connsiteY2" fmla="*/ 3940180 h 3940180"/>
              <a:gd name="connsiteX0" fmla="*/ 0 w 862704"/>
              <a:gd name="connsiteY0" fmla="*/ 2314575 h 3905250"/>
              <a:gd name="connsiteX1" fmla="*/ 781050 w 862704"/>
              <a:gd name="connsiteY1" fmla="*/ 0 h 3905250"/>
              <a:gd name="connsiteX2" fmla="*/ 800100 w 862704"/>
              <a:gd name="connsiteY2" fmla="*/ 3905250 h 3905250"/>
              <a:gd name="connsiteX0" fmla="*/ 0 w 819897"/>
              <a:gd name="connsiteY0" fmla="*/ 2314575 h 3905250"/>
              <a:gd name="connsiteX1" fmla="*/ 781050 w 819897"/>
              <a:gd name="connsiteY1" fmla="*/ 0 h 3905250"/>
              <a:gd name="connsiteX2" fmla="*/ 800100 w 819897"/>
              <a:gd name="connsiteY2" fmla="*/ 3905250 h 3905250"/>
              <a:gd name="connsiteX0" fmla="*/ 0 w 800100"/>
              <a:gd name="connsiteY0" fmla="*/ 2314575 h 3905250"/>
              <a:gd name="connsiteX1" fmla="*/ 781050 w 800100"/>
              <a:gd name="connsiteY1" fmla="*/ 0 h 3905250"/>
              <a:gd name="connsiteX2" fmla="*/ 800100 w 800100"/>
              <a:gd name="connsiteY2" fmla="*/ 3905250 h 3905250"/>
              <a:gd name="connsiteX0" fmla="*/ 0 w 800100"/>
              <a:gd name="connsiteY0" fmla="*/ 2314575 h 3905250"/>
              <a:gd name="connsiteX1" fmla="*/ 781050 w 800100"/>
              <a:gd name="connsiteY1" fmla="*/ 0 h 3905250"/>
              <a:gd name="connsiteX2" fmla="*/ 800100 w 800100"/>
              <a:gd name="connsiteY2" fmla="*/ 3905250 h 3905250"/>
              <a:gd name="connsiteX0" fmla="*/ 0 w 800100"/>
              <a:gd name="connsiteY0" fmla="*/ 2390775 h 3981450"/>
              <a:gd name="connsiteX1" fmla="*/ 790575 w 800100"/>
              <a:gd name="connsiteY1" fmla="*/ 0 h 3981450"/>
              <a:gd name="connsiteX2" fmla="*/ 800100 w 800100"/>
              <a:gd name="connsiteY2" fmla="*/ 3981450 h 3981450"/>
              <a:gd name="connsiteX0" fmla="*/ 0 w 800100"/>
              <a:gd name="connsiteY0" fmla="*/ 2424486 h 4015161"/>
              <a:gd name="connsiteX1" fmla="*/ 799002 w 800100"/>
              <a:gd name="connsiteY1" fmla="*/ 0 h 4015161"/>
              <a:gd name="connsiteX2" fmla="*/ 800100 w 800100"/>
              <a:gd name="connsiteY2" fmla="*/ 4015161 h 4015161"/>
              <a:gd name="connsiteX0" fmla="*/ 0 w 800100"/>
              <a:gd name="connsiteY0" fmla="*/ 2416058 h 4006733"/>
              <a:gd name="connsiteX1" fmla="*/ 794788 w 800100"/>
              <a:gd name="connsiteY1" fmla="*/ 0 h 4006733"/>
              <a:gd name="connsiteX2" fmla="*/ 800100 w 800100"/>
              <a:gd name="connsiteY2" fmla="*/ 4006733 h 4006733"/>
              <a:gd name="connsiteX0" fmla="*/ 0 w 794788"/>
              <a:gd name="connsiteY0" fmla="*/ 2416058 h 3884532"/>
              <a:gd name="connsiteX1" fmla="*/ 794788 w 794788"/>
              <a:gd name="connsiteY1" fmla="*/ 0 h 3884532"/>
              <a:gd name="connsiteX2" fmla="*/ 791673 w 794788"/>
              <a:gd name="connsiteY2" fmla="*/ 3884532 h 3884532"/>
              <a:gd name="connsiteX0" fmla="*/ 0 w 794788"/>
              <a:gd name="connsiteY0" fmla="*/ 2416058 h 3968808"/>
              <a:gd name="connsiteX1" fmla="*/ 794788 w 794788"/>
              <a:gd name="connsiteY1" fmla="*/ 0 h 3968808"/>
              <a:gd name="connsiteX2" fmla="*/ 791673 w 794788"/>
              <a:gd name="connsiteY2" fmla="*/ 3968808 h 3968808"/>
              <a:gd name="connsiteX0" fmla="*/ 0 w 794788"/>
              <a:gd name="connsiteY0" fmla="*/ 2416058 h 4019374"/>
              <a:gd name="connsiteX1" fmla="*/ 794788 w 794788"/>
              <a:gd name="connsiteY1" fmla="*/ 0 h 4019374"/>
              <a:gd name="connsiteX2" fmla="*/ 791673 w 794788"/>
              <a:gd name="connsiteY2" fmla="*/ 4019374 h 4019374"/>
              <a:gd name="connsiteX0" fmla="*/ 0 w 794788"/>
              <a:gd name="connsiteY0" fmla="*/ 2416058 h 4019374"/>
              <a:gd name="connsiteX1" fmla="*/ 794788 w 794788"/>
              <a:gd name="connsiteY1" fmla="*/ 0 h 4019374"/>
              <a:gd name="connsiteX2" fmla="*/ 791673 w 794788"/>
              <a:gd name="connsiteY2" fmla="*/ 4019374 h 4019374"/>
              <a:gd name="connsiteX0" fmla="*/ 0 w 794788"/>
              <a:gd name="connsiteY0" fmla="*/ 2416058 h 2416058"/>
              <a:gd name="connsiteX1" fmla="*/ 794788 w 794788"/>
              <a:gd name="connsiteY1" fmla="*/ 0 h 2416058"/>
              <a:gd name="connsiteX0" fmla="*/ 0 w 737638"/>
              <a:gd name="connsiteY0" fmla="*/ 2416058 h 2416058"/>
              <a:gd name="connsiteX1" fmla="*/ 737638 w 737638"/>
              <a:gd name="connsiteY1" fmla="*/ 0 h 2416058"/>
              <a:gd name="connsiteX0" fmla="*/ 0 w 737638"/>
              <a:gd name="connsiteY0" fmla="*/ 2416058 h 2416058"/>
              <a:gd name="connsiteX1" fmla="*/ 737638 w 737638"/>
              <a:gd name="connsiteY1" fmla="*/ 0 h 2416058"/>
              <a:gd name="connsiteX0" fmla="*/ 0 w 754494"/>
              <a:gd name="connsiteY0" fmla="*/ 2450985 h 2450985"/>
              <a:gd name="connsiteX1" fmla="*/ 754494 w 754494"/>
              <a:gd name="connsiteY1" fmla="*/ 0 h 2450985"/>
              <a:gd name="connsiteX0" fmla="*/ 0 w 283578"/>
              <a:gd name="connsiteY0" fmla="*/ 1314137 h 1314137"/>
              <a:gd name="connsiteX1" fmla="*/ 283578 w 283578"/>
              <a:gd name="connsiteY1" fmla="*/ 0 h 1314137"/>
              <a:gd name="connsiteX0" fmla="*/ 0 w 283578"/>
              <a:gd name="connsiteY0" fmla="*/ 1314137 h 1314137"/>
              <a:gd name="connsiteX1" fmla="*/ 283578 w 283578"/>
              <a:gd name="connsiteY1" fmla="*/ 0 h 1314137"/>
              <a:gd name="connsiteX0" fmla="*/ 0 w 283578"/>
              <a:gd name="connsiteY0" fmla="*/ 1314137 h 1314137"/>
              <a:gd name="connsiteX1" fmla="*/ 283578 w 283578"/>
              <a:gd name="connsiteY1" fmla="*/ 0 h 1314137"/>
              <a:gd name="connsiteX0" fmla="*/ 0 w 256146"/>
              <a:gd name="connsiteY0" fmla="*/ 1257295 h 1257295"/>
              <a:gd name="connsiteX1" fmla="*/ 256146 w 256146"/>
              <a:gd name="connsiteY1" fmla="*/ 0 h 1257295"/>
              <a:gd name="connsiteX0" fmla="*/ 0 w 229952"/>
              <a:gd name="connsiteY0" fmla="*/ 1156142 h 1156142"/>
              <a:gd name="connsiteX1" fmla="*/ 229952 w 229952"/>
              <a:gd name="connsiteY1" fmla="*/ 0 h 1156142"/>
              <a:gd name="connsiteX0" fmla="*/ 0 w 234714"/>
              <a:gd name="connsiteY0" fmla="*/ 1173412 h 1173412"/>
              <a:gd name="connsiteX1" fmla="*/ 234714 w 234714"/>
              <a:gd name="connsiteY1" fmla="*/ 0 h 1173412"/>
              <a:gd name="connsiteX0" fmla="*/ 0 w 234714"/>
              <a:gd name="connsiteY0" fmla="*/ 1173412 h 1173412"/>
              <a:gd name="connsiteX1" fmla="*/ 234714 w 234714"/>
              <a:gd name="connsiteY1" fmla="*/ 0 h 1173412"/>
              <a:gd name="connsiteX0" fmla="*/ 0 w 234714"/>
              <a:gd name="connsiteY0" fmla="*/ 1173412 h 1173412"/>
              <a:gd name="connsiteX1" fmla="*/ 234714 w 234714"/>
              <a:gd name="connsiteY1" fmla="*/ 0 h 1173412"/>
              <a:gd name="connsiteX0" fmla="*/ 0 w 84695"/>
              <a:gd name="connsiteY0" fmla="*/ 440678 h 440678"/>
              <a:gd name="connsiteX1" fmla="*/ 84695 w 84695"/>
              <a:gd name="connsiteY1" fmla="*/ 0 h 440678"/>
              <a:gd name="connsiteX0" fmla="*/ 14468 w 99163"/>
              <a:gd name="connsiteY0" fmla="*/ 440678 h 526337"/>
              <a:gd name="connsiteX1" fmla="*/ 99163 w 99163"/>
              <a:gd name="connsiteY1" fmla="*/ 0 h 526337"/>
              <a:gd name="connsiteX0" fmla="*/ 0 w 84695"/>
              <a:gd name="connsiteY0" fmla="*/ 440678 h 440678"/>
              <a:gd name="connsiteX1" fmla="*/ 84695 w 84695"/>
              <a:gd name="connsiteY1" fmla="*/ 0 h 440678"/>
              <a:gd name="connsiteX0" fmla="*/ 0 w 84695"/>
              <a:gd name="connsiteY0" fmla="*/ 440678 h 440678"/>
              <a:gd name="connsiteX1" fmla="*/ 84695 w 84695"/>
              <a:gd name="connsiteY1" fmla="*/ 0 h 440678"/>
              <a:gd name="connsiteX0" fmla="*/ 0 w 84695"/>
              <a:gd name="connsiteY0" fmla="*/ 440678 h 440678"/>
              <a:gd name="connsiteX1" fmla="*/ 84695 w 84695"/>
              <a:gd name="connsiteY1" fmla="*/ 0 h 440678"/>
              <a:gd name="connsiteX0" fmla="*/ 0 w 77552"/>
              <a:gd name="connsiteY0" fmla="*/ 435744 h 435744"/>
              <a:gd name="connsiteX1" fmla="*/ 77552 w 77552"/>
              <a:gd name="connsiteY1" fmla="*/ 0 h 435744"/>
              <a:gd name="connsiteX0" fmla="*/ 0 w 77552"/>
              <a:gd name="connsiteY0" fmla="*/ 435744 h 435744"/>
              <a:gd name="connsiteX1" fmla="*/ 77552 w 77552"/>
              <a:gd name="connsiteY1" fmla="*/ 0 h 435744"/>
              <a:gd name="connsiteX0" fmla="*/ 0 w 70408"/>
              <a:gd name="connsiteY0" fmla="*/ 438211 h 438211"/>
              <a:gd name="connsiteX1" fmla="*/ 70408 w 70408"/>
              <a:gd name="connsiteY1" fmla="*/ 0 h 438211"/>
              <a:gd name="connsiteX0" fmla="*/ 0 w 70408"/>
              <a:gd name="connsiteY0" fmla="*/ 438211 h 438211"/>
              <a:gd name="connsiteX1" fmla="*/ 70408 w 70408"/>
              <a:gd name="connsiteY1" fmla="*/ 0 h 438211"/>
              <a:gd name="connsiteX0" fmla="*/ 0 w 70408"/>
              <a:gd name="connsiteY0" fmla="*/ 438211 h 438211"/>
              <a:gd name="connsiteX1" fmla="*/ 70408 w 70408"/>
              <a:gd name="connsiteY1" fmla="*/ 0 h 438211"/>
              <a:gd name="connsiteX0" fmla="*/ 0 w 70408"/>
              <a:gd name="connsiteY0" fmla="*/ 438211 h 438211"/>
              <a:gd name="connsiteX1" fmla="*/ 70408 w 70408"/>
              <a:gd name="connsiteY1" fmla="*/ 0 h 438211"/>
              <a:gd name="connsiteX0" fmla="*/ 0 w 60883"/>
              <a:gd name="connsiteY0" fmla="*/ 435744 h 435744"/>
              <a:gd name="connsiteX1" fmla="*/ 60883 w 60883"/>
              <a:gd name="connsiteY1" fmla="*/ 0 h 435744"/>
              <a:gd name="connsiteX0" fmla="*/ 0 w 187578"/>
              <a:gd name="connsiteY0" fmla="*/ 449178 h 449178"/>
              <a:gd name="connsiteX1" fmla="*/ 187578 w 187578"/>
              <a:gd name="connsiteY1" fmla="*/ 0 h 449178"/>
              <a:gd name="connsiteX0" fmla="*/ 0 w 187578"/>
              <a:gd name="connsiteY0" fmla="*/ 516344 h 516344"/>
              <a:gd name="connsiteX1" fmla="*/ 187578 w 187578"/>
              <a:gd name="connsiteY1" fmla="*/ 0 h 516344"/>
              <a:gd name="connsiteX0" fmla="*/ 0 w 187578"/>
              <a:gd name="connsiteY0" fmla="*/ 516344 h 516344"/>
              <a:gd name="connsiteX1" fmla="*/ 187578 w 187578"/>
              <a:gd name="connsiteY1" fmla="*/ 0 h 516344"/>
              <a:gd name="connsiteX0" fmla="*/ 0 w 187578"/>
              <a:gd name="connsiteY0" fmla="*/ 516344 h 516344"/>
              <a:gd name="connsiteX1" fmla="*/ 187578 w 187578"/>
              <a:gd name="connsiteY1" fmla="*/ 0 h 516344"/>
              <a:gd name="connsiteX0" fmla="*/ 0 w 159424"/>
              <a:gd name="connsiteY0" fmla="*/ 516344 h 516344"/>
              <a:gd name="connsiteX1" fmla="*/ 159424 w 159424"/>
              <a:gd name="connsiteY1" fmla="*/ 0 h 516344"/>
              <a:gd name="connsiteX0" fmla="*/ 0 w 159424"/>
              <a:gd name="connsiteY0" fmla="*/ 516344 h 516344"/>
              <a:gd name="connsiteX1" fmla="*/ 159424 w 159424"/>
              <a:gd name="connsiteY1" fmla="*/ 0 h 516344"/>
              <a:gd name="connsiteX0" fmla="*/ 0 w 159424"/>
              <a:gd name="connsiteY0" fmla="*/ 516344 h 516344"/>
              <a:gd name="connsiteX1" fmla="*/ 159424 w 159424"/>
              <a:gd name="connsiteY1" fmla="*/ 0 h 516344"/>
              <a:gd name="connsiteX0" fmla="*/ 0 w 159424"/>
              <a:gd name="connsiteY0" fmla="*/ 516344 h 516344"/>
              <a:gd name="connsiteX1" fmla="*/ 159424 w 159424"/>
              <a:gd name="connsiteY1" fmla="*/ 0 h 516344"/>
              <a:gd name="connsiteX0" fmla="*/ 0 w 124230"/>
              <a:gd name="connsiteY0" fmla="*/ 516344 h 516344"/>
              <a:gd name="connsiteX1" fmla="*/ 124230 w 124230"/>
              <a:gd name="connsiteY1" fmla="*/ 0 h 516344"/>
              <a:gd name="connsiteX0" fmla="*/ 0 w 166463"/>
              <a:gd name="connsiteY0" fmla="*/ 516344 h 516344"/>
              <a:gd name="connsiteX1" fmla="*/ 166463 w 166463"/>
              <a:gd name="connsiteY1" fmla="*/ 0 h 516344"/>
              <a:gd name="connsiteX0" fmla="*/ 0 w 166463"/>
              <a:gd name="connsiteY0" fmla="*/ 516344 h 516344"/>
              <a:gd name="connsiteX1" fmla="*/ 166463 w 166463"/>
              <a:gd name="connsiteY1" fmla="*/ 0 h 516344"/>
              <a:gd name="connsiteX0" fmla="*/ 0 w 182318"/>
              <a:gd name="connsiteY0" fmla="*/ 520379 h 520379"/>
              <a:gd name="connsiteX1" fmla="*/ 182318 w 182318"/>
              <a:gd name="connsiteY1" fmla="*/ 0 h 520379"/>
              <a:gd name="connsiteX0" fmla="*/ 0 w 182318"/>
              <a:gd name="connsiteY0" fmla="*/ 520379 h 520379"/>
              <a:gd name="connsiteX1" fmla="*/ 182318 w 182318"/>
              <a:gd name="connsiteY1" fmla="*/ 0 h 520379"/>
            </a:gdLst>
            <a:ahLst/>
            <a:cxnLst>
              <a:cxn ang="0">
                <a:pos x="connsiteX0" y="connsiteY0"/>
              </a:cxn>
              <a:cxn ang="0">
                <a:pos x="connsiteX1" y="connsiteY1"/>
              </a:cxn>
            </a:cxnLst>
            <a:rect l="l" t="t" r="r" b="b"/>
            <a:pathLst>
              <a:path w="182318" h="520379">
                <a:moveTo>
                  <a:pt x="0" y="520379"/>
                </a:moveTo>
                <a:cubicBezTo>
                  <a:pt x="61364" y="366452"/>
                  <a:pt x="128075" y="201277"/>
                  <a:pt x="182318" y="0"/>
                </a:cubicBezTo>
              </a:path>
            </a:pathLst>
          </a:custGeom>
          <a:ln w="25400" cap="rnd">
            <a:solidFill>
              <a:schemeClr val="bg2"/>
            </a:solidFill>
            <a:prstDash val="sysDash"/>
            <a:tailEnd type="none" w="med" len="lg"/>
          </a:ln>
          <a:effectLst>
            <a:glow rad="76200">
              <a:schemeClr val="bg1">
                <a:alpha val="88000"/>
              </a:schemeClr>
            </a:glow>
          </a:effectLst>
        </p:spPr>
        <p:txBody>
          <a:bodyPr rtlCol="0" anchor="ctr"/>
          <a:lstStyle/>
          <a:p>
            <a:pPr algn="ctr" defTabSz="844083" eaLnBrk="1" hangingPunct="1">
              <a:spcAft>
                <a:spcPct val="0"/>
              </a:spcAft>
              <a:defRPr/>
            </a:pPr>
            <a:endParaRPr lang="de-DE" sz="1038" dirty="0">
              <a:solidFill>
                <a:srgbClr val="E60000"/>
              </a:solidFill>
              <a:latin typeface="Arial"/>
              <a:cs typeface="Arial" charset="0"/>
            </a:endParaRPr>
          </a:p>
        </p:txBody>
      </p:sp>
      <p:sp>
        <p:nvSpPr>
          <p:cNvPr id="47" name="Explosion 1 3"/>
          <p:cNvSpPr/>
          <p:nvPr/>
        </p:nvSpPr>
        <p:spPr bwMode="auto">
          <a:xfrm rot="12616230">
            <a:off x="4210215" y="3381456"/>
            <a:ext cx="146137" cy="141435"/>
          </a:xfrm>
          <a:custGeom>
            <a:avLst/>
            <a:gdLst>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8145 w 21600"/>
              <a:gd name="connsiteY9" fmla="*/ 18095 h 21600"/>
              <a:gd name="connsiteX10" fmla="*/ 14020 w 21600"/>
              <a:gd name="connsiteY10" fmla="*/ 14457 h 21600"/>
              <a:gd name="connsiteX11" fmla="*/ 13247 w 21600"/>
              <a:gd name="connsiteY11" fmla="*/ 19737 h 21600"/>
              <a:gd name="connsiteX12" fmla="*/ 10532 w 21600"/>
              <a:gd name="connsiteY12" fmla="*/ 14935 h 21600"/>
              <a:gd name="connsiteX13" fmla="*/ 8485 w 21600"/>
              <a:gd name="connsiteY13" fmla="*/ 21600 h 21600"/>
              <a:gd name="connsiteX14" fmla="*/ 7715 w 21600"/>
              <a:gd name="connsiteY14" fmla="*/ 15627 h 21600"/>
              <a:gd name="connsiteX15" fmla="*/ 4762 w 21600"/>
              <a:gd name="connsiteY15" fmla="*/ 17617 h 21600"/>
              <a:gd name="connsiteX16" fmla="*/ 5667 w 21600"/>
              <a:gd name="connsiteY16" fmla="*/ 13937 h 21600"/>
              <a:gd name="connsiteX17" fmla="*/ 135 w 21600"/>
              <a:gd name="connsiteY17" fmla="*/ 14587 h 21600"/>
              <a:gd name="connsiteX18" fmla="*/ 3722 w 21600"/>
              <a:gd name="connsiteY18" fmla="*/ 11775 h 21600"/>
              <a:gd name="connsiteX19" fmla="*/ 0 w 21600"/>
              <a:gd name="connsiteY19" fmla="*/ 8615 h 21600"/>
              <a:gd name="connsiteX20" fmla="*/ 4627 w 21600"/>
              <a:gd name="connsiteY20" fmla="*/ 7617 h 21600"/>
              <a:gd name="connsiteX21" fmla="*/ 370 w 21600"/>
              <a:gd name="connsiteY21" fmla="*/ 2295 h 21600"/>
              <a:gd name="connsiteX22" fmla="*/ 7312 w 21600"/>
              <a:gd name="connsiteY22" fmla="*/ 6320 h 21600"/>
              <a:gd name="connsiteX23" fmla="*/ 8352 w 21600"/>
              <a:gd name="connsiteY23" fmla="*/ 2295 h 21600"/>
              <a:gd name="connsiteX24" fmla="*/ 10800 w 21600"/>
              <a:gd name="connsiteY24"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8145 w 21600"/>
              <a:gd name="connsiteY9" fmla="*/ 18095 h 21600"/>
              <a:gd name="connsiteX10" fmla="*/ 14020 w 21600"/>
              <a:gd name="connsiteY10" fmla="*/ 14457 h 21600"/>
              <a:gd name="connsiteX11" fmla="*/ 10532 w 21600"/>
              <a:gd name="connsiteY11" fmla="*/ 14935 h 21600"/>
              <a:gd name="connsiteX12" fmla="*/ 8485 w 21600"/>
              <a:gd name="connsiteY12" fmla="*/ 21600 h 21600"/>
              <a:gd name="connsiteX13" fmla="*/ 7715 w 21600"/>
              <a:gd name="connsiteY13" fmla="*/ 15627 h 21600"/>
              <a:gd name="connsiteX14" fmla="*/ 4762 w 21600"/>
              <a:gd name="connsiteY14" fmla="*/ 17617 h 21600"/>
              <a:gd name="connsiteX15" fmla="*/ 5667 w 21600"/>
              <a:gd name="connsiteY15" fmla="*/ 13937 h 21600"/>
              <a:gd name="connsiteX16" fmla="*/ 135 w 21600"/>
              <a:gd name="connsiteY16" fmla="*/ 14587 h 21600"/>
              <a:gd name="connsiteX17" fmla="*/ 3722 w 21600"/>
              <a:gd name="connsiteY17" fmla="*/ 11775 h 21600"/>
              <a:gd name="connsiteX18" fmla="*/ 0 w 21600"/>
              <a:gd name="connsiteY18" fmla="*/ 8615 h 21600"/>
              <a:gd name="connsiteX19" fmla="*/ 4627 w 21600"/>
              <a:gd name="connsiteY19" fmla="*/ 7617 h 21600"/>
              <a:gd name="connsiteX20" fmla="*/ 370 w 21600"/>
              <a:gd name="connsiteY20" fmla="*/ 2295 h 21600"/>
              <a:gd name="connsiteX21" fmla="*/ 7312 w 21600"/>
              <a:gd name="connsiteY21" fmla="*/ 6320 h 21600"/>
              <a:gd name="connsiteX22" fmla="*/ 8352 w 21600"/>
              <a:gd name="connsiteY22" fmla="*/ 2295 h 21600"/>
              <a:gd name="connsiteX23" fmla="*/ 10800 w 21600"/>
              <a:gd name="connsiteY23"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8145 w 21600"/>
              <a:gd name="connsiteY9" fmla="*/ 18095 h 21600"/>
              <a:gd name="connsiteX10" fmla="*/ 10532 w 21600"/>
              <a:gd name="connsiteY10" fmla="*/ 149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9669 w 21600"/>
              <a:gd name="connsiteY9" fmla="*/ 19605 h 21600"/>
              <a:gd name="connsiteX10" fmla="*/ 10532 w 21600"/>
              <a:gd name="connsiteY10" fmla="*/ 149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9669 w 21600"/>
              <a:gd name="connsiteY9" fmla="*/ 19605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5210 w 21600"/>
              <a:gd name="connsiteY8" fmla="*/ 12884 h 21600"/>
              <a:gd name="connsiteX9" fmla="*/ 19669 w 21600"/>
              <a:gd name="connsiteY9" fmla="*/ 19605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5210 w 21600"/>
              <a:gd name="connsiteY8" fmla="*/ 12884 h 21600"/>
              <a:gd name="connsiteX9" fmla="*/ 19188 w 21600"/>
              <a:gd name="connsiteY9" fmla="*/ 18513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5210 w 21600"/>
              <a:gd name="connsiteY8" fmla="*/ 12884 h 21600"/>
              <a:gd name="connsiteX9" fmla="*/ 17478 w 21600"/>
              <a:gd name="connsiteY9" fmla="*/ 17771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4247"/>
              <a:gd name="connsiteY0" fmla="*/ 5800 h 21600"/>
              <a:gd name="connsiteX1" fmla="*/ 14522 w 24247"/>
              <a:gd name="connsiteY1" fmla="*/ 0 h 21600"/>
              <a:gd name="connsiteX2" fmla="*/ 14155 w 24247"/>
              <a:gd name="connsiteY2" fmla="*/ 5325 h 21600"/>
              <a:gd name="connsiteX3" fmla="*/ 18380 w 24247"/>
              <a:gd name="connsiteY3" fmla="*/ 4457 h 21600"/>
              <a:gd name="connsiteX4" fmla="*/ 16702 w 24247"/>
              <a:gd name="connsiteY4" fmla="*/ 7315 h 21600"/>
              <a:gd name="connsiteX5" fmla="*/ 21097 w 24247"/>
              <a:gd name="connsiteY5" fmla="*/ 8137 h 21600"/>
              <a:gd name="connsiteX6" fmla="*/ 17607 w 24247"/>
              <a:gd name="connsiteY6" fmla="*/ 10475 h 21600"/>
              <a:gd name="connsiteX7" fmla="*/ 24247 w 24247"/>
              <a:gd name="connsiteY7" fmla="*/ 13862 h 21600"/>
              <a:gd name="connsiteX8" fmla="*/ 15210 w 24247"/>
              <a:gd name="connsiteY8" fmla="*/ 12884 h 21600"/>
              <a:gd name="connsiteX9" fmla="*/ 17478 w 24247"/>
              <a:gd name="connsiteY9" fmla="*/ 17771 h 21600"/>
              <a:gd name="connsiteX10" fmla="*/ 10754 w 24247"/>
              <a:gd name="connsiteY10" fmla="*/ 14635 h 21600"/>
              <a:gd name="connsiteX11" fmla="*/ 8485 w 24247"/>
              <a:gd name="connsiteY11" fmla="*/ 21600 h 21600"/>
              <a:gd name="connsiteX12" fmla="*/ 7715 w 24247"/>
              <a:gd name="connsiteY12" fmla="*/ 15627 h 21600"/>
              <a:gd name="connsiteX13" fmla="*/ 4762 w 24247"/>
              <a:gd name="connsiteY13" fmla="*/ 17617 h 21600"/>
              <a:gd name="connsiteX14" fmla="*/ 5667 w 24247"/>
              <a:gd name="connsiteY14" fmla="*/ 13937 h 21600"/>
              <a:gd name="connsiteX15" fmla="*/ 135 w 24247"/>
              <a:gd name="connsiteY15" fmla="*/ 14587 h 21600"/>
              <a:gd name="connsiteX16" fmla="*/ 3722 w 24247"/>
              <a:gd name="connsiteY16" fmla="*/ 11775 h 21600"/>
              <a:gd name="connsiteX17" fmla="*/ 0 w 24247"/>
              <a:gd name="connsiteY17" fmla="*/ 8615 h 21600"/>
              <a:gd name="connsiteX18" fmla="*/ 4627 w 24247"/>
              <a:gd name="connsiteY18" fmla="*/ 7617 h 21600"/>
              <a:gd name="connsiteX19" fmla="*/ 370 w 24247"/>
              <a:gd name="connsiteY19" fmla="*/ 2295 h 21600"/>
              <a:gd name="connsiteX20" fmla="*/ 7312 w 24247"/>
              <a:gd name="connsiteY20" fmla="*/ 6320 h 21600"/>
              <a:gd name="connsiteX21" fmla="*/ 8352 w 24247"/>
              <a:gd name="connsiteY21" fmla="*/ 2295 h 21600"/>
              <a:gd name="connsiteX22" fmla="*/ 10800 w 24247"/>
              <a:gd name="connsiteY22" fmla="*/ 5800 h 21600"/>
              <a:gd name="connsiteX0" fmla="*/ 10800 w 24247"/>
              <a:gd name="connsiteY0" fmla="*/ 5800 h 21600"/>
              <a:gd name="connsiteX1" fmla="*/ 14522 w 24247"/>
              <a:gd name="connsiteY1" fmla="*/ 0 h 21600"/>
              <a:gd name="connsiteX2" fmla="*/ 14155 w 24247"/>
              <a:gd name="connsiteY2" fmla="*/ 5325 h 21600"/>
              <a:gd name="connsiteX3" fmla="*/ 18380 w 24247"/>
              <a:gd name="connsiteY3" fmla="*/ 4457 h 21600"/>
              <a:gd name="connsiteX4" fmla="*/ 16702 w 24247"/>
              <a:gd name="connsiteY4" fmla="*/ 7315 h 21600"/>
              <a:gd name="connsiteX5" fmla="*/ 20651 w 24247"/>
              <a:gd name="connsiteY5" fmla="*/ 7513 h 21600"/>
              <a:gd name="connsiteX6" fmla="*/ 17607 w 24247"/>
              <a:gd name="connsiteY6" fmla="*/ 10475 h 21600"/>
              <a:gd name="connsiteX7" fmla="*/ 24247 w 24247"/>
              <a:gd name="connsiteY7" fmla="*/ 13862 h 21600"/>
              <a:gd name="connsiteX8" fmla="*/ 15210 w 24247"/>
              <a:gd name="connsiteY8" fmla="*/ 12884 h 21600"/>
              <a:gd name="connsiteX9" fmla="*/ 17478 w 24247"/>
              <a:gd name="connsiteY9" fmla="*/ 17771 h 21600"/>
              <a:gd name="connsiteX10" fmla="*/ 10754 w 24247"/>
              <a:gd name="connsiteY10" fmla="*/ 14635 h 21600"/>
              <a:gd name="connsiteX11" fmla="*/ 8485 w 24247"/>
              <a:gd name="connsiteY11" fmla="*/ 21600 h 21600"/>
              <a:gd name="connsiteX12" fmla="*/ 7715 w 24247"/>
              <a:gd name="connsiteY12" fmla="*/ 15627 h 21600"/>
              <a:gd name="connsiteX13" fmla="*/ 4762 w 24247"/>
              <a:gd name="connsiteY13" fmla="*/ 17617 h 21600"/>
              <a:gd name="connsiteX14" fmla="*/ 5667 w 24247"/>
              <a:gd name="connsiteY14" fmla="*/ 13937 h 21600"/>
              <a:gd name="connsiteX15" fmla="*/ 135 w 24247"/>
              <a:gd name="connsiteY15" fmla="*/ 14587 h 21600"/>
              <a:gd name="connsiteX16" fmla="*/ 3722 w 24247"/>
              <a:gd name="connsiteY16" fmla="*/ 11775 h 21600"/>
              <a:gd name="connsiteX17" fmla="*/ 0 w 24247"/>
              <a:gd name="connsiteY17" fmla="*/ 8615 h 21600"/>
              <a:gd name="connsiteX18" fmla="*/ 4627 w 24247"/>
              <a:gd name="connsiteY18" fmla="*/ 7617 h 21600"/>
              <a:gd name="connsiteX19" fmla="*/ 370 w 24247"/>
              <a:gd name="connsiteY19" fmla="*/ 2295 h 21600"/>
              <a:gd name="connsiteX20" fmla="*/ 7312 w 24247"/>
              <a:gd name="connsiteY20" fmla="*/ 6320 h 21600"/>
              <a:gd name="connsiteX21" fmla="*/ 8352 w 24247"/>
              <a:gd name="connsiteY21" fmla="*/ 2295 h 21600"/>
              <a:gd name="connsiteX22" fmla="*/ 10800 w 24247"/>
              <a:gd name="connsiteY22" fmla="*/ 5800 h 21600"/>
              <a:gd name="connsiteX0" fmla="*/ 10800 w 24247"/>
              <a:gd name="connsiteY0" fmla="*/ 5800 h 21600"/>
              <a:gd name="connsiteX1" fmla="*/ 14522 w 24247"/>
              <a:gd name="connsiteY1" fmla="*/ 0 h 21600"/>
              <a:gd name="connsiteX2" fmla="*/ 14155 w 24247"/>
              <a:gd name="connsiteY2" fmla="*/ 5325 h 21600"/>
              <a:gd name="connsiteX3" fmla="*/ 16702 w 24247"/>
              <a:gd name="connsiteY3" fmla="*/ 7315 h 21600"/>
              <a:gd name="connsiteX4" fmla="*/ 20651 w 24247"/>
              <a:gd name="connsiteY4" fmla="*/ 7513 h 21600"/>
              <a:gd name="connsiteX5" fmla="*/ 17607 w 24247"/>
              <a:gd name="connsiteY5" fmla="*/ 10475 h 21600"/>
              <a:gd name="connsiteX6" fmla="*/ 24247 w 24247"/>
              <a:gd name="connsiteY6" fmla="*/ 13862 h 21600"/>
              <a:gd name="connsiteX7" fmla="*/ 15210 w 24247"/>
              <a:gd name="connsiteY7" fmla="*/ 12884 h 21600"/>
              <a:gd name="connsiteX8" fmla="*/ 17478 w 24247"/>
              <a:gd name="connsiteY8" fmla="*/ 17771 h 21600"/>
              <a:gd name="connsiteX9" fmla="*/ 10754 w 24247"/>
              <a:gd name="connsiteY9" fmla="*/ 14635 h 21600"/>
              <a:gd name="connsiteX10" fmla="*/ 8485 w 24247"/>
              <a:gd name="connsiteY10" fmla="*/ 21600 h 21600"/>
              <a:gd name="connsiteX11" fmla="*/ 7715 w 24247"/>
              <a:gd name="connsiteY11" fmla="*/ 15627 h 21600"/>
              <a:gd name="connsiteX12" fmla="*/ 4762 w 24247"/>
              <a:gd name="connsiteY12" fmla="*/ 17617 h 21600"/>
              <a:gd name="connsiteX13" fmla="*/ 5667 w 24247"/>
              <a:gd name="connsiteY13" fmla="*/ 13937 h 21600"/>
              <a:gd name="connsiteX14" fmla="*/ 135 w 24247"/>
              <a:gd name="connsiteY14" fmla="*/ 14587 h 21600"/>
              <a:gd name="connsiteX15" fmla="*/ 3722 w 24247"/>
              <a:gd name="connsiteY15" fmla="*/ 11775 h 21600"/>
              <a:gd name="connsiteX16" fmla="*/ 0 w 24247"/>
              <a:gd name="connsiteY16" fmla="*/ 8615 h 21600"/>
              <a:gd name="connsiteX17" fmla="*/ 4627 w 24247"/>
              <a:gd name="connsiteY17" fmla="*/ 7617 h 21600"/>
              <a:gd name="connsiteX18" fmla="*/ 370 w 24247"/>
              <a:gd name="connsiteY18" fmla="*/ 2295 h 21600"/>
              <a:gd name="connsiteX19" fmla="*/ 7312 w 24247"/>
              <a:gd name="connsiteY19" fmla="*/ 6320 h 21600"/>
              <a:gd name="connsiteX20" fmla="*/ 8352 w 24247"/>
              <a:gd name="connsiteY20" fmla="*/ 2295 h 21600"/>
              <a:gd name="connsiteX21" fmla="*/ 10800 w 24247"/>
              <a:gd name="connsiteY21" fmla="*/ 5800 h 21600"/>
              <a:gd name="connsiteX0" fmla="*/ 10800 w 24247"/>
              <a:gd name="connsiteY0" fmla="*/ 5800 h 21600"/>
              <a:gd name="connsiteX1" fmla="*/ 14522 w 24247"/>
              <a:gd name="connsiteY1" fmla="*/ 0 h 21600"/>
              <a:gd name="connsiteX2" fmla="*/ 16702 w 24247"/>
              <a:gd name="connsiteY2" fmla="*/ 7315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5534 w 24247"/>
              <a:gd name="connsiteY4" fmla="*/ 10202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19316 w 24247"/>
              <a:gd name="connsiteY3" fmla="*/ 7275 h 21600"/>
              <a:gd name="connsiteX4" fmla="*/ 15534 w 24247"/>
              <a:gd name="connsiteY4" fmla="*/ 10202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5667 w 24247"/>
              <a:gd name="connsiteY11" fmla="*/ 13937 h 21600"/>
              <a:gd name="connsiteX12" fmla="*/ 135 w 24247"/>
              <a:gd name="connsiteY12" fmla="*/ 14587 h 21600"/>
              <a:gd name="connsiteX13" fmla="*/ 3722 w 24247"/>
              <a:gd name="connsiteY13" fmla="*/ 11775 h 21600"/>
              <a:gd name="connsiteX14" fmla="*/ 0 w 24247"/>
              <a:gd name="connsiteY14" fmla="*/ 8615 h 21600"/>
              <a:gd name="connsiteX15" fmla="*/ 4627 w 24247"/>
              <a:gd name="connsiteY15" fmla="*/ 7617 h 21600"/>
              <a:gd name="connsiteX16" fmla="*/ 370 w 24247"/>
              <a:gd name="connsiteY16" fmla="*/ 2295 h 21600"/>
              <a:gd name="connsiteX17" fmla="*/ 7312 w 24247"/>
              <a:gd name="connsiteY17" fmla="*/ 6320 h 21600"/>
              <a:gd name="connsiteX18" fmla="*/ 8352 w 24247"/>
              <a:gd name="connsiteY18" fmla="*/ 2295 h 21600"/>
              <a:gd name="connsiteX19" fmla="*/ 10800 w 24247"/>
              <a:gd name="connsiteY19"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5667 w 24247"/>
              <a:gd name="connsiteY10" fmla="*/ 13937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5667 w 24247"/>
              <a:gd name="connsiteY10" fmla="*/ 13937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5667 w 24247"/>
              <a:gd name="connsiteY10" fmla="*/ 13937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424 w 24247"/>
              <a:gd name="connsiteY11" fmla="*/ 15425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424 w 24247"/>
              <a:gd name="connsiteY11" fmla="*/ 15425 h 21600"/>
              <a:gd name="connsiteX12" fmla="*/ 5290 w 24247"/>
              <a:gd name="connsiteY12" fmla="*/ 11461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424 w 24247"/>
              <a:gd name="connsiteY11" fmla="*/ 15425 h 21600"/>
              <a:gd name="connsiteX12" fmla="*/ 5524 w 24247"/>
              <a:gd name="connsiteY12" fmla="*/ 11317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371 w 24094"/>
              <a:gd name="connsiteY12" fmla="*/ 11317 h 21600"/>
              <a:gd name="connsiteX13" fmla="*/ 0 w 24094"/>
              <a:gd name="connsiteY13" fmla="*/ 9419 h 21600"/>
              <a:gd name="connsiteX14" fmla="*/ 4474 w 24094"/>
              <a:gd name="connsiteY14" fmla="*/ 7617 h 21600"/>
              <a:gd name="connsiteX15" fmla="*/ 217 w 24094"/>
              <a:gd name="connsiteY15" fmla="*/ 2295 h 21600"/>
              <a:gd name="connsiteX16" fmla="*/ 7159 w 24094"/>
              <a:gd name="connsiteY16" fmla="*/ 6320 h 21600"/>
              <a:gd name="connsiteX17" fmla="*/ 8199 w 24094"/>
              <a:gd name="connsiteY17" fmla="*/ 2295 h 21600"/>
              <a:gd name="connsiteX18" fmla="*/ 10647 w 24094"/>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277 w 24094"/>
              <a:gd name="connsiteY12" fmla="*/ 10885 h 21600"/>
              <a:gd name="connsiteX13" fmla="*/ 0 w 24094"/>
              <a:gd name="connsiteY13" fmla="*/ 9419 h 21600"/>
              <a:gd name="connsiteX14" fmla="*/ 4474 w 24094"/>
              <a:gd name="connsiteY14" fmla="*/ 7617 h 21600"/>
              <a:gd name="connsiteX15" fmla="*/ 217 w 24094"/>
              <a:gd name="connsiteY15" fmla="*/ 2295 h 21600"/>
              <a:gd name="connsiteX16" fmla="*/ 7159 w 24094"/>
              <a:gd name="connsiteY16" fmla="*/ 6320 h 21600"/>
              <a:gd name="connsiteX17" fmla="*/ 8199 w 24094"/>
              <a:gd name="connsiteY17" fmla="*/ 2295 h 21600"/>
              <a:gd name="connsiteX18" fmla="*/ 10647 w 24094"/>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277 w 24094"/>
              <a:gd name="connsiteY12" fmla="*/ 10885 h 21600"/>
              <a:gd name="connsiteX13" fmla="*/ 0 w 24094"/>
              <a:gd name="connsiteY13" fmla="*/ 9419 h 21600"/>
              <a:gd name="connsiteX14" fmla="*/ 5259 w 24094"/>
              <a:gd name="connsiteY14" fmla="*/ 7868 h 21600"/>
              <a:gd name="connsiteX15" fmla="*/ 217 w 24094"/>
              <a:gd name="connsiteY15" fmla="*/ 2295 h 21600"/>
              <a:gd name="connsiteX16" fmla="*/ 7159 w 24094"/>
              <a:gd name="connsiteY16" fmla="*/ 6320 h 21600"/>
              <a:gd name="connsiteX17" fmla="*/ 8199 w 24094"/>
              <a:gd name="connsiteY17" fmla="*/ 2295 h 21600"/>
              <a:gd name="connsiteX18" fmla="*/ 10647 w 24094"/>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277 w 24094"/>
              <a:gd name="connsiteY12" fmla="*/ 10885 h 21600"/>
              <a:gd name="connsiteX13" fmla="*/ 0 w 24094"/>
              <a:gd name="connsiteY13" fmla="*/ 9419 h 21600"/>
              <a:gd name="connsiteX14" fmla="*/ 5259 w 24094"/>
              <a:gd name="connsiteY14" fmla="*/ 7868 h 21600"/>
              <a:gd name="connsiteX15" fmla="*/ 217 w 24094"/>
              <a:gd name="connsiteY15" fmla="*/ 2295 h 21600"/>
              <a:gd name="connsiteX16" fmla="*/ 7428 w 24094"/>
              <a:gd name="connsiteY16" fmla="*/ 5827 h 21600"/>
              <a:gd name="connsiteX17" fmla="*/ 8199 w 24094"/>
              <a:gd name="connsiteY17" fmla="*/ 2295 h 21600"/>
              <a:gd name="connsiteX18" fmla="*/ 10647 w 24094"/>
              <a:gd name="connsiteY18" fmla="*/ 5800 h 21600"/>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601 w 24094"/>
              <a:gd name="connsiteY8" fmla="*/ 14953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601 w 24094"/>
              <a:gd name="connsiteY8" fmla="*/ 14953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601 w 24094"/>
              <a:gd name="connsiteY8" fmla="*/ 14953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284 w 24094"/>
              <a:gd name="connsiteY8" fmla="*/ 12901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287 w 24094"/>
              <a:gd name="connsiteY8" fmla="*/ 13456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415 w 24094"/>
              <a:gd name="connsiteY8" fmla="*/ 13844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8332 w 24094"/>
              <a:gd name="connsiteY8" fmla="*/ 21918 h 21918"/>
              <a:gd name="connsiteX9" fmla="*/ 6953 w 24094"/>
              <a:gd name="connsiteY9" fmla="*/ 13857 h 21918"/>
              <a:gd name="connsiteX10" fmla="*/ 1271 w 24094"/>
              <a:gd name="connsiteY10" fmla="*/ 15743 h 21918"/>
              <a:gd name="connsiteX11" fmla="*/ 5277 w 24094"/>
              <a:gd name="connsiteY11" fmla="*/ 11203 h 21918"/>
              <a:gd name="connsiteX12" fmla="*/ 0 w 24094"/>
              <a:gd name="connsiteY12" fmla="*/ 9737 h 21918"/>
              <a:gd name="connsiteX13" fmla="*/ 5259 w 24094"/>
              <a:gd name="connsiteY13" fmla="*/ 8186 h 21918"/>
              <a:gd name="connsiteX14" fmla="*/ 217 w 24094"/>
              <a:gd name="connsiteY14" fmla="*/ 2613 h 21918"/>
              <a:gd name="connsiteX15" fmla="*/ 7428 w 24094"/>
              <a:gd name="connsiteY15" fmla="*/ 6145 h 21918"/>
              <a:gd name="connsiteX16" fmla="*/ 8199 w 24094"/>
              <a:gd name="connsiteY16" fmla="*/ 2613 h 21918"/>
              <a:gd name="connsiteX17" fmla="*/ 10647 w 24094"/>
              <a:gd name="connsiteY17"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8332 w 24094"/>
              <a:gd name="connsiteY7" fmla="*/ 21918 h 21918"/>
              <a:gd name="connsiteX8" fmla="*/ 6953 w 24094"/>
              <a:gd name="connsiteY8" fmla="*/ 13857 h 21918"/>
              <a:gd name="connsiteX9" fmla="*/ 1271 w 24094"/>
              <a:gd name="connsiteY9" fmla="*/ 15743 h 21918"/>
              <a:gd name="connsiteX10" fmla="*/ 5277 w 24094"/>
              <a:gd name="connsiteY10" fmla="*/ 11203 h 21918"/>
              <a:gd name="connsiteX11" fmla="*/ 0 w 24094"/>
              <a:gd name="connsiteY11" fmla="*/ 9737 h 21918"/>
              <a:gd name="connsiteX12" fmla="*/ 5259 w 24094"/>
              <a:gd name="connsiteY12" fmla="*/ 8186 h 21918"/>
              <a:gd name="connsiteX13" fmla="*/ 217 w 24094"/>
              <a:gd name="connsiteY13" fmla="*/ 2613 h 21918"/>
              <a:gd name="connsiteX14" fmla="*/ 7428 w 24094"/>
              <a:gd name="connsiteY14" fmla="*/ 6145 h 21918"/>
              <a:gd name="connsiteX15" fmla="*/ 8199 w 24094"/>
              <a:gd name="connsiteY15" fmla="*/ 2613 h 21918"/>
              <a:gd name="connsiteX16" fmla="*/ 10647 w 24094"/>
              <a:gd name="connsiteY16"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1953 w 24094"/>
              <a:gd name="connsiteY6" fmla="*/ 13508 h 21918"/>
              <a:gd name="connsiteX7" fmla="*/ 8332 w 24094"/>
              <a:gd name="connsiteY7" fmla="*/ 21918 h 21918"/>
              <a:gd name="connsiteX8" fmla="*/ 6953 w 24094"/>
              <a:gd name="connsiteY8" fmla="*/ 13857 h 21918"/>
              <a:gd name="connsiteX9" fmla="*/ 1271 w 24094"/>
              <a:gd name="connsiteY9" fmla="*/ 15743 h 21918"/>
              <a:gd name="connsiteX10" fmla="*/ 5277 w 24094"/>
              <a:gd name="connsiteY10" fmla="*/ 11203 h 21918"/>
              <a:gd name="connsiteX11" fmla="*/ 0 w 24094"/>
              <a:gd name="connsiteY11" fmla="*/ 9737 h 21918"/>
              <a:gd name="connsiteX12" fmla="*/ 5259 w 24094"/>
              <a:gd name="connsiteY12" fmla="*/ 8186 h 21918"/>
              <a:gd name="connsiteX13" fmla="*/ 217 w 24094"/>
              <a:gd name="connsiteY13" fmla="*/ 2613 h 21918"/>
              <a:gd name="connsiteX14" fmla="*/ 7428 w 24094"/>
              <a:gd name="connsiteY14" fmla="*/ 6145 h 21918"/>
              <a:gd name="connsiteX15" fmla="*/ 8199 w 24094"/>
              <a:gd name="connsiteY15" fmla="*/ 2613 h 21918"/>
              <a:gd name="connsiteX16" fmla="*/ 10647 w 24094"/>
              <a:gd name="connsiteY16" fmla="*/ 6118 h 21918"/>
              <a:gd name="connsiteX0" fmla="*/ 10647 w 22088"/>
              <a:gd name="connsiteY0" fmla="*/ 6118 h 21918"/>
              <a:gd name="connsiteX1" fmla="*/ 15107 w 22088"/>
              <a:gd name="connsiteY1" fmla="*/ 0 h 21918"/>
              <a:gd name="connsiteX2" fmla="*/ 14101 w 22088"/>
              <a:gd name="connsiteY2" fmla="*/ 7264 h 21918"/>
              <a:gd name="connsiteX3" fmla="*/ 19163 w 22088"/>
              <a:gd name="connsiteY3" fmla="*/ 7593 h 21918"/>
              <a:gd name="connsiteX4" fmla="*/ 16012 w 22088"/>
              <a:gd name="connsiteY4" fmla="*/ 9967 h 21918"/>
              <a:gd name="connsiteX5" fmla="*/ 22088 w 22088"/>
              <a:gd name="connsiteY5" fmla="*/ 16415 h 21918"/>
              <a:gd name="connsiteX6" fmla="*/ 11953 w 22088"/>
              <a:gd name="connsiteY6" fmla="*/ 13508 h 21918"/>
              <a:gd name="connsiteX7" fmla="*/ 8332 w 22088"/>
              <a:gd name="connsiteY7" fmla="*/ 21918 h 21918"/>
              <a:gd name="connsiteX8" fmla="*/ 6953 w 22088"/>
              <a:gd name="connsiteY8" fmla="*/ 13857 h 21918"/>
              <a:gd name="connsiteX9" fmla="*/ 1271 w 22088"/>
              <a:gd name="connsiteY9" fmla="*/ 15743 h 21918"/>
              <a:gd name="connsiteX10" fmla="*/ 5277 w 22088"/>
              <a:gd name="connsiteY10" fmla="*/ 11203 h 21918"/>
              <a:gd name="connsiteX11" fmla="*/ 0 w 22088"/>
              <a:gd name="connsiteY11" fmla="*/ 9737 h 21918"/>
              <a:gd name="connsiteX12" fmla="*/ 5259 w 22088"/>
              <a:gd name="connsiteY12" fmla="*/ 8186 h 21918"/>
              <a:gd name="connsiteX13" fmla="*/ 217 w 22088"/>
              <a:gd name="connsiteY13" fmla="*/ 2613 h 21918"/>
              <a:gd name="connsiteX14" fmla="*/ 7428 w 22088"/>
              <a:gd name="connsiteY14" fmla="*/ 6145 h 21918"/>
              <a:gd name="connsiteX15" fmla="*/ 8199 w 22088"/>
              <a:gd name="connsiteY15" fmla="*/ 2613 h 21918"/>
              <a:gd name="connsiteX16" fmla="*/ 10647 w 22088"/>
              <a:gd name="connsiteY16" fmla="*/ 6118 h 21918"/>
              <a:gd name="connsiteX0" fmla="*/ 11211 w 22088"/>
              <a:gd name="connsiteY0" fmla="*/ 5780 h 21918"/>
              <a:gd name="connsiteX1" fmla="*/ 15107 w 22088"/>
              <a:gd name="connsiteY1" fmla="*/ 0 h 21918"/>
              <a:gd name="connsiteX2" fmla="*/ 14101 w 22088"/>
              <a:gd name="connsiteY2" fmla="*/ 7264 h 21918"/>
              <a:gd name="connsiteX3" fmla="*/ 19163 w 22088"/>
              <a:gd name="connsiteY3" fmla="*/ 7593 h 21918"/>
              <a:gd name="connsiteX4" fmla="*/ 16012 w 22088"/>
              <a:gd name="connsiteY4" fmla="*/ 9967 h 21918"/>
              <a:gd name="connsiteX5" fmla="*/ 22088 w 22088"/>
              <a:gd name="connsiteY5" fmla="*/ 16415 h 21918"/>
              <a:gd name="connsiteX6" fmla="*/ 11953 w 22088"/>
              <a:gd name="connsiteY6" fmla="*/ 13508 h 21918"/>
              <a:gd name="connsiteX7" fmla="*/ 8332 w 22088"/>
              <a:gd name="connsiteY7" fmla="*/ 21918 h 21918"/>
              <a:gd name="connsiteX8" fmla="*/ 6953 w 22088"/>
              <a:gd name="connsiteY8" fmla="*/ 13857 h 21918"/>
              <a:gd name="connsiteX9" fmla="*/ 1271 w 22088"/>
              <a:gd name="connsiteY9" fmla="*/ 15743 h 21918"/>
              <a:gd name="connsiteX10" fmla="*/ 5277 w 22088"/>
              <a:gd name="connsiteY10" fmla="*/ 11203 h 21918"/>
              <a:gd name="connsiteX11" fmla="*/ 0 w 22088"/>
              <a:gd name="connsiteY11" fmla="*/ 9737 h 21918"/>
              <a:gd name="connsiteX12" fmla="*/ 5259 w 22088"/>
              <a:gd name="connsiteY12" fmla="*/ 8186 h 21918"/>
              <a:gd name="connsiteX13" fmla="*/ 217 w 22088"/>
              <a:gd name="connsiteY13" fmla="*/ 2613 h 21918"/>
              <a:gd name="connsiteX14" fmla="*/ 7428 w 22088"/>
              <a:gd name="connsiteY14" fmla="*/ 6145 h 21918"/>
              <a:gd name="connsiteX15" fmla="*/ 8199 w 22088"/>
              <a:gd name="connsiteY15" fmla="*/ 2613 h 21918"/>
              <a:gd name="connsiteX16" fmla="*/ 11211 w 22088"/>
              <a:gd name="connsiteY16" fmla="*/ 5780 h 21918"/>
              <a:gd name="connsiteX0" fmla="*/ 8199 w 22088"/>
              <a:gd name="connsiteY0" fmla="*/ 2613 h 21918"/>
              <a:gd name="connsiteX1" fmla="*/ 15107 w 22088"/>
              <a:gd name="connsiteY1" fmla="*/ 0 h 21918"/>
              <a:gd name="connsiteX2" fmla="*/ 14101 w 22088"/>
              <a:gd name="connsiteY2" fmla="*/ 7264 h 21918"/>
              <a:gd name="connsiteX3" fmla="*/ 19163 w 22088"/>
              <a:gd name="connsiteY3" fmla="*/ 7593 h 21918"/>
              <a:gd name="connsiteX4" fmla="*/ 16012 w 22088"/>
              <a:gd name="connsiteY4" fmla="*/ 9967 h 21918"/>
              <a:gd name="connsiteX5" fmla="*/ 22088 w 22088"/>
              <a:gd name="connsiteY5" fmla="*/ 16415 h 21918"/>
              <a:gd name="connsiteX6" fmla="*/ 11953 w 22088"/>
              <a:gd name="connsiteY6" fmla="*/ 13508 h 21918"/>
              <a:gd name="connsiteX7" fmla="*/ 8332 w 22088"/>
              <a:gd name="connsiteY7" fmla="*/ 21918 h 21918"/>
              <a:gd name="connsiteX8" fmla="*/ 6953 w 22088"/>
              <a:gd name="connsiteY8" fmla="*/ 13857 h 21918"/>
              <a:gd name="connsiteX9" fmla="*/ 1271 w 22088"/>
              <a:gd name="connsiteY9" fmla="*/ 15743 h 21918"/>
              <a:gd name="connsiteX10" fmla="*/ 5277 w 22088"/>
              <a:gd name="connsiteY10" fmla="*/ 11203 h 21918"/>
              <a:gd name="connsiteX11" fmla="*/ 0 w 22088"/>
              <a:gd name="connsiteY11" fmla="*/ 9737 h 21918"/>
              <a:gd name="connsiteX12" fmla="*/ 5259 w 22088"/>
              <a:gd name="connsiteY12" fmla="*/ 8186 h 21918"/>
              <a:gd name="connsiteX13" fmla="*/ 217 w 22088"/>
              <a:gd name="connsiteY13" fmla="*/ 2613 h 21918"/>
              <a:gd name="connsiteX14" fmla="*/ 7428 w 22088"/>
              <a:gd name="connsiteY14" fmla="*/ 6145 h 21918"/>
              <a:gd name="connsiteX15" fmla="*/ 8199 w 22088"/>
              <a:gd name="connsiteY15" fmla="*/ 2613 h 21918"/>
              <a:gd name="connsiteX0" fmla="*/ 8763 w 22088"/>
              <a:gd name="connsiteY0" fmla="*/ 2275 h 21918"/>
              <a:gd name="connsiteX1" fmla="*/ 15107 w 22088"/>
              <a:gd name="connsiteY1" fmla="*/ 0 h 21918"/>
              <a:gd name="connsiteX2" fmla="*/ 14101 w 22088"/>
              <a:gd name="connsiteY2" fmla="*/ 7264 h 21918"/>
              <a:gd name="connsiteX3" fmla="*/ 19163 w 22088"/>
              <a:gd name="connsiteY3" fmla="*/ 7593 h 21918"/>
              <a:gd name="connsiteX4" fmla="*/ 16012 w 22088"/>
              <a:gd name="connsiteY4" fmla="*/ 9967 h 21918"/>
              <a:gd name="connsiteX5" fmla="*/ 22088 w 22088"/>
              <a:gd name="connsiteY5" fmla="*/ 16415 h 21918"/>
              <a:gd name="connsiteX6" fmla="*/ 11953 w 22088"/>
              <a:gd name="connsiteY6" fmla="*/ 13508 h 21918"/>
              <a:gd name="connsiteX7" fmla="*/ 8332 w 22088"/>
              <a:gd name="connsiteY7" fmla="*/ 21918 h 21918"/>
              <a:gd name="connsiteX8" fmla="*/ 6953 w 22088"/>
              <a:gd name="connsiteY8" fmla="*/ 13857 h 21918"/>
              <a:gd name="connsiteX9" fmla="*/ 1271 w 22088"/>
              <a:gd name="connsiteY9" fmla="*/ 15743 h 21918"/>
              <a:gd name="connsiteX10" fmla="*/ 5277 w 22088"/>
              <a:gd name="connsiteY10" fmla="*/ 11203 h 21918"/>
              <a:gd name="connsiteX11" fmla="*/ 0 w 22088"/>
              <a:gd name="connsiteY11" fmla="*/ 9737 h 21918"/>
              <a:gd name="connsiteX12" fmla="*/ 5259 w 22088"/>
              <a:gd name="connsiteY12" fmla="*/ 8186 h 21918"/>
              <a:gd name="connsiteX13" fmla="*/ 217 w 22088"/>
              <a:gd name="connsiteY13" fmla="*/ 2613 h 21918"/>
              <a:gd name="connsiteX14" fmla="*/ 7428 w 22088"/>
              <a:gd name="connsiteY14" fmla="*/ 6145 h 21918"/>
              <a:gd name="connsiteX15" fmla="*/ 8763 w 22088"/>
              <a:gd name="connsiteY15" fmla="*/ 2275 h 21918"/>
              <a:gd name="connsiteX0" fmla="*/ 7428 w 22088"/>
              <a:gd name="connsiteY0" fmla="*/ 6145 h 21918"/>
              <a:gd name="connsiteX1" fmla="*/ 15107 w 22088"/>
              <a:gd name="connsiteY1" fmla="*/ 0 h 21918"/>
              <a:gd name="connsiteX2" fmla="*/ 14101 w 22088"/>
              <a:gd name="connsiteY2" fmla="*/ 7264 h 21918"/>
              <a:gd name="connsiteX3" fmla="*/ 19163 w 22088"/>
              <a:gd name="connsiteY3" fmla="*/ 7593 h 21918"/>
              <a:gd name="connsiteX4" fmla="*/ 16012 w 22088"/>
              <a:gd name="connsiteY4" fmla="*/ 9967 h 21918"/>
              <a:gd name="connsiteX5" fmla="*/ 22088 w 22088"/>
              <a:gd name="connsiteY5" fmla="*/ 16415 h 21918"/>
              <a:gd name="connsiteX6" fmla="*/ 11953 w 22088"/>
              <a:gd name="connsiteY6" fmla="*/ 13508 h 21918"/>
              <a:gd name="connsiteX7" fmla="*/ 8332 w 22088"/>
              <a:gd name="connsiteY7" fmla="*/ 21918 h 21918"/>
              <a:gd name="connsiteX8" fmla="*/ 6953 w 22088"/>
              <a:gd name="connsiteY8" fmla="*/ 13857 h 21918"/>
              <a:gd name="connsiteX9" fmla="*/ 1271 w 22088"/>
              <a:gd name="connsiteY9" fmla="*/ 15743 h 21918"/>
              <a:gd name="connsiteX10" fmla="*/ 5277 w 22088"/>
              <a:gd name="connsiteY10" fmla="*/ 11203 h 21918"/>
              <a:gd name="connsiteX11" fmla="*/ 0 w 22088"/>
              <a:gd name="connsiteY11" fmla="*/ 9737 h 21918"/>
              <a:gd name="connsiteX12" fmla="*/ 5259 w 22088"/>
              <a:gd name="connsiteY12" fmla="*/ 8186 h 21918"/>
              <a:gd name="connsiteX13" fmla="*/ 217 w 22088"/>
              <a:gd name="connsiteY13" fmla="*/ 2613 h 21918"/>
              <a:gd name="connsiteX14" fmla="*/ 7428 w 22088"/>
              <a:gd name="connsiteY14" fmla="*/ 6145 h 21918"/>
              <a:gd name="connsiteX0" fmla="*/ 8761 w 22088"/>
              <a:gd name="connsiteY0" fmla="*/ 7157 h 21918"/>
              <a:gd name="connsiteX1" fmla="*/ 15107 w 22088"/>
              <a:gd name="connsiteY1" fmla="*/ 0 h 21918"/>
              <a:gd name="connsiteX2" fmla="*/ 14101 w 22088"/>
              <a:gd name="connsiteY2" fmla="*/ 7264 h 21918"/>
              <a:gd name="connsiteX3" fmla="*/ 19163 w 22088"/>
              <a:gd name="connsiteY3" fmla="*/ 7593 h 21918"/>
              <a:gd name="connsiteX4" fmla="*/ 16012 w 22088"/>
              <a:gd name="connsiteY4" fmla="*/ 9967 h 21918"/>
              <a:gd name="connsiteX5" fmla="*/ 22088 w 22088"/>
              <a:gd name="connsiteY5" fmla="*/ 16415 h 21918"/>
              <a:gd name="connsiteX6" fmla="*/ 11953 w 22088"/>
              <a:gd name="connsiteY6" fmla="*/ 13508 h 21918"/>
              <a:gd name="connsiteX7" fmla="*/ 8332 w 22088"/>
              <a:gd name="connsiteY7" fmla="*/ 21918 h 21918"/>
              <a:gd name="connsiteX8" fmla="*/ 6953 w 22088"/>
              <a:gd name="connsiteY8" fmla="*/ 13857 h 21918"/>
              <a:gd name="connsiteX9" fmla="*/ 1271 w 22088"/>
              <a:gd name="connsiteY9" fmla="*/ 15743 h 21918"/>
              <a:gd name="connsiteX10" fmla="*/ 5277 w 22088"/>
              <a:gd name="connsiteY10" fmla="*/ 11203 h 21918"/>
              <a:gd name="connsiteX11" fmla="*/ 0 w 22088"/>
              <a:gd name="connsiteY11" fmla="*/ 9737 h 21918"/>
              <a:gd name="connsiteX12" fmla="*/ 5259 w 22088"/>
              <a:gd name="connsiteY12" fmla="*/ 8186 h 21918"/>
              <a:gd name="connsiteX13" fmla="*/ 217 w 22088"/>
              <a:gd name="connsiteY13" fmla="*/ 2613 h 21918"/>
              <a:gd name="connsiteX14" fmla="*/ 8761 w 22088"/>
              <a:gd name="connsiteY14" fmla="*/ 7157 h 21918"/>
              <a:gd name="connsiteX0" fmla="*/ 8761 w 22088"/>
              <a:gd name="connsiteY0" fmla="*/ 7157 h 21918"/>
              <a:gd name="connsiteX1" fmla="*/ 15107 w 22088"/>
              <a:gd name="connsiteY1" fmla="*/ 0 h 21918"/>
              <a:gd name="connsiteX2" fmla="*/ 12330 w 22088"/>
              <a:gd name="connsiteY2" fmla="*/ 8583 h 21918"/>
              <a:gd name="connsiteX3" fmla="*/ 19163 w 22088"/>
              <a:gd name="connsiteY3" fmla="*/ 7593 h 21918"/>
              <a:gd name="connsiteX4" fmla="*/ 16012 w 22088"/>
              <a:gd name="connsiteY4" fmla="*/ 9967 h 21918"/>
              <a:gd name="connsiteX5" fmla="*/ 22088 w 22088"/>
              <a:gd name="connsiteY5" fmla="*/ 16415 h 21918"/>
              <a:gd name="connsiteX6" fmla="*/ 11953 w 22088"/>
              <a:gd name="connsiteY6" fmla="*/ 13508 h 21918"/>
              <a:gd name="connsiteX7" fmla="*/ 8332 w 22088"/>
              <a:gd name="connsiteY7" fmla="*/ 21918 h 21918"/>
              <a:gd name="connsiteX8" fmla="*/ 6953 w 22088"/>
              <a:gd name="connsiteY8" fmla="*/ 13857 h 21918"/>
              <a:gd name="connsiteX9" fmla="*/ 1271 w 22088"/>
              <a:gd name="connsiteY9" fmla="*/ 15743 h 21918"/>
              <a:gd name="connsiteX10" fmla="*/ 5277 w 22088"/>
              <a:gd name="connsiteY10" fmla="*/ 11203 h 21918"/>
              <a:gd name="connsiteX11" fmla="*/ 0 w 22088"/>
              <a:gd name="connsiteY11" fmla="*/ 9737 h 21918"/>
              <a:gd name="connsiteX12" fmla="*/ 5259 w 22088"/>
              <a:gd name="connsiteY12" fmla="*/ 8186 h 21918"/>
              <a:gd name="connsiteX13" fmla="*/ 217 w 22088"/>
              <a:gd name="connsiteY13" fmla="*/ 2613 h 21918"/>
              <a:gd name="connsiteX14" fmla="*/ 8761 w 22088"/>
              <a:gd name="connsiteY14" fmla="*/ 7157 h 21918"/>
              <a:gd name="connsiteX0" fmla="*/ 8761 w 22088"/>
              <a:gd name="connsiteY0" fmla="*/ 7157 h 21918"/>
              <a:gd name="connsiteX1" fmla="*/ 15107 w 22088"/>
              <a:gd name="connsiteY1" fmla="*/ 0 h 21918"/>
              <a:gd name="connsiteX2" fmla="*/ 12330 w 22088"/>
              <a:gd name="connsiteY2" fmla="*/ 8583 h 21918"/>
              <a:gd name="connsiteX3" fmla="*/ 19163 w 22088"/>
              <a:gd name="connsiteY3" fmla="*/ 7593 h 21918"/>
              <a:gd name="connsiteX4" fmla="*/ 14021 w 22088"/>
              <a:gd name="connsiteY4" fmla="*/ 10900 h 21918"/>
              <a:gd name="connsiteX5" fmla="*/ 22088 w 22088"/>
              <a:gd name="connsiteY5" fmla="*/ 16415 h 21918"/>
              <a:gd name="connsiteX6" fmla="*/ 11953 w 22088"/>
              <a:gd name="connsiteY6" fmla="*/ 13508 h 21918"/>
              <a:gd name="connsiteX7" fmla="*/ 8332 w 22088"/>
              <a:gd name="connsiteY7" fmla="*/ 21918 h 21918"/>
              <a:gd name="connsiteX8" fmla="*/ 6953 w 22088"/>
              <a:gd name="connsiteY8" fmla="*/ 13857 h 21918"/>
              <a:gd name="connsiteX9" fmla="*/ 1271 w 22088"/>
              <a:gd name="connsiteY9" fmla="*/ 15743 h 21918"/>
              <a:gd name="connsiteX10" fmla="*/ 5277 w 22088"/>
              <a:gd name="connsiteY10" fmla="*/ 11203 h 21918"/>
              <a:gd name="connsiteX11" fmla="*/ 0 w 22088"/>
              <a:gd name="connsiteY11" fmla="*/ 9737 h 21918"/>
              <a:gd name="connsiteX12" fmla="*/ 5259 w 22088"/>
              <a:gd name="connsiteY12" fmla="*/ 8186 h 21918"/>
              <a:gd name="connsiteX13" fmla="*/ 217 w 22088"/>
              <a:gd name="connsiteY13" fmla="*/ 2613 h 21918"/>
              <a:gd name="connsiteX14" fmla="*/ 8761 w 22088"/>
              <a:gd name="connsiteY14" fmla="*/ 7157 h 2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088" h="21918">
                <a:moveTo>
                  <a:pt x="8761" y="7157"/>
                </a:moveTo>
                <a:lnTo>
                  <a:pt x="15107" y="0"/>
                </a:lnTo>
                <a:lnTo>
                  <a:pt x="12330" y="8583"/>
                </a:lnTo>
                <a:lnTo>
                  <a:pt x="19163" y="7593"/>
                </a:lnTo>
                <a:lnTo>
                  <a:pt x="14021" y="10900"/>
                </a:lnTo>
                <a:lnTo>
                  <a:pt x="22088" y="16415"/>
                </a:lnTo>
                <a:lnTo>
                  <a:pt x="11953" y="13508"/>
                </a:lnTo>
                <a:lnTo>
                  <a:pt x="8332" y="21918"/>
                </a:lnTo>
                <a:lnTo>
                  <a:pt x="6953" y="13857"/>
                </a:lnTo>
                <a:lnTo>
                  <a:pt x="1271" y="15743"/>
                </a:lnTo>
                <a:lnTo>
                  <a:pt x="5277" y="11203"/>
                </a:lnTo>
                <a:lnTo>
                  <a:pt x="0" y="9737"/>
                </a:lnTo>
                <a:lnTo>
                  <a:pt x="5259" y="8186"/>
                </a:lnTo>
                <a:lnTo>
                  <a:pt x="217" y="2613"/>
                </a:lnTo>
                <a:lnTo>
                  <a:pt x="8761" y="7157"/>
                </a:lnTo>
                <a:close/>
              </a:path>
            </a:pathLst>
          </a:custGeom>
          <a:gradFill flip="none" rotWithShape="1">
            <a:gsLst>
              <a:gs pos="69000">
                <a:schemeClr val="bg2"/>
              </a:gs>
              <a:gs pos="26000">
                <a:schemeClr val="bg2">
                  <a:lumMod val="60000"/>
                  <a:lumOff val="40000"/>
                </a:schemeClr>
              </a:gs>
              <a:gs pos="0">
                <a:schemeClr val="bg2">
                  <a:lumMod val="40000"/>
                  <a:lumOff val="60000"/>
                </a:schemeClr>
              </a:gs>
            </a:gsLst>
            <a:path path="circle">
              <a:fillToRect l="50000" t="50000" r="50000" b="50000"/>
            </a:path>
            <a:tileRect/>
          </a:gradFill>
          <a:ln w="6350" cap="flat" cmpd="sng" algn="ctr">
            <a:noFill/>
            <a:prstDash val="solid"/>
            <a:round/>
            <a:headEnd type="none" w="med" len="med"/>
            <a:tailEnd type="none" w="med" len="med"/>
          </a:ln>
          <a:effectLst/>
        </p:spPr>
        <p:txBody>
          <a:bodyPr vert="horz" wrap="square" lIns="24923" tIns="32400" rIns="24923" bIns="32400" numCol="1" rtlCol="0" anchor="ctr" anchorCtr="0" compatLnSpc="1">
            <a:prstTxWarp prst="textNoShape">
              <a:avLst/>
            </a:prstTxWarp>
          </a:bodyPr>
          <a:lstStyle/>
          <a:p>
            <a:pPr algn="ctr" defTabSz="844083" eaLnBrk="1" hangingPunct="1">
              <a:spcBef>
                <a:spcPts val="0"/>
              </a:spcBef>
              <a:spcAft>
                <a:spcPts val="0"/>
              </a:spcAft>
              <a:defRPr/>
            </a:pPr>
            <a:endParaRPr lang="de-DE" sz="831" b="1" dirty="0">
              <a:solidFill>
                <a:srgbClr val="FFFFFF"/>
              </a:solidFill>
              <a:latin typeface="Arial"/>
              <a:cs typeface="Arial" charset="0"/>
            </a:endParaRPr>
          </a:p>
        </p:txBody>
      </p:sp>
      <p:sp>
        <p:nvSpPr>
          <p:cNvPr id="48" name="Freeform 47"/>
          <p:cNvSpPr/>
          <p:nvPr/>
        </p:nvSpPr>
        <p:spPr>
          <a:xfrm>
            <a:off x="4533937" y="2489918"/>
            <a:ext cx="0" cy="2616923"/>
          </a:xfrm>
          <a:custGeom>
            <a:avLst/>
            <a:gdLst>
              <a:gd name="connsiteX0" fmla="*/ 0 w 862704"/>
              <a:gd name="connsiteY0" fmla="*/ 2349505 h 3940180"/>
              <a:gd name="connsiteX1" fmla="*/ 781050 w 862704"/>
              <a:gd name="connsiteY1" fmla="*/ 34930 h 3940180"/>
              <a:gd name="connsiteX2" fmla="*/ 800100 w 862704"/>
              <a:gd name="connsiteY2" fmla="*/ 3940180 h 3940180"/>
              <a:gd name="connsiteX0" fmla="*/ 0 w 862704"/>
              <a:gd name="connsiteY0" fmla="*/ 2349505 h 3940180"/>
              <a:gd name="connsiteX1" fmla="*/ 781050 w 862704"/>
              <a:gd name="connsiteY1" fmla="*/ 34930 h 3940180"/>
              <a:gd name="connsiteX2" fmla="*/ 800100 w 862704"/>
              <a:gd name="connsiteY2" fmla="*/ 3940180 h 3940180"/>
              <a:gd name="connsiteX0" fmla="*/ 0 w 862704"/>
              <a:gd name="connsiteY0" fmla="*/ 2314575 h 3905250"/>
              <a:gd name="connsiteX1" fmla="*/ 781050 w 862704"/>
              <a:gd name="connsiteY1" fmla="*/ 0 h 3905250"/>
              <a:gd name="connsiteX2" fmla="*/ 800100 w 862704"/>
              <a:gd name="connsiteY2" fmla="*/ 3905250 h 3905250"/>
              <a:gd name="connsiteX0" fmla="*/ 0 w 819897"/>
              <a:gd name="connsiteY0" fmla="*/ 2314575 h 3905250"/>
              <a:gd name="connsiteX1" fmla="*/ 781050 w 819897"/>
              <a:gd name="connsiteY1" fmla="*/ 0 h 3905250"/>
              <a:gd name="connsiteX2" fmla="*/ 800100 w 819897"/>
              <a:gd name="connsiteY2" fmla="*/ 3905250 h 3905250"/>
              <a:gd name="connsiteX0" fmla="*/ 0 w 800100"/>
              <a:gd name="connsiteY0" fmla="*/ 2314575 h 3905250"/>
              <a:gd name="connsiteX1" fmla="*/ 781050 w 800100"/>
              <a:gd name="connsiteY1" fmla="*/ 0 h 3905250"/>
              <a:gd name="connsiteX2" fmla="*/ 800100 w 800100"/>
              <a:gd name="connsiteY2" fmla="*/ 3905250 h 3905250"/>
              <a:gd name="connsiteX0" fmla="*/ 0 w 800100"/>
              <a:gd name="connsiteY0" fmla="*/ 2314575 h 3905250"/>
              <a:gd name="connsiteX1" fmla="*/ 781050 w 800100"/>
              <a:gd name="connsiteY1" fmla="*/ 0 h 3905250"/>
              <a:gd name="connsiteX2" fmla="*/ 800100 w 800100"/>
              <a:gd name="connsiteY2" fmla="*/ 3905250 h 3905250"/>
              <a:gd name="connsiteX0" fmla="*/ 0 w 800100"/>
              <a:gd name="connsiteY0" fmla="*/ 2390775 h 3981450"/>
              <a:gd name="connsiteX1" fmla="*/ 790575 w 800100"/>
              <a:gd name="connsiteY1" fmla="*/ 0 h 3981450"/>
              <a:gd name="connsiteX2" fmla="*/ 800100 w 800100"/>
              <a:gd name="connsiteY2" fmla="*/ 3981450 h 3981450"/>
              <a:gd name="connsiteX0" fmla="*/ 0 w 800100"/>
              <a:gd name="connsiteY0" fmla="*/ 2424486 h 4015161"/>
              <a:gd name="connsiteX1" fmla="*/ 799002 w 800100"/>
              <a:gd name="connsiteY1" fmla="*/ 0 h 4015161"/>
              <a:gd name="connsiteX2" fmla="*/ 800100 w 800100"/>
              <a:gd name="connsiteY2" fmla="*/ 4015161 h 4015161"/>
              <a:gd name="connsiteX0" fmla="*/ 0 w 800100"/>
              <a:gd name="connsiteY0" fmla="*/ 2416058 h 4006733"/>
              <a:gd name="connsiteX1" fmla="*/ 794788 w 800100"/>
              <a:gd name="connsiteY1" fmla="*/ 0 h 4006733"/>
              <a:gd name="connsiteX2" fmla="*/ 800100 w 800100"/>
              <a:gd name="connsiteY2" fmla="*/ 4006733 h 4006733"/>
              <a:gd name="connsiteX0" fmla="*/ 0 w 794788"/>
              <a:gd name="connsiteY0" fmla="*/ 2416058 h 3884532"/>
              <a:gd name="connsiteX1" fmla="*/ 794788 w 794788"/>
              <a:gd name="connsiteY1" fmla="*/ 0 h 3884532"/>
              <a:gd name="connsiteX2" fmla="*/ 791673 w 794788"/>
              <a:gd name="connsiteY2" fmla="*/ 3884532 h 3884532"/>
              <a:gd name="connsiteX0" fmla="*/ 0 w 794788"/>
              <a:gd name="connsiteY0" fmla="*/ 2416058 h 3968808"/>
              <a:gd name="connsiteX1" fmla="*/ 794788 w 794788"/>
              <a:gd name="connsiteY1" fmla="*/ 0 h 3968808"/>
              <a:gd name="connsiteX2" fmla="*/ 791673 w 794788"/>
              <a:gd name="connsiteY2" fmla="*/ 3968808 h 3968808"/>
              <a:gd name="connsiteX0" fmla="*/ 0 w 794788"/>
              <a:gd name="connsiteY0" fmla="*/ 2416058 h 4019374"/>
              <a:gd name="connsiteX1" fmla="*/ 794788 w 794788"/>
              <a:gd name="connsiteY1" fmla="*/ 0 h 4019374"/>
              <a:gd name="connsiteX2" fmla="*/ 791673 w 794788"/>
              <a:gd name="connsiteY2" fmla="*/ 4019374 h 4019374"/>
              <a:gd name="connsiteX0" fmla="*/ 0 w 794788"/>
              <a:gd name="connsiteY0" fmla="*/ 2416058 h 4019374"/>
              <a:gd name="connsiteX1" fmla="*/ 794788 w 794788"/>
              <a:gd name="connsiteY1" fmla="*/ 0 h 4019374"/>
              <a:gd name="connsiteX2" fmla="*/ 791673 w 794788"/>
              <a:gd name="connsiteY2" fmla="*/ 4019374 h 4019374"/>
              <a:gd name="connsiteX0" fmla="*/ 13014 w 13014"/>
              <a:gd name="connsiteY0" fmla="*/ 0 h 4019374"/>
              <a:gd name="connsiteX1" fmla="*/ 9899 w 13014"/>
              <a:gd name="connsiteY1" fmla="*/ 4019374 h 4019374"/>
              <a:gd name="connsiteX0" fmla="*/ 7878 w 13575"/>
              <a:gd name="connsiteY0" fmla="*/ 0 h 4064413"/>
              <a:gd name="connsiteX1" fmla="*/ 13575 w 13575"/>
              <a:gd name="connsiteY1" fmla="*/ 4064413 h 4064413"/>
              <a:gd name="connsiteX0" fmla="*/ 5883 w 11580"/>
              <a:gd name="connsiteY0" fmla="*/ 0 h 4064413"/>
              <a:gd name="connsiteX1" fmla="*/ 11580 w 11580"/>
              <a:gd name="connsiteY1" fmla="*/ 4064413 h 4064413"/>
              <a:gd name="connsiteX0" fmla="*/ 4817 w 12548"/>
              <a:gd name="connsiteY0" fmla="*/ 0 h 4080308"/>
              <a:gd name="connsiteX1" fmla="*/ 12548 w 12548"/>
              <a:gd name="connsiteY1" fmla="*/ 4080308 h 4080308"/>
              <a:gd name="connsiteX0" fmla="*/ 5159 w 12212"/>
              <a:gd name="connsiteY0" fmla="*/ 0 h 4059114"/>
              <a:gd name="connsiteX1" fmla="*/ 12212 w 12212"/>
              <a:gd name="connsiteY1" fmla="*/ 4059114 h 4059114"/>
              <a:gd name="connsiteX0" fmla="*/ 5883 w 11581"/>
              <a:gd name="connsiteY0" fmla="*/ 0 h 4069711"/>
              <a:gd name="connsiteX1" fmla="*/ 11581 w 11581"/>
              <a:gd name="connsiteY1" fmla="*/ 4069711 h 4069711"/>
              <a:gd name="connsiteX0" fmla="*/ 9732 w 9732"/>
              <a:gd name="connsiteY0" fmla="*/ 0 h 4085607"/>
              <a:gd name="connsiteX1" fmla="*/ 9330 w 9732"/>
              <a:gd name="connsiteY1" fmla="*/ 4085607 h 4085607"/>
              <a:gd name="connsiteX0" fmla="*/ 5425 w 5425"/>
              <a:gd name="connsiteY0" fmla="*/ 0 h 10000"/>
              <a:gd name="connsiteX1" fmla="*/ 5012 w 5425"/>
              <a:gd name="connsiteY1" fmla="*/ 10000 h 10000"/>
              <a:gd name="connsiteX0" fmla="*/ 5843 w 12785"/>
              <a:gd name="connsiteY0" fmla="*/ 0 h 10019"/>
              <a:gd name="connsiteX1" fmla="*/ 12785 w 12785"/>
              <a:gd name="connsiteY1" fmla="*/ 10019 h 10019"/>
            </a:gdLst>
            <a:ahLst/>
            <a:cxnLst>
              <a:cxn ang="0">
                <a:pos x="connsiteX0" y="connsiteY0"/>
              </a:cxn>
              <a:cxn ang="0">
                <a:pos x="connsiteX1" y="connsiteY1"/>
              </a:cxn>
            </a:cxnLst>
            <a:rect l="l" t="t" r="r" b="b"/>
            <a:pathLst>
              <a:path w="12785" h="10019">
                <a:moveTo>
                  <a:pt x="5843" y="0"/>
                </a:moveTo>
                <a:cubicBezTo>
                  <a:pt x="-1927" y="2875"/>
                  <a:pt x="-4039" y="5418"/>
                  <a:pt x="12785" y="10019"/>
                </a:cubicBezTo>
              </a:path>
            </a:pathLst>
          </a:custGeom>
          <a:ln w="25400" cap="rnd">
            <a:solidFill>
              <a:schemeClr val="bg2"/>
            </a:solidFill>
            <a:prstDash val="sysDash"/>
            <a:tailEnd type="triangle" w="med" len="lg"/>
          </a:ln>
          <a:effectLst>
            <a:glow rad="127000">
              <a:schemeClr val="bg1">
                <a:alpha val="35000"/>
              </a:schemeClr>
            </a:glow>
          </a:effectLst>
        </p:spPr>
        <p:txBody>
          <a:bodyPr rtlCol="0" anchor="ctr"/>
          <a:lstStyle/>
          <a:p>
            <a:pPr algn="ctr" defTabSz="844083" eaLnBrk="1" hangingPunct="1">
              <a:spcAft>
                <a:spcPct val="0"/>
              </a:spcAft>
              <a:defRPr/>
            </a:pPr>
            <a:endParaRPr lang="de-DE" sz="1038" dirty="0">
              <a:solidFill>
                <a:srgbClr val="E60000"/>
              </a:solidFill>
              <a:latin typeface="Arial"/>
              <a:cs typeface="Arial" charset="0"/>
            </a:endParaRPr>
          </a:p>
        </p:txBody>
      </p:sp>
      <p:sp>
        <p:nvSpPr>
          <p:cNvPr id="49" name="Explosion 1 3"/>
          <p:cNvSpPr/>
          <p:nvPr/>
        </p:nvSpPr>
        <p:spPr bwMode="auto">
          <a:xfrm rot="1849630">
            <a:off x="4259519" y="2221242"/>
            <a:ext cx="696053" cy="562935"/>
          </a:xfrm>
          <a:custGeom>
            <a:avLst/>
            <a:gdLst>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8145 w 21600"/>
              <a:gd name="connsiteY9" fmla="*/ 18095 h 21600"/>
              <a:gd name="connsiteX10" fmla="*/ 14020 w 21600"/>
              <a:gd name="connsiteY10" fmla="*/ 14457 h 21600"/>
              <a:gd name="connsiteX11" fmla="*/ 13247 w 21600"/>
              <a:gd name="connsiteY11" fmla="*/ 19737 h 21600"/>
              <a:gd name="connsiteX12" fmla="*/ 10532 w 21600"/>
              <a:gd name="connsiteY12" fmla="*/ 14935 h 21600"/>
              <a:gd name="connsiteX13" fmla="*/ 8485 w 21600"/>
              <a:gd name="connsiteY13" fmla="*/ 21600 h 21600"/>
              <a:gd name="connsiteX14" fmla="*/ 7715 w 21600"/>
              <a:gd name="connsiteY14" fmla="*/ 15627 h 21600"/>
              <a:gd name="connsiteX15" fmla="*/ 4762 w 21600"/>
              <a:gd name="connsiteY15" fmla="*/ 17617 h 21600"/>
              <a:gd name="connsiteX16" fmla="*/ 5667 w 21600"/>
              <a:gd name="connsiteY16" fmla="*/ 13937 h 21600"/>
              <a:gd name="connsiteX17" fmla="*/ 135 w 21600"/>
              <a:gd name="connsiteY17" fmla="*/ 14587 h 21600"/>
              <a:gd name="connsiteX18" fmla="*/ 3722 w 21600"/>
              <a:gd name="connsiteY18" fmla="*/ 11775 h 21600"/>
              <a:gd name="connsiteX19" fmla="*/ 0 w 21600"/>
              <a:gd name="connsiteY19" fmla="*/ 8615 h 21600"/>
              <a:gd name="connsiteX20" fmla="*/ 4627 w 21600"/>
              <a:gd name="connsiteY20" fmla="*/ 7617 h 21600"/>
              <a:gd name="connsiteX21" fmla="*/ 370 w 21600"/>
              <a:gd name="connsiteY21" fmla="*/ 2295 h 21600"/>
              <a:gd name="connsiteX22" fmla="*/ 7312 w 21600"/>
              <a:gd name="connsiteY22" fmla="*/ 6320 h 21600"/>
              <a:gd name="connsiteX23" fmla="*/ 8352 w 21600"/>
              <a:gd name="connsiteY23" fmla="*/ 2295 h 21600"/>
              <a:gd name="connsiteX24" fmla="*/ 10800 w 21600"/>
              <a:gd name="connsiteY24"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8145 w 21600"/>
              <a:gd name="connsiteY9" fmla="*/ 18095 h 21600"/>
              <a:gd name="connsiteX10" fmla="*/ 14020 w 21600"/>
              <a:gd name="connsiteY10" fmla="*/ 14457 h 21600"/>
              <a:gd name="connsiteX11" fmla="*/ 10532 w 21600"/>
              <a:gd name="connsiteY11" fmla="*/ 14935 h 21600"/>
              <a:gd name="connsiteX12" fmla="*/ 8485 w 21600"/>
              <a:gd name="connsiteY12" fmla="*/ 21600 h 21600"/>
              <a:gd name="connsiteX13" fmla="*/ 7715 w 21600"/>
              <a:gd name="connsiteY13" fmla="*/ 15627 h 21600"/>
              <a:gd name="connsiteX14" fmla="*/ 4762 w 21600"/>
              <a:gd name="connsiteY14" fmla="*/ 17617 h 21600"/>
              <a:gd name="connsiteX15" fmla="*/ 5667 w 21600"/>
              <a:gd name="connsiteY15" fmla="*/ 13937 h 21600"/>
              <a:gd name="connsiteX16" fmla="*/ 135 w 21600"/>
              <a:gd name="connsiteY16" fmla="*/ 14587 h 21600"/>
              <a:gd name="connsiteX17" fmla="*/ 3722 w 21600"/>
              <a:gd name="connsiteY17" fmla="*/ 11775 h 21600"/>
              <a:gd name="connsiteX18" fmla="*/ 0 w 21600"/>
              <a:gd name="connsiteY18" fmla="*/ 8615 h 21600"/>
              <a:gd name="connsiteX19" fmla="*/ 4627 w 21600"/>
              <a:gd name="connsiteY19" fmla="*/ 7617 h 21600"/>
              <a:gd name="connsiteX20" fmla="*/ 370 w 21600"/>
              <a:gd name="connsiteY20" fmla="*/ 2295 h 21600"/>
              <a:gd name="connsiteX21" fmla="*/ 7312 w 21600"/>
              <a:gd name="connsiteY21" fmla="*/ 6320 h 21600"/>
              <a:gd name="connsiteX22" fmla="*/ 8352 w 21600"/>
              <a:gd name="connsiteY22" fmla="*/ 2295 h 21600"/>
              <a:gd name="connsiteX23" fmla="*/ 10800 w 21600"/>
              <a:gd name="connsiteY23"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8145 w 21600"/>
              <a:gd name="connsiteY9" fmla="*/ 18095 h 21600"/>
              <a:gd name="connsiteX10" fmla="*/ 10532 w 21600"/>
              <a:gd name="connsiteY10" fmla="*/ 149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9669 w 21600"/>
              <a:gd name="connsiteY9" fmla="*/ 19605 h 21600"/>
              <a:gd name="connsiteX10" fmla="*/ 10532 w 21600"/>
              <a:gd name="connsiteY10" fmla="*/ 149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9669 w 21600"/>
              <a:gd name="connsiteY9" fmla="*/ 19605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5210 w 21600"/>
              <a:gd name="connsiteY8" fmla="*/ 12884 h 21600"/>
              <a:gd name="connsiteX9" fmla="*/ 19669 w 21600"/>
              <a:gd name="connsiteY9" fmla="*/ 19605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5210 w 21600"/>
              <a:gd name="connsiteY8" fmla="*/ 12884 h 21600"/>
              <a:gd name="connsiteX9" fmla="*/ 19188 w 21600"/>
              <a:gd name="connsiteY9" fmla="*/ 18513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5210 w 21600"/>
              <a:gd name="connsiteY8" fmla="*/ 12884 h 21600"/>
              <a:gd name="connsiteX9" fmla="*/ 17478 w 21600"/>
              <a:gd name="connsiteY9" fmla="*/ 17771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4247"/>
              <a:gd name="connsiteY0" fmla="*/ 5800 h 21600"/>
              <a:gd name="connsiteX1" fmla="*/ 14522 w 24247"/>
              <a:gd name="connsiteY1" fmla="*/ 0 h 21600"/>
              <a:gd name="connsiteX2" fmla="*/ 14155 w 24247"/>
              <a:gd name="connsiteY2" fmla="*/ 5325 h 21600"/>
              <a:gd name="connsiteX3" fmla="*/ 18380 w 24247"/>
              <a:gd name="connsiteY3" fmla="*/ 4457 h 21600"/>
              <a:gd name="connsiteX4" fmla="*/ 16702 w 24247"/>
              <a:gd name="connsiteY4" fmla="*/ 7315 h 21600"/>
              <a:gd name="connsiteX5" fmla="*/ 21097 w 24247"/>
              <a:gd name="connsiteY5" fmla="*/ 8137 h 21600"/>
              <a:gd name="connsiteX6" fmla="*/ 17607 w 24247"/>
              <a:gd name="connsiteY6" fmla="*/ 10475 h 21600"/>
              <a:gd name="connsiteX7" fmla="*/ 24247 w 24247"/>
              <a:gd name="connsiteY7" fmla="*/ 13862 h 21600"/>
              <a:gd name="connsiteX8" fmla="*/ 15210 w 24247"/>
              <a:gd name="connsiteY8" fmla="*/ 12884 h 21600"/>
              <a:gd name="connsiteX9" fmla="*/ 17478 w 24247"/>
              <a:gd name="connsiteY9" fmla="*/ 17771 h 21600"/>
              <a:gd name="connsiteX10" fmla="*/ 10754 w 24247"/>
              <a:gd name="connsiteY10" fmla="*/ 14635 h 21600"/>
              <a:gd name="connsiteX11" fmla="*/ 8485 w 24247"/>
              <a:gd name="connsiteY11" fmla="*/ 21600 h 21600"/>
              <a:gd name="connsiteX12" fmla="*/ 7715 w 24247"/>
              <a:gd name="connsiteY12" fmla="*/ 15627 h 21600"/>
              <a:gd name="connsiteX13" fmla="*/ 4762 w 24247"/>
              <a:gd name="connsiteY13" fmla="*/ 17617 h 21600"/>
              <a:gd name="connsiteX14" fmla="*/ 5667 w 24247"/>
              <a:gd name="connsiteY14" fmla="*/ 13937 h 21600"/>
              <a:gd name="connsiteX15" fmla="*/ 135 w 24247"/>
              <a:gd name="connsiteY15" fmla="*/ 14587 h 21600"/>
              <a:gd name="connsiteX16" fmla="*/ 3722 w 24247"/>
              <a:gd name="connsiteY16" fmla="*/ 11775 h 21600"/>
              <a:gd name="connsiteX17" fmla="*/ 0 w 24247"/>
              <a:gd name="connsiteY17" fmla="*/ 8615 h 21600"/>
              <a:gd name="connsiteX18" fmla="*/ 4627 w 24247"/>
              <a:gd name="connsiteY18" fmla="*/ 7617 h 21600"/>
              <a:gd name="connsiteX19" fmla="*/ 370 w 24247"/>
              <a:gd name="connsiteY19" fmla="*/ 2295 h 21600"/>
              <a:gd name="connsiteX20" fmla="*/ 7312 w 24247"/>
              <a:gd name="connsiteY20" fmla="*/ 6320 h 21600"/>
              <a:gd name="connsiteX21" fmla="*/ 8352 w 24247"/>
              <a:gd name="connsiteY21" fmla="*/ 2295 h 21600"/>
              <a:gd name="connsiteX22" fmla="*/ 10800 w 24247"/>
              <a:gd name="connsiteY22" fmla="*/ 5800 h 21600"/>
              <a:gd name="connsiteX0" fmla="*/ 10800 w 24247"/>
              <a:gd name="connsiteY0" fmla="*/ 5800 h 21600"/>
              <a:gd name="connsiteX1" fmla="*/ 14522 w 24247"/>
              <a:gd name="connsiteY1" fmla="*/ 0 h 21600"/>
              <a:gd name="connsiteX2" fmla="*/ 14155 w 24247"/>
              <a:gd name="connsiteY2" fmla="*/ 5325 h 21600"/>
              <a:gd name="connsiteX3" fmla="*/ 18380 w 24247"/>
              <a:gd name="connsiteY3" fmla="*/ 4457 h 21600"/>
              <a:gd name="connsiteX4" fmla="*/ 16702 w 24247"/>
              <a:gd name="connsiteY4" fmla="*/ 7315 h 21600"/>
              <a:gd name="connsiteX5" fmla="*/ 20651 w 24247"/>
              <a:gd name="connsiteY5" fmla="*/ 7513 h 21600"/>
              <a:gd name="connsiteX6" fmla="*/ 17607 w 24247"/>
              <a:gd name="connsiteY6" fmla="*/ 10475 h 21600"/>
              <a:gd name="connsiteX7" fmla="*/ 24247 w 24247"/>
              <a:gd name="connsiteY7" fmla="*/ 13862 h 21600"/>
              <a:gd name="connsiteX8" fmla="*/ 15210 w 24247"/>
              <a:gd name="connsiteY8" fmla="*/ 12884 h 21600"/>
              <a:gd name="connsiteX9" fmla="*/ 17478 w 24247"/>
              <a:gd name="connsiteY9" fmla="*/ 17771 h 21600"/>
              <a:gd name="connsiteX10" fmla="*/ 10754 w 24247"/>
              <a:gd name="connsiteY10" fmla="*/ 14635 h 21600"/>
              <a:gd name="connsiteX11" fmla="*/ 8485 w 24247"/>
              <a:gd name="connsiteY11" fmla="*/ 21600 h 21600"/>
              <a:gd name="connsiteX12" fmla="*/ 7715 w 24247"/>
              <a:gd name="connsiteY12" fmla="*/ 15627 h 21600"/>
              <a:gd name="connsiteX13" fmla="*/ 4762 w 24247"/>
              <a:gd name="connsiteY13" fmla="*/ 17617 h 21600"/>
              <a:gd name="connsiteX14" fmla="*/ 5667 w 24247"/>
              <a:gd name="connsiteY14" fmla="*/ 13937 h 21600"/>
              <a:gd name="connsiteX15" fmla="*/ 135 w 24247"/>
              <a:gd name="connsiteY15" fmla="*/ 14587 h 21600"/>
              <a:gd name="connsiteX16" fmla="*/ 3722 w 24247"/>
              <a:gd name="connsiteY16" fmla="*/ 11775 h 21600"/>
              <a:gd name="connsiteX17" fmla="*/ 0 w 24247"/>
              <a:gd name="connsiteY17" fmla="*/ 8615 h 21600"/>
              <a:gd name="connsiteX18" fmla="*/ 4627 w 24247"/>
              <a:gd name="connsiteY18" fmla="*/ 7617 h 21600"/>
              <a:gd name="connsiteX19" fmla="*/ 370 w 24247"/>
              <a:gd name="connsiteY19" fmla="*/ 2295 h 21600"/>
              <a:gd name="connsiteX20" fmla="*/ 7312 w 24247"/>
              <a:gd name="connsiteY20" fmla="*/ 6320 h 21600"/>
              <a:gd name="connsiteX21" fmla="*/ 8352 w 24247"/>
              <a:gd name="connsiteY21" fmla="*/ 2295 h 21600"/>
              <a:gd name="connsiteX22" fmla="*/ 10800 w 24247"/>
              <a:gd name="connsiteY22" fmla="*/ 5800 h 21600"/>
              <a:gd name="connsiteX0" fmla="*/ 10800 w 24247"/>
              <a:gd name="connsiteY0" fmla="*/ 5800 h 21600"/>
              <a:gd name="connsiteX1" fmla="*/ 14522 w 24247"/>
              <a:gd name="connsiteY1" fmla="*/ 0 h 21600"/>
              <a:gd name="connsiteX2" fmla="*/ 14155 w 24247"/>
              <a:gd name="connsiteY2" fmla="*/ 5325 h 21600"/>
              <a:gd name="connsiteX3" fmla="*/ 16702 w 24247"/>
              <a:gd name="connsiteY3" fmla="*/ 7315 h 21600"/>
              <a:gd name="connsiteX4" fmla="*/ 20651 w 24247"/>
              <a:gd name="connsiteY4" fmla="*/ 7513 h 21600"/>
              <a:gd name="connsiteX5" fmla="*/ 17607 w 24247"/>
              <a:gd name="connsiteY5" fmla="*/ 10475 h 21600"/>
              <a:gd name="connsiteX6" fmla="*/ 24247 w 24247"/>
              <a:gd name="connsiteY6" fmla="*/ 13862 h 21600"/>
              <a:gd name="connsiteX7" fmla="*/ 15210 w 24247"/>
              <a:gd name="connsiteY7" fmla="*/ 12884 h 21600"/>
              <a:gd name="connsiteX8" fmla="*/ 17478 w 24247"/>
              <a:gd name="connsiteY8" fmla="*/ 17771 h 21600"/>
              <a:gd name="connsiteX9" fmla="*/ 10754 w 24247"/>
              <a:gd name="connsiteY9" fmla="*/ 14635 h 21600"/>
              <a:gd name="connsiteX10" fmla="*/ 8485 w 24247"/>
              <a:gd name="connsiteY10" fmla="*/ 21600 h 21600"/>
              <a:gd name="connsiteX11" fmla="*/ 7715 w 24247"/>
              <a:gd name="connsiteY11" fmla="*/ 15627 h 21600"/>
              <a:gd name="connsiteX12" fmla="*/ 4762 w 24247"/>
              <a:gd name="connsiteY12" fmla="*/ 17617 h 21600"/>
              <a:gd name="connsiteX13" fmla="*/ 5667 w 24247"/>
              <a:gd name="connsiteY13" fmla="*/ 13937 h 21600"/>
              <a:gd name="connsiteX14" fmla="*/ 135 w 24247"/>
              <a:gd name="connsiteY14" fmla="*/ 14587 h 21600"/>
              <a:gd name="connsiteX15" fmla="*/ 3722 w 24247"/>
              <a:gd name="connsiteY15" fmla="*/ 11775 h 21600"/>
              <a:gd name="connsiteX16" fmla="*/ 0 w 24247"/>
              <a:gd name="connsiteY16" fmla="*/ 8615 h 21600"/>
              <a:gd name="connsiteX17" fmla="*/ 4627 w 24247"/>
              <a:gd name="connsiteY17" fmla="*/ 7617 h 21600"/>
              <a:gd name="connsiteX18" fmla="*/ 370 w 24247"/>
              <a:gd name="connsiteY18" fmla="*/ 2295 h 21600"/>
              <a:gd name="connsiteX19" fmla="*/ 7312 w 24247"/>
              <a:gd name="connsiteY19" fmla="*/ 6320 h 21600"/>
              <a:gd name="connsiteX20" fmla="*/ 8352 w 24247"/>
              <a:gd name="connsiteY20" fmla="*/ 2295 h 21600"/>
              <a:gd name="connsiteX21" fmla="*/ 10800 w 24247"/>
              <a:gd name="connsiteY21" fmla="*/ 5800 h 21600"/>
              <a:gd name="connsiteX0" fmla="*/ 10800 w 24247"/>
              <a:gd name="connsiteY0" fmla="*/ 5800 h 21600"/>
              <a:gd name="connsiteX1" fmla="*/ 14522 w 24247"/>
              <a:gd name="connsiteY1" fmla="*/ 0 h 21600"/>
              <a:gd name="connsiteX2" fmla="*/ 16702 w 24247"/>
              <a:gd name="connsiteY2" fmla="*/ 7315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5534 w 24247"/>
              <a:gd name="connsiteY4" fmla="*/ 10202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19316 w 24247"/>
              <a:gd name="connsiteY3" fmla="*/ 7275 h 21600"/>
              <a:gd name="connsiteX4" fmla="*/ 15534 w 24247"/>
              <a:gd name="connsiteY4" fmla="*/ 10202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5667 w 24247"/>
              <a:gd name="connsiteY11" fmla="*/ 13937 h 21600"/>
              <a:gd name="connsiteX12" fmla="*/ 135 w 24247"/>
              <a:gd name="connsiteY12" fmla="*/ 14587 h 21600"/>
              <a:gd name="connsiteX13" fmla="*/ 3722 w 24247"/>
              <a:gd name="connsiteY13" fmla="*/ 11775 h 21600"/>
              <a:gd name="connsiteX14" fmla="*/ 0 w 24247"/>
              <a:gd name="connsiteY14" fmla="*/ 8615 h 21600"/>
              <a:gd name="connsiteX15" fmla="*/ 4627 w 24247"/>
              <a:gd name="connsiteY15" fmla="*/ 7617 h 21600"/>
              <a:gd name="connsiteX16" fmla="*/ 370 w 24247"/>
              <a:gd name="connsiteY16" fmla="*/ 2295 h 21600"/>
              <a:gd name="connsiteX17" fmla="*/ 7312 w 24247"/>
              <a:gd name="connsiteY17" fmla="*/ 6320 h 21600"/>
              <a:gd name="connsiteX18" fmla="*/ 8352 w 24247"/>
              <a:gd name="connsiteY18" fmla="*/ 2295 h 21600"/>
              <a:gd name="connsiteX19" fmla="*/ 10800 w 24247"/>
              <a:gd name="connsiteY19"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5667 w 24247"/>
              <a:gd name="connsiteY10" fmla="*/ 13937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5667 w 24247"/>
              <a:gd name="connsiteY10" fmla="*/ 13937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5667 w 24247"/>
              <a:gd name="connsiteY10" fmla="*/ 13937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424 w 24247"/>
              <a:gd name="connsiteY11" fmla="*/ 15425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424 w 24247"/>
              <a:gd name="connsiteY11" fmla="*/ 15425 h 21600"/>
              <a:gd name="connsiteX12" fmla="*/ 5290 w 24247"/>
              <a:gd name="connsiteY12" fmla="*/ 11461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424 w 24247"/>
              <a:gd name="connsiteY11" fmla="*/ 15425 h 21600"/>
              <a:gd name="connsiteX12" fmla="*/ 5524 w 24247"/>
              <a:gd name="connsiteY12" fmla="*/ 11317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371 w 24094"/>
              <a:gd name="connsiteY12" fmla="*/ 11317 h 21600"/>
              <a:gd name="connsiteX13" fmla="*/ 0 w 24094"/>
              <a:gd name="connsiteY13" fmla="*/ 9419 h 21600"/>
              <a:gd name="connsiteX14" fmla="*/ 4474 w 24094"/>
              <a:gd name="connsiteY14" fmla="*/ 7617 h 21600"/>
              <a:gd name="connsiteX15" fmla="*/ 217 w 24094"/>
              <a:gd name="connsiteY15" fmla="*/ 2295 h 21600"/>
              <a:gd name="connsiteX16" fmla="*/ 7159 w 24094"/>
              <a:gd name="connsiteY16" fmla="*/ 6320 h 21600"/>
              <a:gd name="connsiteX17" fmla="*/ 8199 w 24094"/>
              <a:gd name="connsiteY17" fmla="*/ 2295 h 21600"/>
              <a:gd name="connsiteX18" fmla="*/ 10647 w 24094"/>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277 w 24094"/>
              <a:gd name="connsiteY12" fmla="*/ 10885 h 21600"/>
              <a:gd name="connsiteX13" fmla="*/ 0 w 24094"/>
              <a:gd name="connsiteY13" fmla="*/ 9419 h 21600"/>
              <a:gd name="connsiteX14" fmla="*/ 4474 w 24094"/>
              <a:gd name="connsiteY14" fmla="*/ 7617 h 21600"/>
              <a:gd name="connsiteX15" fmla="*/ 217 w 24094"/>
              <a:gd name="connsiteY15" fmla="*/ 2295 h 21600"/>
              <a:gd name="connsiteX16" fmla="*/ 7159 w 24094"/>
              <a:gd name="connsiteY16" fmla="*/ 6320 h 21600"/>
              <a:gd name="connsiteX17" fmla="*/ 8199 w 24094"/>
              <a:gd name="connsiteY17" fmla="*/ 2295 h 21600"/>
              <a:gd name="connsiteX18" fmla="*/ 10647 w 24094"/>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277 w 24094"/>
              <a:gd name="connsiteY12" fmla="*/ 10885 h 21600"/>
              <a:gd name="connsiteX13" fmla="*/ 0 w 24094"/>
              <a:gd name="connsiteY13" fmla="*/ 9419 h 21600"/>
              <a:gd name="connsiteX14" fmla="*/ 5259 w 24094"/>
              <a:gd name="connsiteY14" fmla="*/ 7868 h 21600"/>
              <a:gd name="connsiteX15" fmla="*/ 217 w 24094"/>
              <a:gd name="connsiteY15" fmla="*/ 2295 h 21600"/>
              <a:gd name="connsiteX16" fmla="*/ 7159 w 24094"/>
              <a:gd name="connsiteY16" fmla="*/ 6320 h 21600"/>
              <a:gd name="connsiteX17" fmla="*/ 8199 w 24094"/>
              <a:gd name="connsiteY17" fmla="*/ 2295 h 21600"/>
              <a:gd name="connsiteX18" fmla="*/ 10647 w 24094"/>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277 w 24094"/>
              <a:gd name="connsiteY12" fmla="*/ 10885 h 21600"/>
              <a:gd name="connsiteX13" fmla="*/ 0 w 24094"/>
              <a:gd name="connsiteY13" fmla="*/ 9419 h 21600"/>
              <a:gd name="connsiteX14" fmla="*/ 5259 w 24094"/>
              <a:gd name="connsiteY14" fmla="*/ 7868 h 21600"/>
              <a:gd name="connsiteX15" fmla="*/ 217 w 24094"/>
              <a:gd name="connsiteY15" fmla="*/ 2295 h 21600"/>
              <a:gd name="connsiteX16" fmla="*/ 7428 w 24094"/>
              <a:gd name="connsiteY16" fmla="*/ 5827 h 21600"/>
              <a:gd name="connsiteX17" fmla="*/ 8199 w 24094"/>
              <a:gd name="connsiteY17" fmla="*/ 2295 h 21600"/>
              <a:gd name="connsiteX18" fmla="*/ 10647 w 24094"/>
              <a:gd name="connsiteY18" fmla="*/ 5800 h 21600"/>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601 w 24094"/>
              <a:gd name="connsiteY8" fmla="*/ 14953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601 w 24094"/>
              <a:gd name="connsiteY8" fmla="*/ 14953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601 w 24094"/>
              <a:gd name="connsiteY8" fmla="*/ 14953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284 w 24094"/>
              <a:gd name="connsiteY8" fmla="*/ 12901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287 w 24094"/>
              <a:gd name="connsiteY8" fmla="*/ 13456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415 w 24094"/>
              <a:gd name="connsiteY8" fmla="*/ 13844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19979"/>
              <a:gd name="connsiteX1" fmla="*/ 15107 w 24094"/>
              <a:gd name="connsiteY1" fmla="*/ 0 h 19979"/>
              <a:gd name="connsiteX2" fmla="*/ 14101 w 24094"/>
              <a:gd name="connsiteY2" fmla="*/ 7264 h 19979"/>
              <a:gd name="connsiteX3" fmla="*/ 19163 w 24094"/>
              <a:gd name="connsiteY3" fmla="*/ 7593 h 19979"/>
              <a:gd name="connsiteX4" fmla="*/ 16012 w 24094"/>
              <a:gd name="connsiteY4" fmla="*/ 9967 h 19979"/>
              <a:gd name="connsiteX5" fmla="*/ 24094 w 24094"/>
              <a:gd name="connsiteY5" fmla="*/ 14180 h 19979"/>
              <a:gd name="connsiteX6" fmla="*/ 15057 w 24094"/>
              <a:gd name="connsiteY6" fmla="*/ 13202 h 19979"/>
              <a:gd name="connsiteX7" fmla="*/ 17325 w 24094"/>
              <a:gd name="connsiteY7" fmla="*/ 18089 h 19979"/>
              <a:gd name="connsiteX8" fmla="*/ 10415 w 24094"/>
              <a:gd name="connsiteY8" fmla="*/ 13844 h 19979"/>
              <a:gd name="connsiteX9" fmla="*/ 7917 w 24094"/>
              <a:gd name="connsiteY9" fmla="*/ 19979 h 19979"/>
              <a:gd name="connsiteX10" fmla="*/ 6953 w 24094"/>
              <a:gd name="connsiteY10" fmla="*/ 13857 h 19979"/>
              <a:gd name="connsiteX11" fmla="*/ 1271 w 24094"/>
              <a:gd name="connsiteY11" fmla="*/ 15743 h 19979"/>
              <a:gd name="connsiteX12" fmla="*/ 5277 w 24094"/>
              <a:gd name="connsiteY12" fmla="*/ 11203 h 19979"/>
              <a:gd name="connsiteX13" fmla="*/ 0 w 24094"/>
              <a:gd name="connsiteY13" fmla="*/ 9737 h 19979"/>
              <a:gd name="connsiteX14" fmla="*/ 5259 w 24094"/>
              <a:gd name="connsiteY14" fmla="*/ 8186 h 19979"/>
              <a:gd name="connsiteX15" fmla="*/ 217 w 24094"/>
              <a:gd name="connsiteY15" fmla="*/ 2613 h 19979"/>
              <a:gd name="connsiteX16" fmla="*/ 7428 w 24094"/>
              <a:gd name="connsiteY16" fmla="*/ 6145 h 19979"/>
              <a:gd name="connsiteX17" fmla="*/ 8199 w 24094"/>
              <a:gd name="connsiteY17" fmla="*/ 2613 h 19979"/>
              <a:gd name="connsiteX18" fmla="*/ 10647 w 24094"/>
              <a:gd name="connsiteY18" fmla="*/ 6118 h 19979"/>
              <a:gd name="connsiteX0" fmla="*/ 10647 w 24094"/>
              <a:gd name="connsiteY0" fmla="*/ 6118 h 19979"/>
              <a:gd name="connsiteX1" fmla="*/ 15107 w 24094"/>
              <a:gd name="connsiteY1" fmla="*/ 0 h 19979"/>
              <a:gd name="connsiteX2" fmla="*/ 14101 w 24094"/>
              <a:gd name="connsiteY2" fmla="*/ 7264 h 19979"/>
              <a:gd name="connsiteX3" fmla="*/ 19163 w 24094"/>
              <a:gd name="connsiteY3" fmla="*/ 7593 h 19979"/>
              <a:gd name="connsiteX4" fmla="*/ 16012 w 24094"/>
              <a:gd name="connsiteY4" fmla="*/ 9967 h 19979"/>
              <a:gd name="connsiteX5" fmla="*/ 24094 w 24094"/>
              <a:gd name="connsiteY5" fmla="*/ 14180 h 19979"/>
              <a:gd name="connsiteX6" fmla="*/ 15057 w 24094"/>
              <a:gd name="connsiteY6" fmla="*/ 13202 h 19979"/>
              <a:gd name="connsiteX7" fmla="*/ 16510 w 24094"/>
              <a:gd name="connsiteY7" fmla="*/ 17331 h 19979"/>
              <a:gd name="connsiteX8" fmla="*/ 10415 w 24094"/>
              <a:gd name="connsiteY8" fmla="*/ 13844 h 19979"/>
              <a:gd name="connsiteX9" fmla="*/ 7917 w 24094"/>
              <a:gd name="connsiteY9" fmla="*/ 19979 h 19979"/>
              <a:gd name="connsiteX10" fmla="*/ 6953 w 24094"/>
              <a:gd name="connsiteY10" fmla="*/ 13857 h 19979"/>
              <a:gd name="connsiteX11" fmla="*/ 1271 w 24094"/>
              <a:gd name="connsiteY11" fmla="*/ 15743 h 19979"/>
              <a:gd name="connsiteX12" fmla="*/ 5277 w 24094"/>
              <a:gd name="connsiteY12" fmla="*/ 11203 h 19979"/>
              <a:gd name="connsiteX13" fmla="*/ 0 w 24094"/>
              <a:gd name="connsiteY13" fmla="*/ 9737 h 19979"/>
              <a:gd name="connsiteX14" fmla="*/ 5259 w 24094"/>
              <a:gd name="connsiteY14" fmla="*/ 8186 h 19979"/>
              <a:gd name="connsiteX15" fmla="*/ 217 w 24094"/>
              <a:gd name="connsiteY15" fmla="*/ 2613 h 19979"/>
              <a:gd name="connsiteX16" fmla="*/ 7428 w 24094"/>
              <a:gd name="connsiteY16" fmla="*/ 6145 h 19979"/>
              <a:gd name="connsiteX17" fmla="*/ 8199 w 24094"/>
              <a:gd name="connsiteY17" fmla="*/ 2613 h 19979"/>
              <a:gd name="connsiteX18" fmla="*/ 10647 w 24094"/>
              <a:gd name="connsiteY18" fmla="*/ 6118 h 1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094" h="19979">
                <a:moveTo>
                  <a:pt x="10647" y="6118"/>
                </a:moveTo>
                <a:lnTo>
                  <a:pt x="15107" y="0"/>
                </a:lnTo>
                <a:lnTo>
                  <a:pt x="14101" y="7264"/>
                </a:lnTo>
                <a:lnTo>
                  <a:pt x="19163" y="7593"/>
                </a:lnTo>
                <a:lnTo>
                  <a:pt x="16012" y="9967"/>
                </a:lnTo>
                <a:lnTo>
                  <a:pt x="24094" y="14180"/>
                </a:lnTo>
                <a:lnTo>
                  <a:pt x="15057" y="13202"/>
                </a:lnTo>
                <a:lnTo>
                  <a:pt x="16510" y="17331"/>
                </a:lnTo>
                <a:lnTo>
                  <a:pt x="10415" y="13844"/>
                </a:lnTo>
                <a:lnTo>
                  <a:pt x="7917" y="19979"/>
                </a:lnTo>
                <a:lnTo>
                  <a:pt x="6953" y="13857"/>
                </a:lnTo>
                <a:lnTo>
                  <a:pt x="1271" y="15743"/>
                </a:lnTo>
                <a:lnTo>
                  <a:pt x="5277" y="11203"/>
                </a:lnTo>
                <a:lnTo>
                  <a:pt x="0" y="9737"/>
                </a:lnTo>
                <a:lnTo>
                  <a:pt x="5259" y="8186"/>
                </a:lnTo>
                <a:lnTo>
                  <a:pt x="217" y="2613"/>
                </a:lnTo>
                <a:lnTo>
                  <a:pt x="7428" y="6145"/>
                </a:lnTo>
                <a:lnTo>
                  <a:pt x="8199" y="2613"/>
                </a:lnTo>
                <a:lnTo>
                  <a:pt x="10647" y="6118"/>
                </a:lnTo>
                <a:close/>
              </a:path>
            </a:pathLst>
          </a:custGeom>
          <a:gradFill flip="none" rotWithShape="1">
            <a:gsLst>
              <a:gs pos="69000">
                <a:schemeClr val="bg2"/>
              </a:gs>
              <a:gs pos="26000">
                <a:schemeClr val="bg2">
                  <a:lumMod val="60000"/>
                  <a:lumOff val="40000"/>
                </a:schemeClr>
              </a:gs>
              <a:gs pos="0">
                <a:schemeClr val="bg2">
                  <a:lumMod val="40000"/>
                  <a:lumOff val="60000"/>
                </a:schemeClr>
              </a:gs>
            </a:gsLst>
            <a:path path="circle">
              <a:fillToRect l="50000" t="50000" r="50000" b="50000"/>
            </a:path>
            <a:tileRect/>
          </a:gradFill>
          <a:ln w="6350" cap="flat" cmpd="sng" algn="ctr">
            <a:noFill/>
            <a:prstDash val="solid"/>
            <a:round/>
            <a:headEnd type="none" w="med" len="med"/>
            <a:tailEnd type="none" w="med" len="med"/>
          </a:ln>
          <a:effectLst/>
        </p:spPr>
        <p:txBody>
          <a:bodyPr vert="horz" wrap="square" lIns="24923" tIns="32400" rIns="24923" bIns="32400" numCol="1" rtlCol="0" anchor="ctr" anchorCtr="0" compatLnSpc="1">
            <a:prstTxWarp prst="textNoShape">
              <a:avLst/>
            </a:prstTxWarp>
          </a:bodyPr>
          <a:lstStyle/>
          <a:p>
            <a:pPr algn="ctr" defTabSz="844083" eaLnBrk="1" hangingPunct="1">
              <a:spcBef>
                <a:spcPts val="0"/>
              </a:spcBef>
              <a:spcAft>
                <a:spcPts val="0"/>
              </a:spcAft>
              <a:defRPr/>
            </a:pPr>
            <a:endParaRPr lang="de-DE" sz="831" b="1" dirty="0">
              <a:solidFill>
                <a:srgbClr val="FFFFFF"/>
              </a:solidFill>
              <a:latin typeface="Arial"/>
              <a:cs typeface="Arial" charset="0"/>
            </a:endParaRPr>
          </a:p>
        </p:txBody>
      </p:sp>
      <p:sp>
        <p:nvSpPr>
          <p:cNvPr id="50" name="Explosion 1 3"/>
          <p:cNvSpPr/>
          <p:nvPr/>
        </p:nvSpPr>
        <p:spPr bwMode="auto">
          <a:xfrm rot="7956911">
            <a:off x="4294439" y="2948941"/>
            <a:ext cx="219182" cy="159258"/>
          </a:xfrm>
          <a:custGeom>
            <a:avLst/>
            <a:gdLst>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8145 w 21600"/>
              <a:gd name="connsiteY9" fmla="*/ 18095 h 21600"/>
              <a:gd name="connsiteX10" fmla="*/ 14020 w 21600"/>
              <a:gd name="connsiteY10" fmla="*/ 14457 h 21600"/>
              <a:gd name="connsiteX11" fmla="*/ 13247 w 21600"/>
              <a:gd name="connsiteY11" fmla="*/ 19737 h 21600"/>
              <a:gd name="connsiteX12" fmla="*/ 10532 w 21600"/>
              <a:gd name="connsiteY12" fmla="*/ 14935 h 21600"/>
              <a:gd name="connsiteX13" fmla="*/ 8485 w 21600"/>
              <a:gd name="connsiteY13" fmla="*/ 21600 h 21600"/>
              <a:gd name="connsiteX14" fmla="*/ 7715 w 21600"/>
              <a:gd name="connsiteY14" fmla="*/ 15627 h 21600"/>
              <a:gd name="connsiteX15" fmla="*/ 4762 w 21600"/>
              <a:gd name="connsiteY15" fmla="*/ 17617 h 21600"/>
              <a:gd name="connsiteX16" fmla="*/ 5667 w 21600"/>
              <a:gd name="connsiteY16" fmla="*/ 13937 h 21600"/>
              <a:gd name="connsiteX17" fmla="*/ 135 w 21600"/>
              <a:gd name="connsiteY17" fmla="*/ 14587 h 21600"/>
              <a:gd name="connsiteX18" fmla="*/ 3722 w 21600"/>
              <a:gd name="connsiteY18" fmla="*/ 11775 h 21600"/>
              <a:gd name="connsiteX19" fmla="*/ 0 w 21600"/>
              <a:gd name="connsiteY19" fmla="*/ 8615 h 21600"/>
              <a:gd name="connsiteX20" fmla="*/ 4627 w 21600"/>
              <a:gd name="connsiteY20" fmla="*/ 7617 h 21600"/>
              <a:gd name="connsiteX21" fmla="*/ 370 w 21600"/>
              <a:gd name="connsiteY21" fmla="*/ 2295 h 21600"/>
              <a:gd name="connsiteX22" fmla="*/ 7312 w 21600"/>
              <a:gd name="connsiteY22" fmla="*/ 6320 h 21600"/>
              <a:gd name="connsiteX23" fmla="*/ 8352 w 21600"/>
              <a:gd name="connsiteY23" fmla="*/ 2295 h 21600"/>
              <a:gd name="connsiteX24" fmla="*/ 10800 w 21600"/>
              <a:gd name="connsiteY24"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8145 w 21600"/>
              <a:gd name="connsiteY9" fmla="*/ 18095 h 21600"/>
              <a:gd name="connsiteX10" fmla="*/ 14020 w 21600"/>
              <a:gd name="connsiteY10" fmla="*/ 14457 h 21600"/>
              <a:gd name="connsiteX11" fmla="*/ 10532 w 21600"/>
              <a:gd name="connsiteY11" fmla="*/ 14935 h 21600"/>
              <a:gd name="connsiteX12" fmla="*/ 8485 w 21600"/>
              <a:gd name="connsiteY12" fmla="*/ 21600 h 21600"/>
              <a:gd name="connsiteX13" fmla="*/ 7715 w 21600"/>
              <a:gd name="connsiteY13" fmla="*/ 15627 h 21600"/>
              <a:gd name="connsiteX14" fmla="*/ 4762 w 21600"/>
              <a:gd name="connsiteY14" fmla="*/ 17617 h 21600"/>
              <a:gd name="connsiteX15" fmla="*/ 5667 w 21600"/>
              <a:gd name="connsiteY15" fmla="*/ 13937 h 21600"/>
              <a:gd name="connsiteX16" fmla="*/ 135 w 21600"/>
              <a:gd name="connsiteY16" fmla="*/ 14587 h 21600"/>
              <a:gd name="connsiteX17" fmla="*/ 3722 w 21600"/>
              <a:gd name="connsiteY17" fmla="*/ 11775 h 21600"/>
              <a:gd name="connsiteX18" fmla="*/ 0 w 21600"/>
              <a:gd name="connsiteY18" fmla="*/ 8615 h 21600"/>
              <a:gd name="connsiteX19" fmla="*/ 4627 w 21600"/>
              <a:gd name="connsiteY19" fmla="*/ 7617 h 21600"/>
              <a:gd name="connsiteX20" fmla="*/ 370 w 21600"/>
              <a:gd name="connsiteY20" fmla="*/ 2295 h 21600"/>
              <a:gd name="connsiteX21" fmla="*/ 7312 w 21600"/>
              <a:gd name="connsiteY21" fmla="*/ 6320 h 21600"/>
              <a:gd name="connsiteX22" fmla="*/ 8352 w 21600"/>
              <a:gd name="connsiteY22" fmla="*/ 2295 h 21600"/>
              <a:gd name="connsiteX23" fmla="*/ 10800 w 21600"/>
              <a:gd name="connsiteY23"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8145 w 21600"/>
              <a:gd name="connsiteY9" fmla="*/ 18095 h 21600"/>
              <a:gd name="connsiteX10" fmla="*/ 10532 w 21600"/>
              <a:gd name="connsiteY10" fmla="*/ 149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9669 w 21600"/>
              <a:gd name="connsiteY9" fmla="*/ 19605 h 21600"/>
              <a:gd name="connsiteX10" fmla="*/ 10532 w 21600"/>
              <a:gd name="connsiteY10" fmla="*/ 149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9669 w 21600"/>
              <a:gd name="connsiteY9" fmla="*/ 19605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5210 w 21600"/>
              <a:gd name="connsiteY8" fmla="*/ 12884 h 21600"/>
              <a:gd name="connsiteX9" fmla="*/ 19669 w 21600"/>
              <a:gd name="connsiteY9" fmla="*/ 19605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5210 w 21600"/>
              <a:gd name="connsiteY8" fmla="*/ 12884 h 21600"/>
              <a:gd name="connsiteX9" fmla="*/ 19188 w 21600"/>
              <a:gd name="connsiteY9" fmla="*/ 18513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5210 w 21600"/>
              <a:gd name="connsiteY8" fmla="*/ 12884 h 21600"/>
              <a:gd name="connsiteX9" fmla="*/ 17478 w 21600"/>
              <a:gd name="connsiteY9" fmla="*/ 17771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4247"/>
              <a:gd name="connsiteY0" fmla="*/ 5800 h 21600"/>
              <a:gd name="connsiteX1" fmla="*/ 14522 w 24247"/>
              <a:gd name="connsiteY1" fmla="*/ 0 h 21600"/>
              <a:gd name="connsiteX2" fmla="*/ 14155 w 24247"/>
              <a:gd name="connsiteY2" fmla="*/ 5325 h 21600"/>
              <a:gd name="connsiteX3" fmla="*/ 18380 w 24247"/>
              <a:gd name="connsiteY3" fmla="*/ 4457 h 21600"/>
              <a:gd name="connsiteX4" fmla="*/ 16702 w 24247"/>
              <a:gd name="connsiteY4" fmla="*/ 7315 h 21600"/>
              <a:gd name="connsiteX5" fmla="*/ 21097 w 24247"/>
              <a:gd name="connsiteY5" fmla="*/ 8137 h 21600"/>
              <a:gd name="connsiteX6" fmla="*/ 17607 w 24247"/>
              <a:gd name="connsiteY6" fmla="*/ 10475 h 21600"/>
              <a:gd name="connsiteX7" fmla="*/ 24247 w 24247"/>
              <a:gd name="connsiteY7" fmla="*/ 13862 h 21600"/>
              <a:gd name="connsiteX8" fmla="*/ 15210 w 24247"/>
              <a:gd name="connsiteY8" fmla="*/ 12884 h 21600"/>
              <a:gd name="connsiteX9" fmla="*/ 17478 w 24247"/>
              <a:gd name="connsiteY9" fmla="*/ 17771 h 21600"/>
              <a:gd name="connsiteX10" fmla="*/ 10754 w 24247"/>
              <a:gd name="connsiteY10" fmla="*/ 14635 h 21600"/>
              <a:gd name="connsiteX11" fmla="*/ 8485 w 24247"/>
              <a:gd name="connsiteY11" fmla="*/ 21600 h 21600"/>
              <a:gd name="connsiteX12" fmla="*/ 7715 w 24247"/>
              <a:gd name="connsiteY12" fmla="*/ 15627 h 21600"/>
              <a:gd name="connsiteX13" fmla="*/ 4762 w 24247"/>
              <a:gd name="connsiteY13" fmla="*/ 17617 h 21600"/>
              <a:gd name="connsiteX14" fmla="*/ 5667 w 24247"/>
              <a:gd name="connsiteY14" fmla="*/ 13937 h 21600"/>
              <a:gd name="connsiteX15" fmla="*/ 135 w 24247"/>
              <a:gd name="connsiteY15" fmla="*/ 14587 h 21600"/>
              <a:gd name="connsiteX16" fmla="*/ 3722 w 24247"/>
              <a:gd name="connsiteY16" fmla="*/ 11775 h 21600"/>
              <a:gd name="connsiteX17" fmla="*/ 0 w 24247"/>
              <a:gd name="connsiteY17" fmla="*/ 8615 h 21600"/>
              <a:gd name="connsiteX18" fmla="*/ 4627 w 24247"/>
              <a:gd name="connsiteY18" fmla="*/ 7617 h 21600"/>
              <a:gd name="connsiteX19" fmla="*/ 370 w 24247"/>
              <a:gd name="connsiteY19" fmla="*/ 2295 h 21600"/>
              <a:gd name="connsiteX20" fmla="*/ 7312 w 24247"/>
              <a:gd name="connsiteY20" fmla="*/ 6320 h 21600"/>
              <a:gd name="connsiteX21" fmla="*/ 8352 w 24247"/>
              <a:gd name="connsiteY21" fmla="*/ 2295 h 21600"/>
              <a:gd name="connsiteX22" fmla="*/ 10800 w 24247"/>
              <a:gd name="connsiteY22" fmla="*/ 5800 h 21600"/>
              <a:gd name="connsiteX0" fmla="*/ 10800 w 24247"/>
              <a:gd name="connsiteY0" fmla="*/ 5800 h 21600"/>
              <a:gd name="connsiteX1" fmla="*/ 14522 w 24247"/>
              <a:gd name="connsiteY1" fmla="*/ 0 h 21600"/>
              <a:gd name="connsiteX2" fmla="*/ 14155 w 24247"/>
              <a:gd name="connsiteY2" fmla="*/ 5325 h 21600"/>
              <a:gd name="connsiteX3" fmla="*/ 18380 w 24247"/>
              <a:gd name="connsiteY3" fmla="*/ 4457 h 21600"/>
              <a:gd name="connsiteX4" fmla="*/ 16702 w 24247"/>
              <a:gd name="connsiteY4" fmla="*/ 7315 h 21600"/>
              <a:gd name="connsiteX5" fmla="*/ 20651 w 24247"/>
              <a:gd name="connsiteY5" fmla="*/ 7513 h 21600"/>
              <a:gd name="connsiteX6" fmla="*/ 17607 w 24247"/>
              <a:gd name="connsiteY6" fmla="*/ 10475 h 21600"/>
              <a:gd name="connsiteX7" fmla="*/ 24247 w 24247"/>
              <a:gd name="connsiteY7" fmla="*/ 13862 h 21600"/>
              <a:gd name="connsiteX8" fmla="*/ 15210 w 24247"/>
              <a:gd name="connsiteY8" fmla="*/ 12884 h 21600"/>
              <a:gd name="connsiteX9" fmla="*/ 17478 w 24247"/>
              <a:gd name="connsiteY9" fmla="*/ 17771 h 21600"/>
              <a:gd name="connsiteX10" fmla="*/ 10754 w 24247"/>
              <a:gd name="connsiteY10" fmla="*/ 14635 h 21600"/>
              <a:gd name="connsiteX11" fmla="*/ 8485 w 24247"/>
              <a:gd name="connsiteY11" fmla="*/ 21600 h 21600"/>
              <a:gd name="connsiteX12" fmla="*/ 7715 w 24247"/>
              <a:gd name="connsiteY12" fmla="*/ 15627 h 21600"/>
              <a:gd name="connsiteX13" fmla="*/ 4762 w 24247"/>
              <a:gd name="connsiteY13" fmla="*/ 17617 h 21600"/>
              <a:gd name="connsiteX14" fmla="*/ 5667 w 24247"/>
              <a:gd name="connsiteY14" fmla="*/ 13937 h 21600"/>
              <a:gd name="connsiteX15" fmla="*/ 135 w 24247"/>
              <a:gd name="connsiteY15" fmla="*/ 14587 h 21600"/>
              <a:gd name="connsiteX16" fmla="*/ 3722 w 24247"/>
              <a:gd name="connsiteY16" fmla="*/ 11775 h 21600"/>
              <a:gd name="connsiteX17" fmla="*/ 0 w 24247"/>
              <a:gd name="connsiteY17" fmla="*/ 8615 h 21600"/>
              <a:gd name="connsiteX18" fmla="*/ 4627 w 24247"/>
              <a:gd name="connsiteY18" fmla="*/ 7617 h 21600"/>
              <a:gd name="connsiteX19" fmla="*/ 370 w 24247"/>
              <a:gd name="connsiteY19" fmla="*/ 2295 h 21600"/>
              <a:gd name="connsiteX20" fmla="*/ 7312 w 24247"/>
              <a:gd name="connsiteY20" fmla="*/ 6320 h 21600"/>
              <a:gd name="connsiteX21" fmla="*/ 8352 w 24247"/>
              <a:gd name="connsiteY21" fmla="*/ 2295 h 21600"/>
              <a:gd name="connsiteX22" fmla="*/ 10800 w 24247"/>
              <a:gd name="connsiteY22" fmla="*/ 5800 h 21600"/>
              <a:gd name="connsiteX0" fmla="*/ 10800 w 24247"/>
              <a:gd name="connsiteY0" fmla="*/ 5800 h 21600"/>
              <a:gd name="connsiteX1" fmla="*/ 14522 w 24247"/>
              <a:gd name="connsiteY1" fmla="*/ 0 h 21600"/>
              <a:gd name="connsiteX2" fmla="*/ 14155 w 24247"/>
              <a:gd name="connsiteY2" fmla="*/ 5325 h 21600"/>
              <a:gd name="connsiteX3" fmla="*/ 16702 w 24247"/>
              <a:gd name="connsiteY3" fmla="*/ 7315 h 21600"/>
              <a:gd name="connsiteX4" fmla="*/ 20651 w 24247"/>
              <a:gd name="connsiteY4" fmla="*/ 7513 h 21600"/>
              <a:gd name="connsiteX5" fmla="*/ 17607 w 24247"/>
              <a:gd name="connsiteY5" fmla="*/ 10475 h 21600"/>
              <a:gd name="connsiteX6" fmla="*/ 24247 w 24247"/>
              <a:gd name="connsiteY6" fmla="*/ 13862 h 21600"/>
              <a:gd name="connsiteX7" fmla="*/ 15210 w 24247"/>
              <a:gd name="connsiteY7" fmla="*/ 12884 h 21600"/>
              <a:gd name="connsiteX8" fmla="*/ 17478 w 24247"/>
              <a:gd name="connsiteY8" fmla="*/ 17771 h 21600"/>
              <a:gd name="connsiteX9" fmla="*/ 10754 w 24247"/>
              <a:gd name="connsiteY9" fmla="*/ 14635 h 21600"/>
              <a:gd name="connsiteX10" fmla="*/ 8485 w 24247"/>
              <a:gd name="connsiteY10" fmla="*/ 21600 h 21600"/>
              <a:gd name="connsiteX11" fmla="*/ 7715 w 24247"/>
              <a:gd name="connsiteY11" fmla="*/ 15627 h 21600"/>
              <a:gd name="connsiteX12" fmla="*/ 4762 w 24247"/>
              <a:gd name="connsiteY12" fmla="*/ 17617 h 21600"/>
              <a:gd name="connsiteX13" fmla="*/ 5667 w 24247"/>
              <a:gd name="connsiteY13" fmla="*/ 13937 h 21600"/>
              <a:gd name="connsiteX14" fmla="*/ 135 w 24247"/>
              <a:gd name="connsiteY14" fmla="*/ 14587 h 21600"/>
              <a:gd name="connsiteX15" fmla="*/ 3722 w 24247"/>
              <a:gd name="connsiteY15" fmla="*/ 11775 h 21600"/>
              <a:gd name="connsiteX16" fmla="*/ 0 w 24247"/>
              <a:gd name="connsiteY16" fmla="*/ 8615 h 21600"/>
              <a:gd name="connsiteX17" fmla="*/ 4627 w 24247"/>
              <a:gd name="connsiteY17" fmla="*/ 7617 h 21600"/>
              <a:gd name="connsiteX18" fmla="*/ 370 w 24247"/>
              <a:gd name="connsiteY18" fmla="*/ 2295 h 21600"/>
              <a:gd name="connsiteX19" fmla="*/ 7312 w 24247"/>
              <a:gd name="connsiteY19" fmla="*/ 6320 h 21600"/>
              <a:gd name="connsiteX20" fmla="*/ 8352 w 24247"/>
              <a:gd name="connsiteY20" fmla="*/ 2295 h 21600"/>
              <a:gd name="connsiteX21" fmla="*/ 10800 w 24247"/>
              <a:gd name="connsiteY21" fmla="*/ 5800 h 21600"/>
              <a:gd name="connsiteX0" fmla="*/ 10800 w 24247"/>
              <a:gd name="connsiteY0" fmla="*/ 5800 h 21600"/>
              <a:gd name="connsiteX1" fmla="*/ 14522 w 24247"/>
              <a:gd name="connsiteY1" fmla="*/ 0 h 21600"/>
              <a:gd name="connsiteX2" fmla="*/ 16702 w 24247"/>
              <a:gd name="connsiteY2" fmla="*/ 7315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5534 w 24247"/>
              <a:gd name="connsiteY4" fmla="*/ 10202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19316 w 24247"/>
              <a:gd name="connsiteY3" fmla="*/ 7275 h 21600"/>
              <a:gd name="connsiteX4" fmla="*/ 15534 w 24247"/>
              <a:gd name="connsiteY4" fmla="*/ 10202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5667 w 24247"/>
              <a:gd name="connsiteY11" fmla="*/ 13937 h 21600"/>
              <a:gd name="connsiteX12" fmla="*/ 135 w 24247"/>
              <a:gd name="connsiteY12" fmla="*/ 14587 h 21600"/>
              <a:gd name="connsiteX13" fmla="*/ 3722 w 24247"/>
              <a:gd name="connsiteY13" fmla="*/ 11775 h 21600"/>
              <a:gd name="connsiteX14" fmla="*/ 0 w 24247"/>
              <a:gd name="connsiteY14" fmla="*/ 8615 h 21600"/>
              <a:gd name="connsiteX15" fmla="*/ 4627 w 24247"/>
              <a:gd name="connsiteY15" fmla="*/ 7617 h 21600"/>
              <a:gd name="connsiteX16" fmla="*/ 370 w 24247"/>
              <a:gd name="connsiteY16" fmla="*/ 2295 h 21600"/>
              <a:gd name="connsiteX17" fmla="*/ 7312 w 24247"/>
              <a:gd name="connsiteY17" fmla="*/ 6320 h 21600"/>
              <a:gd name="connsiteX18" fmla="*/ 8352 w 24247"/>
              <a:gd name="connsiteY18" fmla="*/ 2295 h 21600"/>
              <a:gd name="connsiteX19" fmla="*/ 10800 w 24247"/>
              <a:gd name="connsiteY19"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5667 w 24247"/>
              <a:gd name="connsiteY10" fmla="*/ 13937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5667 w 24247"/>
              <a:gd name="connsiteY10" fmla="*/ 13937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5667 w 24247"/>
              <a:gd name="connsiteY10" fmla="*/ 13937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424 w 24247"/>
              <a:gd name="connsiteY11" fmla="*/ 15425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424 w 24247"/>
              <a:gd name="connsiteY11" fmla="*/ 15425 h 21600"/>
              <a:gd name="connsiteX12" fmla="*/ 5290 w 24247"/>
              <a:gd name="connsiteY12" fmla="*/ 11461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424 w 24247"/>
              <a:gd name="connsiteY11" fmla="*/ 15425 h 21600"/>
              <a:gd name="connsiteX12" fmla="*/ 5524 w 24247"/>
              <a:gd name="connsiteY12" fmla="*/ 11317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371 w 24094"/>
              <a:gd name="connsiteY12" fmla="*/ 11317 h 21600"/>
              <a:gd name="connsiteX13" fmla="*/ 0 w 24094"/>
              <a:gd name="connsiteY13" fmla="*/ 9419 h 21600"/>
              <a:gd name="connsiteX14" fmla="*/ 4474 w 24094"/>
              <a:gd name="connsiteY14" fmla="*/ 7617 h 21600"/>
              <a:gd name="connsiteX15" fmla="*/ 217 w 24094"/>
              <a:gd name="connsiteY15" fmla="*/ 2295 h 21600"/>
              <a:gd name="connsiteX16" fmla="*/ 7159 w 24094"/>
              <a:gd name="connsiteY16" fmla="*/ 6320 h 21600"/>
              <a:gd name="connsiteX17" fmla="*/ 8199 w 24094"/>
              <a:gd name="connsiteY17" fmla="*/ 2295 h 21600"/>
              <a:gd name="connsiteX18" fmla="*/ 10647 w 24094"/>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277 w 24094"/>
              <a:gd name="connsiteY12" fmla="*/ 10885 h 21600"/>
              <a:gd name="connsiteX13" fmla="*/ 0 w 24094"/>
              <a:gd name="connsiteY13" fmla="*/ 9419 h 21600"/>
              <a:gd name="connsiteX14" fmla="*/ 4474 w 24094"/>
              <a:gd name="connsiteY14" fmla="*/ 7617 h 21600"/>
              <a:gd name="connsiteX15" fmla="*/ 217 w 24094"/>
              <a:gd name="connsiteY15" fmla="*/ 2295 h 21600"/>
              <a:gd name="connsiteX16" fmla="*/ 7159 w 24094"/>
              <a:gd name="connsiteY16" fmla="*/ 6320 h 21600"/>
              <a:gd name="connsiteX17" fmla="*/ 8199 w 24094"/>
              <a:gd name="connsiteY17" fmla="*/ 2295 h 21600"/>
              <a:gd name="connsiteX18" fmla="*/ 10647 w 24094"/>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277 w 24094"/>
              <a:gd name="connsiteY12" fmla="*/ 10885 h 21600"/>
              <a:gd name="connsiteX13" fmla="*/ 0 w 24094"/>
              <a:gd name="connsiteY13" fmla="*/ 9419 h 21600"/>
              <a:gd name="connsiteX14" fmla="*/ 5259 w 24094"/>
              <a:gd name="connsiteY14" fmla="*/ 7868 h 21600"/>
              <a:gd name="connsiteX15" fmla="*/ 217 w 24094"/>
              <a:gd name="connsiteY15" fmla="*/ 2295 h 21600"/>
              <a:gd name="connsiteX16" fmla="*/ 7159 w 24094"/>
              <a:gd name="connsiteY16" fmla="*/ 6320 h 21600"/>
              <a:gd name="connsiteX17" fmla="*/ 8199 w 24094"/>
              <a:gd name="connsiteY17" fmla="*/ 2295 h 21600"/>
              <a:gd name="connsiteX18" fmla="*/ 10647 w 24094"/>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277 w 24094"/>
              <a:gd name="connsiteY12" fmla="*/ 10885 h 21600"/>
              <a:gd name="connsiteX13" fmla="*/ 0 w 24094"/>
              <a:gd name="connsiteY13" fmla="*/ 9419 h 21600"/>
              <a:gd name="connsiteX14" fmla="*/ 5259 w 24094"/>
              <a:gd name="connsiteY14" fmla="*/ 7868 h 21600"/>
              <a:gd name="connsiteX15" fmla="*/ 217 w 24094"/>
              <a:gd name="connsiteY15" fmla="*/ 2295 h 21600"/>
              <a:gd name="connsiteX16" fmla="*/ 7428 w 24094"/>
              <a:gd name="connsiteY16" fmla="*/ 5827 h 21600"/>
              <a:gd name="connsiteX17" fmla="*/ 8199 w 24094"/>
              <a:gd name="connsiteY17" fmla="*/ 2295 h 21600"/>
              <a:gd name="connsiteX18" fmla="*/ 10647 w 24094"/>
              <a:gd name="connsiteY18" fmla="*/ 5800 h 21600"/>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601 w 24094"/>
              <a:gd name="connsiteY8" fmla="*/ 14953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601 w 24094"/>
              <a:gd name="connsiteY8" fmla="*/ 14953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601 w 24094"/>
              <a:gd name="connsiteY8" fmla="*/ 14953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284 w 24094"/>
              <a:gd name="connsiteY8" fmla="*/ 12901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287 w 24094"/>
              <a:gd name="connsiteY8" fmla="*/ 13456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415 w 24094"/>
              <a:gd name="connsiteY8" fmla="*/ 13844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9163 w 24094"/>
              <a:gd name="connsiteY2" fmla="*/ 7593 h 21918"/>
              <a:gd name="connsiteX3" fmla="*/ 16012 w 24094"/>
              <a:gd name="connsiteY3" fmla="*/ 9967 h 21918"/>
              <a:gd name="connsiteX4" fmla="*/ 24094 w 24094"/>
              <a:gd name="connsiteY4" fmla="*/ 14180 h 21918"/>
              <a:gd name="connsiteX5" fmla="*/ 15057 w 24094"/>
              <a:gd name="connsiteY5" fmla="*/ 13202 h 21918"/>
              <a:gd name="connsiteX6" fmla="*/ 17325 w 24094"/>
              <a:gd name="connsiteY6" fmla="*/ 18089 h 21918"/>
              <a:gd name="connsiteX7" fmla="*/ 10415 w 24094"/>
              <a:gd name="connsiteY7" fmla="*/ 13844 h 21918"/>
              <a:gd name="connsiteX8" fmla="*/ 8332 w 24094"/>
              <a:gd name="connsiteY8" fmla="*/ 21918 h 21918"/>
              <a:gd name="connsiteX9" fmla="*/ 6953 w 24094"/>
              <a:gd name="connsiteY9" fmla="*/ 13857 h 21918"/>
              <a:gd name="connsiteX10" fmla="*/ 1271 w 24094"/>
              <a:gd name="connsiteY10" fmla="*/ 15743 h 21918"/>
              <a:gd name="connsiteX11" fmla="*/ 5277 w 24094"/>
              <a:gd name="connsiteY11" fmla="*/ 11203 h 21918"/>
              <a:gd name="connsiteX12" fmla="*/ 0 w 24094"/>
              <a:gd name="connsiteY12" fmla="*/ 9737 h 21918"/>
              <a:gd name="connsiteX13" fmla="*/ 5259 w 24094"/>
              <a:gd name="connsiteY13" fmla="*/ 8186 h 21918"/>
              <a:gd name="connsiteX14" fmla="*/ 217 w 24094"/>
              <a:gd name="connsiteY14" fmla="*/ 2613 h 21918"/>
              <a:gd name="connsiteX15" fmla="*/ 7428 w 24094"/>
              <a:gd name="connsiteY15" fmla="*/ 6145 h 21918"/>
              <a:gd name="connsiteX16" fmla="*/ 8199 w 24094"/>
              <a:gd name="connsiteY16" fmla="*/ 2613 h 21918"/>
              <a:gd name="connsiteX17" fmla="*/ 10647 w 24094"/>
              <a:gd name="connsiteY17" fmla="*/ 6118 h 21918"/>
              <a:gd name="connsiteX0" fmla="*/ 10647 w 24094"/>
              <a:gd name="connsiteY0" fmla="*/ 6118 h 21918"/>
              <a:gd name="connsiteX1" fmla="*/ 15107 w 24094"/>
              <a:gd name="connsiteY1" fmla="*/ 0 h 21918"/>
              <a:gd name="connsiteX2" fmla="*/ 16012 w 24094"/>
              <a:gd name="connsiteY2" fmla="*/ 9967 h 21918"/>
              <a:gd name="connsiteX3" fmla="*/ 24094 w 24094"/>
              <a:gd name="connsiteY3" fmla="*/ 14180 h 21918"/>
              <a:gd name="connsiteX4" fmla="*/ 15057 w 24094"/>
              <a:gd name="connsiteY4" fmla="*/ 13202 h 21918"/>
              <a:gd name="connsiteX5" fmla="*/ 17325 w 24094"/>
              <a:gd name="connsiteY5" fmla="*/ 18089 h 21918"/>
              <a:gd name="connsiteX6" fmla="*/ 10415 w 24094"/>
              <a:gd name="connsiteY6" fmla="*/ 13844 h 21918"/>
              <a:gd name="connsiteX7" fmla="*/ 8332 w 24094"/>
              <a:gd name="connsiteY7" fmla="*/ 21918 h 21918"/>
              <a:gd name="connsiteX8" fmla="*/ 6953 w 24094"/>
              <a:gd name="connsiteY8" fmla="*/ 13857 h 21918"/>
              <a:gd name="connsiteX9" fmla="*/ 1271 w 24094"/>
              <a:gd name="connsiteY9" fmla="*/ 15743 h 21918"/>
              <a:gd name="connsiteX10" fmla="*/ 5277 w 24094"/>
              <a:gd name="connsiteY10" fmla="*/ 11203 h 21918"/>
              <a:gd name="connsiteX11" fmla="*/ 0 w 24094"/>
              <a:gd name="connsiteY11" fmla="*/ 9737 h 21918"/>
              <a:gd name="connsiteX12" fmla="*/ 5259 w 24094"/>
              <a:gd name="connsiteY12" fmla="*/ 8186 h 21918"/>
              <a:gd name="connsiteX13" fmla="*/ 217 w 24094"/>
              <a:gd name="connsiteY13" fmla="*/ 2613 h 21918"/>
              <a:gd name="connsiteX14" fmla="*/ 7428 w 24094"/>
              <a:gd name="connsiteY14" fmla="*/ 6145 h 21918"/>
              <a:gd name="connsiteX15" fmla="*/ 8199 w 24094"/>
              <a:gd name="connsiteY15" fmla="*/ 2613 h 21918"/>
              <a:gd name="connsiteX16" fmla="*/ 10647 w 24094"/>
              <a:gd name="connsiteY16" fmla="*/ 6118 h 21918"/>
              <a:gd name="connsiteX0" fmla="*/ 10647 w 24094"/>
              <a:gd name="connsiteY0" fmla="*/ 6118 h 21918"/>
              <a:gd name="connsiteX1" fmla="*/ 15107 w 24094"/>
              <a:gd name="connsiteY1" fmla="*/ 0 h 21918"/>
              <a:gd name="connsiteX2" fmla="*/ 14018 w 24094"/>
              <a:gd name="connsiteY2" fmla="*/ 8431 h 21918"/>
              <a:gd name="connsiteX3" fmla="*/ 24094 w 24094"/>
              <a:gd name="connsiteY3" fmla="*/ 14180 h 21918"/>
              <a:gd name="connsiteX4" fmla="*/ 15057 w 24094"/>
              <a:gd name="connsiteY4" fmla="*/ 13202 h 21918"/>
              <a:gd name="connsiteX5" fmla="*/ 17325 w 24094"/>
              <a:gd name="connsiteY5" fmla="*/ 18089 h 21918"/>
              <a:gd name="connsiteX6" fmla="*/ 10415 w 24094"/>
              <a:gd name="connsiteY6" fmla="*/ 13844 h 21918"/>
              <a:gd name="connsiteX7" fmla="*/ 8332 w 24094"/>
              <a:gd name="connsiteY7" fmla="*/ 21918 h 21918"/>
              <a:gd name="connsiteX8" fmla="*/ 6953 w 24094"/>
              <a:gd name="connsiteY8" fmla="*/ 13857 h 21918"/>
              <a:gd name="connsiteX9" fmla="*/ 1271 w 24094"/>
              <a:gd name="connsiteY9" fmla="*/ 15743 h 21918"/>
              <a:gd name="connsiteX10" fmla="*/ 5277 w 24094"/>
              <a:gd name="connsiteY10" fmla="*/ 11203 h 21918"/>
              <a:gd name="connsiteX11" fmla="*/ 0 w 24094"/>
              <a:gd name="connsiteY11" fmla="*/ 9737 h 21918"/>
              <a:gd name="connsiteX12" fmla="*/ 5259 w 24094"/>
              <a:gd name="connsiteY12" fmla="*/ 8186 h 21918"/>
              <a:gd name="connsiteX13" fmla="*/ 217 w 24094"/>
              <a:gd name="connsiteY13" fmla="*/ 2613 h 21918"/>
              <a:gd name="connsiteX14" fmla="*/ 7428 w 24094"/>
              <a:gd name="connsiteY14" fmla="*/ 6145 h 21918"/>
              <a:gd name="connsiteX15" fmla="*/ 8199 w 24094"/>
              <a:gd name="connsiteY15" fmla="*/ 2613 h 21918"/>
              <a:gd name="connsiteX16" fmla="*/ 10647 w 24094"/>
              <a:gd name="connsiteY16" fmla="*/ 6118 h 21918"/>
              <a:gd name="connsiteX0" fmla="*/ 10647 w 24094"/>
              <a:gd name="connsiteY0" fmla="*/ 6118 h 21918"/>
              <a:gd name="connsiteX1" fmla="*/ 15107 w 24094"/>
              <a:gd name="connsiteY1" fmla="*/ 0 h 21918"/>
              <a:gd name="connsiteX2" fmla="*/ 14018 w 24094"/>
              <a:gd name="connsiteY2" fmla="*/ 8431 h 21918"/>
              <a:gd name="connsiteX3" fmla="*/ 24094 w 24094"/>
              <a:gd name="connsiteY3" fmla="*/ 14180 h 21918"/>
              <a:gd name="connsiteX4" fmla="*/ 15057 w 24094"/>
              <a:gd name="connsiteY4" fmla="*/ 13202 h 21918"/>
              <a:gd name="connsiteX5" fmla="*/ 17325 w 24094"/>
              <a:gd name="connsiteY5" fmla="*/ 18089 h 21918"/>
              <a:gd name="connsiteX6" fmla="*/ 10415 w 24094"/>
              <a:gd name="connsiteY6" fmla="*/ 13844 h 21918"/>
              <a:gd name="connsiteX7" fmla="*/ 8332 w 24094"/>
              <a:gd name="connsiteY7" fmla="*/ 21918 h 21918"/>
              <a:gd name="connsiteX8" fmla="*/ 6953 w 24094"/>
              <a:gd name="connsiteY8" fmla="*/ 13857 h 21918"/>
              <a:gd name="connsiteX9" fmla="*/ 1271 w 24094"/>
              <a:gd name="connsiteY9" fmla="*/ 15743 h 21918"/>
              <a:gd name="connsiteX10" fmla="*/ 5277 w 24094"/>
              <a:gd name="connsiteY10" fmla="*/ 11203 h 21918"/>
              <a:gd name="connsiteX11" fmla="*/ 0 w 24094"/>
              <a:gd name="connsiteY11" fmla="*/ 9737 h 21918"/>
              <a:gd name="connsiteX12" fmla="*/ 5259 w 24094"/>
              <a:gd name="connsiteY12" fmla="*/ 8186 h 21918"/>
              <a:gd name="connsiteX13" fmla="*/ 217 w 24094"/>
              <a:gd name="connsiteY13" fmla="*/ 2613 h 21918"/>
              <a:gd name="connsiteX14" fmla="*/ 7428 w 24094"/>
              <a:gd name="connsiteY14" fmla="*/ 6145 h 21918"/>
              <a:gd name="connsiteX15" fmla="*/ 8199 w 24094"/>
              <a:gd name="connsiteY15" fmla="*/ 2613 h 21918"/>
              <a:gd name="connsiteX16" fmla="*/ 10647 w 24094"/>
              <a:gd name="connsiteY16" fmla="*/ 6118 h 21918"/>
              <a:gd name="connsiteX0" fmla="*/ 10647 w 24094"/>
              <a:gd name="connsiteY0" fmla="*/ 6118 h 21918"/>
              <a:gd name="connsiteX1" fmla="*/ 15107 w 24094"/>
              <a:gd name="connsiteY1" fmla="*/ 0 h 21918"/>
              <a:gd name="connsiteX2" fmla="*/ 14018 w 24094"/>
              <a:gd name="connsiteY2" fmla="*/ 8431 h 21918"/>
              <a:gd name="connsiteX3" fmla="*/ 24094 w 24094"/>
              <a:gd name="connsiteY3" fmla="*/ 14180 h 21918"/>
              <a:gd name="connsiteX4" fmla="*/ 15057 w 24094"/>
              <a:gd name="connsiteY4" fmla="*/ 13202 h 21918"/>
              <a:gd name="connsiteX5" fmla="*/ 17325 w 24094"/>
              <a:gd name="connsiteY5" fmla="*/ 18089 h 21918"/>
              <a:gd name="connsiteX6" fmla="*/ 10415 w 24094"/>
              <a:gd name="connsiteY6" fmla="*/ 13844 h 21918"/>
              <a:gd name="connsiteX7" fmla="*/ 8332 w 24094"/>
              <a:gd name="connsiteY7" fmla="*/ 21918 h 21918"/>
              <a:gd name="connsiteX8" fmla="*/ 6953 w 24094"/>
              <a:gd name="connsiteY8" fmla="*/ 13857 h 21918"/>
              <a:gd name="connsiteX9" fmla="*/ 1271 w 24094"/>
              <a:gd name="connsiteY9" fmla="*/ 15743 h 21918"/>
              <a:gd name="connsiteX10" fmla="*/ 5277 w 24094"/>
              <a:gd name="connsiteY10" fmla="*/ 11203 h 21918"/>
              <a:gd name="connsiteX11" fmla="*/ 0 w 24094"/>
              <a:gd name="connsiteY11" fmla="*/ 9737 h 21918"/>
              <a:gd name="connsiteX12" fmla="*/ 5259 w 24094"/>
              <a:gd name="connsiteY12" fmla="*/ 8186 h 21918"/>
              <a:gd name="connsiteX13" fmla="*/ 217 w 24094"/>
              <a:gd name="connsiteY13" fmla="*/ 2613 h 21918"/>
              <a:gd name="connsiteX14" fmla="*/ 7428 w 24094"/>
              <a:gd name="connsiteY14" fmla="*/ 6145 h 21918"/>
              <a:gd name="connsiteX15" fmla="*/ 8199 w 24094"/>
              <a:gd name="connsiteY15" fmla="*/ 2613 h 21918"/>
              <a:gd name="connsiteX16" fmla="*/ 10647 w 24094"/>
              <a:gd name="connsiteY16" fmla="*/ 6118 h 21918"/>
              <a:gd name="connsiteX0" fmla="*/ 10647 w 23080"/>
              <a:gd name="connsiteY0" fmla="*/ 6118 h 21918"/>
              <a:gd name="connsiteX1" fmla="*/ 15107 w 23080"/>
              <a:gd name="connsiteY1" fmla="*/ 0 h 21918"/>
              <a:gd name="connsiteX2" fmla="*/ 14018 w 23080"/>
              <a:gd name="connsiteY2" fmla="*/ 8431 h 21918"/>
              <a:gd name="connsiteX3" fmla="*/ 23080 w 23080"/>
              <a:gd name="connsiteY3" fmla="*/ 12662 h 21918"/>
              <a:gd name="connsiteX4" fmla="*/ 15057 w 23080"/>
              <a:gd name="connsiteY4" fmla="*/ 13202 h 21918"/>
              <a:gd name="connsiteX5" fmla="*/ 17325 w 23080"/>
              <a:gd name="connsiteY5" fmla="*/ 18089 h 21918"/>
              <a:gd name="connsiteX6" fmla="*/ 10415 w 23080"/>
              <a:gd name="connsiteY6" fmla="*/ 13844 h 21918"/>
              <a:gd name="connsiteX7" fmla="*/ 8332 w 23080"/>
              <a:gd name="connsiteY7" fmla="*/ 21918 h 21918"/>
              <a:gd name="connsiteX8" fmla="*/ 6953 w 23080"/>
              <a:gd name="connsiteY8" fmla="*/ 13857 h 21918"/>
              <a:gd name="connsiteX9" fmla="*/ 1271 w 23080"/>
              <a:gd name="connsiteY9" fmla="*/ 15743 h 21918"/>
              <a:gd name="connsiteX10" fmla="*/ 5277 w 23080"/>
              <a:gd name="connsiteY10" fmla="*/ 11203 h 21918"/>
              <a:gd name="connsiteX11" fmla="*/ 0 w 23080"/>
              <a:gd name="connsiteY11" fmla="*/ 9737 h 21918"/>
              <a:gd name="connsiteX12" fmla="*/ 5259 w 23080"/>
              <a:gd name="connsiteY12" fmla="*/ 8186 h 21918"/>
              <a:gd name="connsiteX13" fmla="*/ 217 w 23080"/>
              <a:gd name="connsiteY13" fmla="*/ 2613 h 21918"/>
              <a:gd name="connsiteX14" fmla="*/ 7428 w 23080"/>
              <a:gd name="connsiteY14" fmla="*/ 6145 h 21918"/>
              <a:gd name="connsiteX15" fmla="*/ 8199 w 23080"/>
              <a:gd name="connsiteY15" fmla="*/ 2613 h 21918"/>
              <a:gd name="connsiteX16" fmla="*/ 10647 w 23080"/>
              <a:gd name="connsiteY16" fmla="*/ 6118 h 21918"/>
              <a:gd name="connsiteX0" fmla="*/ 10647 w 23080"/>
              <a:gd name="connsiteY0" fmla="*/ 6118 h 21918"/>
              <a:gd name="connsiteX1" fmla="*/ 15107 w 23080"/>
              <a:gd name="connsiteY1" fmla="*/ 0 h 21918"/>
              <a:gd name="connsiteX2" fmla="*/ 14018 w 23080"/>
              <a:gd name="connsiteY2" fmla="*/ 8431 h 21918"/>
              <a:gd name="connsiteX3" fmla="*/ 23080 w 23080"/>
              <a:gd name="connsiteY3" fmla="*/ 12662 h 21918"/>
              <a:gd name="connsiteX4" fmla="*/ 15057 w 23080"/>
              <a:gd name="connsiteY4" fmla="*/ 13202 h 21918"/>
              <a:gd name="connsiteX5" fmla="*/ 16069 w 23080"/>
              <a:gd name="connsiteY5" fmla="*/ 16597 h 21918"/>
              <a:gd name="connsiteX6" fmla="*/ 10415 w 23080"/>
              <a:gd name="connsiteY6" fmla="*/ 13844 h 21918"/>
              <a:gd name="connsiteX7" fmla="*/ 8332 w 23080"/>
              <a:gd name="connsiteY7" fmla="*/ 21918 h 21918"/>
              <a:gd name="connsiteX8" fmla="*/ 6953 w 23080"/>
              <a:gd name="connsiteY8" fmla="*/ 13857 h 21918"/>
              <a:gd name="connsiteX9" fmla="*/ 1271 w 23080"/>
              <a:gd name="connsiteY9" fmla="*/ 15743 h 21918"/>
              <a:gd name="connsiteX10" fmla="*/ 5277 w 23080"/>
              <a:gd name="connsiteY10" fmla="*/ 11203 h 21918"/>
              <a:gd name="connsiteX11" fmla="*/ 0 w 23080"/>
              <a:gd name="connsiteY11" fmla="*/ 9737 h 21918"/>
              <a:gd name="connsiteX12" fmla="*/ 5259 w 23080"/>
              <a:gd name="connsiteY12" fmla="*/ 8186 h 21918"/>
              <a:gd name="connsiteX13" fmla="*/ 217 w 23080"/>
              <a:gd name="connsiteY13" fmla="*/ 2613 h 21918"/>
              <a:gd name="connsiteX14" fmla="*/ 7428 w 23080"/>
              <a:gd name="connsiteY14" fmla="*/ 6145 h 21918"/>
              <a:gd name="connsiteX15" fmla="*/ 8199 w 23080"/>
              <a:gd name="connsiteY15" fmla="*/ 2613 h 21918"/>
              <a:gd name="connsiteX16" fmla="*/ 10647 w 23080"/>
              <a:gd name="connsiteY16" fmla="*/ 6118 h 21918"/>
              <a:gd name="connsiteX0" fmla="*/ 10647 w 23080"/>
              <a:gd name="connsiteY0" fmla="*/ 6118 h 21918"/>
              <a:gd name="connsiteX1" fmla="*/ 15107 w 23080"/>
              <a:gd name="connsiteY1" fmla="*/ 0 h 21918"/>
              <a:gd name="connsiteX2" fmla="*/ 14018 w 23080"/>
              <a:gd name="connsiteY2" fmla="*/ 8431 h 21918"/>
              <a:gd name="connsiteX3" fmla="*/ 23080 w 23080"/>
              <a:gd name="connsiteY3" fmla="*/ 12662 h 21918"/>
              <a:gd name="connsiteX4" fmla="*/ 14163 w 23080"/>
              <a:gd name="connsiteY4" fmla="*/ 11671 h 21918"/>
              <a:gd name="connsiteX5" fmla="*/ 16069 w 23080"/>
              <a:gd name="connsiteY5" fmla="*/ 16597 h 21918"/>
              <a:gd name="connsiteX6" fmla="*/ 10415 w 23080"/>
              <a:gd name="connsiteY6" fmla="*/ 13844 h 21918"/>
              <a:gd name="connsiteX7" fmla="*/ 8332 w 23080"/>
              <a:gd name="connsiteY7" fmla="*/ 21918 h 21918"/>
              <a:gd name="connsiteX8" fmla="*/ 6953 w 23080"/>
              <a:gd name="connsiteY8" fmla="*/ 13857 h 21918"/>
              <a:gd name="connsiteX9" fmla="*/ 1271 w 23080"/>
              <a:gd name="connsiteY9" fmla="*/ 15743 h 21918"/>
              <a:gd name="connsiteX10" fmla="*/ 5277 w 23080"/>
              <a:gd name="connsiteY10" fmla="*/ 11203 h 21918"/>
              <a:gd name="connsiteX11" fmla="*/ 0 w 23080"/>
              <a:gd name="connsiteY11" fmla="*/ 9737 h 21918"/>
              <a:gd name="connsiteX12" fmla="*/ 5259 w 23080"/>
              <a:gd name="connsiteY12" fmla="*/ 8186 h 21918"/>
              <a:gd name="connsiteX13" fmla="*/ 217 w 23080"/>
              <a:gd name="connsiteY13" fmla="*/ 2613 h 21918"/>
              <a:gd name="connsiteX14" fmla="*/ 7428 w 23080"/>
              <a:gd name="connsiteY14" fmla="*/ 6145 h 21918"/>
              <a:gd name="connsiteX15" fmla="*/ 8199 w 23080"/>
              <a:gd name="connsiteY15" fmla="*/ 2613 h 21918"/>
              <a:gd name="connsiteX16" fmla="*/ 10647 w 23080"/>
              <a:gd name="connsiteY16" fmla="*/ 6118 h 21918"/>
              <a:gd name="connsiteX0" fmla="*/ 10647 w 20330"/>
              <a:gd name="connsiteY0" fmla="*/ 6118 h 21918"/>
              <a:gd name="connsiteX1" fmla="*/ 15107 w 20330"/>
              <a:gd name="connsiteY1" fmla="*/ 0 h 21918"/>
              <a:gd name="connsiteX2" fmla="*/ 14018 w 20330"/>
              <a:gd name="connsiteY2" fmla="*/ 8431 h 21918"/>
              <a:gd name="connsiteX3" fmla="*/ 20330 w 20330"/>
              <a:gd name="connsiteY3" fmla="*/ 12087 h 21918"/>
              <a:gd name="connsiteX4" fmla="*/ 14163 w 20330"/>
              <a:gd name="connsiteY4" fmla="*/ 11671 h 21918"/>
              <a:gd name="connsiteX5" fmla="*/ 16069 w 20330"/>
              <a:gd name="connsiteY5" fmla="*/ 16597 h 21918"/>
              <a:gd name="connsiteX6" fmla="*/ 10415 w 20330"/>
              <a:gd name="connsiteY6" fmla="*/ 13844 h 21918"/>
              <a:gd name="connsiteX7" fmla="*/ 8332 w 20330"/>
              <a:gd name="connsiteY7" fmla="*/ 21918 h 21918"/>
              <a:gd name="connsiteX8" fmla="*/ 6953 w 20330"/>
              <a:gd name="connsiteY8" fmla="*/ 13857 h 21918"/>
              <a:gd name="connsiteX9" fmla="*/ 1271 w 20330"/>
              <a:gd name="connsiteY9" fmla="*/ 15743 h 21918"/>
              <a:gd name="connsiteX10" fmla="*/ 5277 w 20330"/>
              <a:gd name="connsiteY10" fmla="*/ 11203 h 21918"/>
              <a:gd name="connsiteX11" fmla="*/ 0 w 20330"/>
              <a:gd name="connsiteY11" fmla="*/ 9737 h 21918"/>
              <a:gd name="connsiteX12" fmla="*/ 5259 w 20330"/>
              <a:gd name="connsiteY12" fmla="*/ 8186 h 21918"/>
              <a:gd name="connsiteX13" fmla="*/ 217 w 20330"/>
              <a:gd name="connsiteY13" fmla="*/ 2613 h 21918"/>
              <a:gd name="connsiteX14" fmla="*/ 7428 w 20330"/>
              <a:gd name="connsiteY14" fmla="*/ 6145 h 21918"/>
              <a:gd name="connsiteX15" fmla="*/ 8199 w 20330"/>
              <a:gd name="connsiteY15" fmla="*/ 2613 h 21918"/>
              <a:gd name="connsiteX16" fmla="*/ 10647 w 20330"/>
              <a:gd name="connsiteY16" fmla="*/ 6118 h 21918"/>
              <a:gd name="connsiteX0" fmla="*/ 10647 w 20330"/>
              <a:gd name="connsiteY0" fmla="*/ 6118 h 21918"/>
              <a:gd name="connsiteX1" fmla="*/ 15107 w 20330"/>
              <a:gd name="connsiteY1" fmla="*/ 0 h 21918"/>
              <a:gd name="connsiteX2" fmla="*/ 14018 w 20330"/>
              <a:gd name="connsiteY2" fmla="*/ 8431 h 21918"/>
              <a:gd name="connsiteX3" fmla="*/ 20330 w 20330"/>
              <a:gd name="connsiteY3" fmla="*/ 12087 h 21918"/>
              <a:gd name="connsiteX4" fmla="*/ 14163 w 20330"/>
              <a:gd name="connsiteY4" fmla="*/ 11671 h 21918"/>
              <a:gd name="connsiteX5" fmla="*/ 16069 w 20330"/>
              <a:gd name="connsiteY5" fmla="*/ 16597 h 21918"/>
              <a:gd name="connsiteX6" fmla="*/ 10415 w 20330"/>
              <a:gd name="connsiteY6" fmla="*/ 13844 h 21918"/>
              <a:gd name="connsiteX7" fmla="*/ 8332 w 20330"/>
              <a:gd name="connsiteY7" fmla="*/ 21918 h 21918"/>
              <a:gd name="connsiteX8" fmla="*/ 6953 w 20330"/>
              <a:gd name="connsiteY8" fmla="*/ 13857 h 21918"/>
              <a:gd name="connsiteX9" fmla="*/ 1271 w 20330"/>
              <a:gd name="connsiteY9" fmla="*/ 15743 h 21918"/>
              <a:gd name="connsiteX10" fmla="*/ 5277 w 20330"/>
              <a:gd name="connsiteY10" fmla="*/ 11203 h 21918"/>
              <a:gd name="connsiteX11" fmla="*/ 0 w 20330"/>
              <a:gd name="connsiteY11" fmla="*/ 9737 h 21918"/>
              <a:gd name="connsiteX12" fmla="*/ 5259 w 20330"/>
              <a:gd name="connsiteY12" fmla="*/ 8186 h 21918"/>
              <a:gd name="connsiteX13" fmla="*/ 217 w 20330"/>
              <a:gd name="connsiteY13" fmla="*/ 2613 h 21918"/>
              <a:gd name="connsiteX14" fmla="*/ 7428 w 20330"/>
              <a:gd name="connsiteY14" fmla="*/ 6145 h 21918"/>
              <a:gd name="connsiteX15" fmla="*/ 8044 w 20330"/>
              <a:gd name="connsiteY15" fmla="*/ 1126 h 21918"/>
              <a:gd name="connsiteX16" fmla="*/ 10647 w 20330"/>
              <a:gd name="connsiteY16" fmla="*/ 6118 h 21918"/>
              <a:gd name="connsiteX0" fmla="*/ 10647 w 20330"/>
              <a:gd name="connsiteY0" fmla="*/ 6118 h 21918"/>
              <a:gd name="connsiteX1" fmla="*/ 15107 w 20330"/>
              <a:gd name="connsiteY1" fmla="*/ 0 h 21918"/>
              <a:gd name="connsiteX2" fmla="*/ 14018 w 20330"/>
              <a:gd name="connsiteY2" fmla="*/ 8431 h 21918"/>
              <a:gd name="connsiteX3" fmla="*/ 20330 w 20330"/>
              <a:gd name="connsiteY3" fmla="*/ 12087 h 21918"/>
              <a:gd name="connsiteX4" fmla="*/ 14163 w 20330"/>
              <a:gd name="connsiteY4" fmla="*/ 11671 h 21918"/>
              <a:gd name="connsiteX5" fmla="*/ 16069 w 20330"/>
              <a:gd name="connsiteY5" fmla="*/ 16597 h 21918"/>
              <a:gd name="connsiteX6" fmla="*/ 10415 w 20330"/>
              <a:gd name="connsiteY6" fmla="*/ 13844 h 21918"/>
              <a:gd name="connsiteX7" fmla="*/ 8332 w 20330"/>
              <a:gd name="connsiteY7" fmla="*/ 21918 h 21918"/>
              <a:gd name="connsiteX8" fmla="*/ 6953 w 20330"/>
              <a:gd name="connsiteY8" fmla="*/ 13857 h 21918"/>
              <a:gd name="connsiteX9" fmla="*/ 1271 w 20330"/>
              <a:gd name="connsiteY9" fmla="*/ 15743 h 21918"/>
              <a:gd name="connsiteX10" fmla="*/ 5277 w 20330"/>
              <a:gd name="connsiteY10" fmla="*/ 11203 h 21918"/>
              <a:gd name="connsiteX11" fmla="*/ 0 w 20330"/>
              <a:gd name="connsiteY11" fmla="*/ 9737 h 21918"/>
              <a:gd name="connsiteX12" fmla="*/ 5259 w 20330"/>
              <a:gd name="connsiteY12" fmla="*/ 8186 h 21918"/>
              <a:gd name="connsiteX13" fmla="*/ 217 w 20330"/>
              <a:gd name="connsiteY13" fmla="*/ 2613 h 21918"/>
              <a:gd name="connsiteX14" fmla="*/ 7614 w 20330"/>
              <a:gd name="connsiteY14" fmla="*/ 6751 h 21918"/>
              <a:gd name="connsiteX15" fmla="*/ 8044 w 20330"/>
              <a:gd name="connsiteY15" fmla="*/ 1126 h 21918"/>
              <a:gd name="connsiteX16" fmla="*/ 10647 w 20330"/>
              <a:gd name="connsiteY16" fmla="*/ 6118 h 21918"/>
              <a:gd name="connsiteX0" fmla="*/ 10647 w 20330"/>
              <a:gd name="connsiteY0" fmla="*/ 6118 h 21918"/>
              <a:gd name="connsiteX1" fmla="*/ 15107 w 20330"/>
              <a:gd name="connsiteY1" fmla="*/ 0 h 21918"/>
              <a:gd name="connsiteX2" fmla="*/ 14018 w 20330"/>
              <a:gd name="connsiteY2" fmla="*/ 8431 h 21918"/>
              <a:gd name="connsiteX3" fmla="*/ 20330 w 20330"/>
              <a:gd name="connsiteY3" fmla="*/ 12087 h 21918"/>
              <a:gd name="connsiteX4" fmla="*/ 12445 w 20330"/>
              <a:gd name="connsiteY4" fmla="*/ 11609 h 21918"/>
              <a:gd name="connsiteX5" fmla="*/ 16069 w 20330"/>
              <a:gd name="connsiteY5" fmla="*/ 16597 h 21918"/>
              <a:gd name="connsiteX6" fmla="*/ 10415 w 20330"/>
              <a:gd name="connsiteY6" fmla="*/ 13844 h 21918"/>
              <a:gd name="connsiteX7" fmla="*/ 8332 w 20330"/>
              <a:gd name="connsiteY7" fmla="*/ 21918 h 21918"/>
              <a:gd name="connsiteX8" fmla="*/ 6953 w 20330"/>
              <a:gd name="connsiteY8" fmla="*/ 13857 h 21918"/>
              <a:gd name="connsiteX9" fmla="*/ 1271 w 20330"/>
              <a:gd name="connsiteY9" fmla="*/ 15743 h 21918"/>
              <a:gd name="connsiteX10" fmla="*/ 5277 w 20330"/>
              <a:gd name="connsiteY10" fmla="*/ 11203 h 21918"/>
              <a:gd name="connsiteX11" fmla="*/ 0 w 20330"/>
              <a:gd name="connsiteY11" fmla="*/ 9737 h 21918"/>
              <a:gd name="connsiteX12" fmla="*/ 5259 w 20330"/>
              <a:gd name="connsiteY12" fmla="*/ 8186 h 21918"/>
              <a:gd name="connsiteX13" fmla="*/ 217 w 20330"/>
              <a:gd name="connsiteY13" fmla="*/ 2613 h 21918"/>
              <a:gd name="connsiteX14" fmla="*/ 7614 w 20330"/>
              <a:gd name="connsiteY14" fmla="*/ 6751 h 21918"/>
              <a:gd name="connsiteX15" fmla="*/ 8044 w 20330"/>
              <a:gd name="connsiteY15" fmla="*/ 1126 h 21918"/>
              <a:gd name="connsiteX16" fmla="*/ 10647 w 20330"/>
              <a:gd name="connsiteY16" fmla="*/ 6118 h 21918"/>
              <a:gd name="connsiteX0" fmla="*/ 10647 w 20330"/>
              <a:gd name="connsiteY0" fmla="*/ 6118 h 21918"/>
              <a:gd name="connsiteX1" fmla="*/ 15107 w 20330"/>
              <a:gd name="connsiteY1" fmla="*/ 0 h 21918"/>
              <a:gd name="connsiteX2" fmla="*/ 14018 w 20330"/>
              <a:gd name="connsiteY2" fmla="*/ 8431 h 21918"/>
              <a:gd name="connsiteX3" fmla="*/ 20330 w 20330"/>
              <a:gd name="connsiteY3" fmla="*/ 12087 h 21918"/>
              <a:gd name="connsiteX4" fmla="*/ 13062 w 20330"/>
              <a:gd name="connsiteY4" fmla="*/ 11667 h 21918"/>
              <a:gd name="connsiteX5" fmla="*/ 16069 w 20330"/>
              <a:gd name="connsiteY5" fmla="*/ 16597 h 21918"/>
              <a:gd name="connsiteX6" fmla="*/ 10415 w 20330"/>
              <a:gd name="connsiteY6" fmla="*/ 13844 h 21918"/>
              <a:gd name="connsiteX7" fmla="*/ 8332 w 20330"/>
              <a:gd name="connsiteY7" fmla="*/ 21918 h 21918"/>
              <a:gd name="connsiteX8" fmla="*/ 6953 w 20330"/>
              <a:gd name="connsiteY8" fmla="*/ 13857 h 21918"/>
              <a:gd name="connsiteX9" fmla="*/ 1271 w 20330"/>
              <a:gd name="connsiteY9" fmla="*/ 15743 h 21918"/>
              <a:gd name="connsiteX10" fmla="*/ 5277 w 20330"/>
              <a:gd name="connsiteY10" fmla="*/ 11203 h 21918"/>
              <a:gd name="connsiteX11" fmla="*/ 0 w 20330"/>
              <a:gd name="connsiteY11" fmla="*/ 9737 h 21918"/>
              <a:gd name="connsiteX12" fmla="*/ 5259 w 20330"/>
              <a:gd name="connsiteY12" fmla="*/ 8186 h 21918"/>
              <a:gd name="connsiteX13" fmla="*/ 217 w 20330"/>
              <a:gd name="connsiteY13" fmla="*/ 2613 h 21918"/>
              <a:gd name="connsiteX14" fmla="*/ 7614 w 20330"/>
              <a:gd name="connsiteY14" fmla="*/ 6751 h 21918"/>
              <a:gd name="connsiteX15" fmla="*/ 8044 w 20330"/>
              <a:gd name="connsiteY15" fmla="*/ 1126 h 21918"/>
              <a:gd name="connsiteX16" fmla="*/ 10647 w 20330"/>
              <a:gd name="connsiteY16" fmla="*/ 6118 h 21918"/>
              <a:gd name="connsiteX0" fmla="*/ 10647 w 20330"/>
              <a:gd name="connsiteY0" fmla="*/ 6118 h 21918"/>
              <a:gd name="connsiteX1" fmla="*/ 15107 w 20330"/>
              <a:gd name="connsiteY1" fmla="*/ 0 h 21918"/>
              <a:gd name="connsiteX2" fmla="*/ 13483 w 20330"/>
              <a:gd name="connsiteY2" fmla="*/ 7988 h 21918"/>
              <a:gd name="connsiteX3" fmla="*/ 20330 w 20330"/>
              <a:gd name="connsiteY3" fmla="*/ 12087 h 21918"/>
              <a:gd name="connsiteX4" fmla="*/ 13062 w 20330"/>
              <a:gd name="connsiteY4" fmla="*/ 11667 h 21918"/>
              <a:gd name="connsiteX5" fmla="*/ 16069 w 20330"/>
              <a:gd name="connsiteY5" fmla="*/ 16597 h 21918"/>
              <a:gd name="connsiteX6" fmla="*/ 10415 w 20330"/>
              <a:gd name="connsiteY6" fmla="*/ 13844 h 21918"/>
              <a:gd name="connsiteX7" fmla="*/ 8332 w 20330"/>
              <a:gd name="connsiteY7" fmla="*/ 21918 h 21918"/>
              <a:gd name="connsiteX8" fmla="*/ 6953 w 20330"/>
              <a:gd name="connsiteY8" fmla="*/ 13857 h 21918"/>
              <a:gd name="connsiteX9" fmla="*/ 1271 w 20330"/>
              <a:gd name="connsiteY9" fmla="*/ 15743 h 21918"/>
              <a:gd name="connsiteX10" fmla="*/ 5277 w 20330"/>
              <a:gd name="connsiteY10" fmla="*/ 11203 h 21918"/>
              <a:gd name="connsiteX11" fmla="*/ 0 w 20330"/>
              <a:gd name="connsiteY11" fmla="*/ 9737 h 21918"/>
              <a:gd name="connsiteX12" fmla="*/ 5259 w 20330"/>
              <a:gd name="connsiteY12" fmla="*/ 8186 h 21918"/>
              <a:gd name="connsiteX13" fmla="*/ 217 w 20330"/>
              <a:gd name="connsiteY13" fmla="*/ 2613 h 21918"/>
              <a:gd name="connsiteX14" fmla="*/ 7614 w 20330"/>
              <a:gd name="connsiteY14" fmla="*/ 6751 h 21918"/>
              <a:gd name="connsiteX15" fmla="*/ 8044 w 20330"/>
              <a:gd name="connsiteY15" fmla="*/ 1126 h 21918"/>
              <a:gd name="connsiteX16" fmla="*/ 10647 w 20330"/>
              <a:gd name="connsiteY16" fmla="*/ 6118 h 21918"/>
              <a:gd name="connsiteX0" fmla="*/ 10647 w 20330"/>
              <a:gd name="connsiteY0" fmla="*/ 5990 h 21790"/>
              <a:gd name="connsiteX1" fmla="*/ 16221 w 20330"/>
              <a:gd name="connsiteY1" fmla="*/ 0 h 21790"/>
              <a:gd name="connsiteX2" fmla="*/ 13483 w 20330"/>
              <a:gd name="connsiteY2" fmla="*/ 7860 h 21790"/>
              <a:gd name="connsiteX3" fmla="*/ 20330 w 20330"/>
              <a:gd name="connsiteY3" fmla="*/ 11959 h 21790"/>
              <a:gd name="connsiteX4" fmla="*/ 13062 w 20330"/>
              <a:gd name="connsiteY4" fmla="*/ 11539 h 21790"/>
              <a:gd name="connsiteX5" fmla="*/ 16069 w 20330"/>
              <a:gd name="connsiteY5" fmla="*/ 16469 h 21790"/>
              <a:gd name="connsiteX6" fmla="*/ 10415 w 20330"/>
              <a:gd name="connsiteY6" fmla="*/ 13716 h 21790"/>
              <a:gd name="connsiteX7" fmla="*/ 8332 w 20330"/>
              <a:gd name="connsiteY7" fmla="*/ 21790 h 21790"/>
              <a:gd name="connsiteX8" fmla="*/ 6953 w 20330"/>
              <a:gd name="connsiteY8" fmla="*/ 13729 h 21790"/>
              <a:gd name="connsiteX9" fmla="*/ 1271 w 20330"/>
              <a:gd name="connsiteY9" fmla="*/ 15615 h 21790"/>
              <a:gd name="connsiteX10" fmla="*/ 5277 w 20330"/>
              <a:gd name="connsiteY10" fmla="*/ 11075 h 21790"/>
              <a:gd name="connsiteX11" fmla="*/ 0 w 20330"/>
              <a:gd name="connsiteY11" fmla="*/ 9609 h 21790"/>
              <a:gd name="connsiteX12" fmla="*/ 5259 w 20330"/>
              <a:gd name="connsiteY12" fmla="*/ 8058 h 21790"/>
              <a:gd name="connsiteX13" fmla="*/ 217 w 20330"/>
              <a:gd name="connsiteY13" fmla="*/ 2485 h 21790"/>
              <a:gd name="connsiteX14" fmla="*/ 7614 w 20330"/>
              <a:gd name="connsiteY14" fmla="*/ 6623 h 21790"/>
              <a:gd name="connsiteX15" fmla="*/ 8044 w 20330"/>
              <a:gd name="connsiteY15" fmla="*/ 998 h 21790"/>
              <a:gd name="connsiteX16" fmla="*/ 10647 w 20330"/>
              <a:gd name="connsiteY16" fmla="*/ 5990 h 21790"/>
              <a:gd name="connsiteX0" fmla="*/ 10647 w 20749"/>
              <a:gd name="connsiteY0" fmla="*/ 5990 h 21790"/>
              <a:gd name="connsiteX1" fmla="*/ 16221 w 20749"/>
              <a:gd name="connsiteY1" fmla="*/ 0 h 21790"/>
              <a:gd name="connsiteX2" fmla="*/ 13483 w 20749"/>
              <a:gd name="connsiteY2" fmla="*/ 7860 h 21790"/>
              <a:gd name="connsiteX3" fmla="*/ 20749 w 20749"/>
              <a:gd name="connsiteY3" fmla="*/ 11286 h 21790"/>
              <a:gd name="connsiteX4" fmla="*/ 13062 w 20749"/>
              <a:gd name="connsiteY4" fmla="*/ 11539 h 21790"/>
              <a:gd name="connsiteX5" fmla="*/ 16069 w 20749"/>
              <a:gd name="connsiteY5" fmla="*/ 16469 h 21790"/>
              <a:gd name="connsiteX6" fmla="*/ 10415 w 20749"/>
              <a:gd name="connsiteY6" fmla="*/ 13716 h 21790"/>
              <a:gd name="connsiteX7" fmla="*/ 8332 w 20749"/>
              <a:gd name="connsiteY7" fmla="*/ 21790 h 21790"/>
              <a:gd name="connsiteX8" fmla="*/ 6953 w 20749"/>
              <a:gd name="connsiteY8" fmla="*/ 13729 h 21790"/>
              <a:gd name="connsiteX9" fmla="*/ 1271 w 20749"/>
              <a:gd name="connsiteY9" fmla="*/ 15615 h 21790"/>
              <a:gd name="connsiteX10" fmla="*/ 5277 w 20749"/>
              <a:gd name="connsiteY10" fmla="*/ 11075 h 21790"/>
              <a:gd name="connsiteX11" fmla="*/ 0 w 20749"/>
              <a:gd name="connsiteY11" fmla="*/ 9609 h 21790"/>
              <a:gd name="connsiteX12" fmla="*/ 5259 w 20749"/>
              <a:gd name="connsiteY12" fmla="*/ 8058 h 21790"/>
              <a:gd name="connsiteX13" fmla="*/ 217 w 20749"/>
              <a:gd name="connsiteY13" fmla="*/ 2485 h 21790"/>
              <a:gd name="connsiteX14" fmla="*/ 7614 w 20749"/>
              <a:gd name="connsiteY14" fmla="*/ 6623 h 21790"/>
              <a:gd name="connsiteX15" fmla="*/ 8044 w 20749"/>
              <a:gd name="connsiteY15" fmla="*/ 998 h 21790"/>
              <a:gd name="connsiteX16" fmla="*/ 10647 w 20749"/>
              <a:gd name="connsiteY16" fmla="*/ 5990 h 21790"/>
              <a:gd name="connsiteX0" fmla="*/ 10647 w 20749"/>
              <a:gd name="connsiteY0" fmla="*/ 5990 h 21790"/>
              <a:gd name="connsiteX1" fmla="*/ 16221 w 20749"/>
              <a:gd name="connsiteY1" fmla="*/ 0 h 21790"/>
              <a:gd name="connsiteX2" fmla="*/ 13483 w 20749"/>
              <a:gd name="connsiteY2" fmla="*/ 7860 h 21790"/>
              <a:gd name="connsiteX3" fmla="*/ 20749 w 20749"/>
              <a:gd name="connsiteY3" fmla="*/ 11286 h 21790"/>
              <a:gd name="connsiteX4" fmla="*/ 13062 w 20749"/>
              <a:gd name="connsiteY4" fmla="*/ 11539 h 21790"/>
              <a:gd name="connsiteX5" fmla="*/ 16069 w 20749"/>
              <a:gd name="connsiteY5" fmla="*/ 16469 h 21790"/>
              <a:gd name="connsiteX6" fmla="*/ 10415 w 20749"/>
              <a:gd name="connsiteY6" fmla="*/ 13716 h 21790"/>
              <a:gd name="connsiteX7" fmla="*/ 8332 w 20749"/>
              <a:gd name="connsiteY7" fmla="*/ 21790 h 21790"/>
              <a:gd name="connsiteX8" fmla="*/ 6953 w 20749"/>
              <a:gd name="connsiteY8" fmla="*/ 13729 h 21790"/>
              <a:gd name="connsiteX9" fmla="*/ 1271 w 20749"/>
              <a:gd name="connsiteY9" fmla="*/ 15615 h 21790"/>
              <a:gd name="connsiteX10" fmla="*/ 5277 w 20749"/>
              <a:gd name="connsiteY10" fmla="*/ 11075 h 21790"/>
              <a:gd name="connsiteX11" fmla="*/ 0 w 20749"/>
              <a:gd name="connsiteY11" fmla="*/ 9609 h 21790"/>
              <a:gd name="connsiteX12" fmla="*/ 217 w 20749"/>
              <a:gd name="connsiteY12" fmla="*/ 2485 h 21790"/>
              <a:gd name="connsiteX13" fmla="*/ 7614 w 20749"/>
              <a:gd name="connsiteY13" fmla="*/ 6623 h 21790"/>
              <a:gd name="connsiteX14" fmla="*/ 8044 w 20749"/>
              <a:gd name="connsiteY14" fmla="*/ 998 h 21790"/>
              <a:gd name="connsiteX15" fmla="*/ 10647 w 20749"/>
              <a:gd name="connsiteY15" fmla="*/ 5990 h 21790"/>
              <a:gd name="connsiteX0" fmla="*/ 10430 w 20532"/>
              <a:gd name="connsiteY0" fmla="*/ 5990 h 21790"/>
              <a:gd name="connsiteX1" fmla="*/ 16004 w 20532"/>
              <a:gd name="connsiteY1" fmla="*/ 0 h 21790"/>
              <a:gd name="connsiteX2" fmla="*/ 13266 w 20532"/>
              <a:gd name="connsiteY2" fmla="*/ 7860 h 21790"/>
              <a:gd name="connsiteX3" fmla="*/ 20532 w 20532"/>
              <a:gd name="connsiteY3" fmla="*/ 11286 h 21790"/>
              <a:gd name="connsiteX4" fmla="*/ 12845 w 20532"/>
              <a:gd name="connsiteY4" fmla="*/ 11539 h 21790"/>
              <a:gd name="connsiteX5" fmla="*/ 15852 w 20532"/>
              <a:gd name="connsiteY5" fmla="*/ 16469 h 21790"/>
              <a:gd name="connsiteX6" fmla="*/ 10198 w 20532"/>
              <a:gd name="connsiteY6" fmla="*/ 13716 h 21790"/>
              <a:gd name="connsiteX7" fmla="*/ 8115 w 20532"/>
              <a:gd name="connsiteY7" fmla="*/ 21790 h 21790"/>
              <a:gd name="connsiteX8" fmla="*/ 6736 w 20532"/>
              <a:gd name="connsiteY8" fmla="*/ 13729 h 21790"/>
              <a:gd name="connsiteX9" fmla="*/ 1054 w 20532"/>
              <a:gd name="connsiteY9" fmla="*/ 15615 h 21790"/>
              <a:gd name="connsiteX10" fmla="*/ 5060 w 20532"/>
              <a:gd name="connsiteY10" fmla="*/ 11075 h 21790"/>
              <a:gd name="connsiteX11" fmla="*/ 0 w 20532"/>
              <a:gd name="connsiteY11" fmla="*/ 2485 h 21790"/>
              <a:gd name="connsiteX12" fmla="*/ 7397 w 20532"/>
              <a:gd name="connsiteY12" fmla="*/ 6623 h 21790"/>
              <a:gd name="connsiteX13" fmla="*/ 7827 w 20532"/>
              <a:gd name="connsiteY13" fmla="*/ 998 h 21790"/>
              <a:gd name="connsiteX14" fmla="*/ 10430 w 20532"/>
              <a:gd name="connsiteY14" fmla="*/ 5990 h 21790"/>
              <a:gd name="connsiteX0" fmla="*/ 10430 w 20532"/>
              <a:gd name="connsiteY0" fmla="*/ 5990 h 21790"/>
              <a:gd name="connsiteX1" fmla="*/ 16004 w 20532"/>
              <a:gd name="connsiteY1" fmla="*/ 0 h 21790"/>
              <a:gd name="connsiteX2" fmla="*/ 13266 w 20532"/>
              <a:gd name="connsiteY2" fmla="*/ 7860 h 21790"/>
              <a:gd name="connsiteX3" fmla="*/ 20532 w 20532"/>
              <a:gd name="connsiteY3" fmla="*/ 11286 h 21790"/>
              <a:gd name="connsiteX4" fmla="*/ 12845 w 20532"/>
              <a:gd name="connsiteY4" fmla="*/ 11539 h 21790"/>
              <a:gd name="connsiteX5" fmla="*/ 15852 w 20532"/>
              <a:gd name="connsiteY5" fmla="*/ 16469 h 21790"/>
              <a:gd name="connsiteX6" fmla="*/ 10198 w 20532"/>
              <a:gd name="connsiteY6" fmla="*/ 13716 h 21790"/>
              <a:gd name="connsiteX7" fmla="*/ 8115 w 20532"/>
              <a:gd name="connsiteY7" fmla="*/ 21790 h 21790"/>
              <a:gd name="connsiteX8" fmla="*/ 6736 w 20532"/>
              <a:gd name="connsiteY8" fmla="*/ 13729 h 21790"/>
              <a:gd name="connsiteX9" fmla="*/ 1054 w 20532"/>
              <a:gd name="connsiteY9" fmla="*/ 15615 h 21790"/>
              <a:gd name="connsiteX10" fmla="*/ 6165 w 20532"/>
              <a:gd name="connsiteY10" fmla="*/ 9951 h 21790"/>
              <a:gd name="connsiteX11" fmla="*/ 0 w 20532"/>
              <a:gd name="connsiteY11" fmla="*/ 2485 h 21790"/>
              <a:gd name="connsiteX12" fmla="*/ 7397 w 20532"/>
              <a:gd name="connsiteY12" fmla="*/ 6623 h 21790"/>
              <a:gd name="connsiteX13" fmla="*/ 7827 w 20532"/>
              <a:gd name="connsiteY13" fmla="*/ 998 h 21790"/>
              <a:gd name="connsiteX14" fmla="*/ 10430 w 20532"/>
              <a:gd name="connsiteY14" fmla="*/ 5990 h 21790"/>
              <a:gd name="connsiteX0" fmla="*/ 10430 w 20532"/>
              <a:gd name="connsiteY0" fmla="*/ 5990 h 21790"/>
              <a:gd name="connsiteX1" fmla="*/ 16004 w 20532"/>
              <a:gd name="connsiteY1" fmla="*/ 0 h 21790"/>
              <a:gd name="connsiteX2" fmla="*/ 13266 w 20532"/>
              <a:gd name="connsiteY2" fmla="*/ 7860 h 21790"/>
              <a:gd name="connsiteX3" fmla="*/ 20532 w 20532"/>
              <a:gd name="connsiteY3" fmla="*/ 11286 h 21790"/>
              <a:gd name="connsiteX4" fmla="*/ 12845 w 20532"/>
              <a:gd name="connsiteY4" fmla="*/ 11539 h 21790"/>
              <a:gd name="connsiteX5" fmla="*/ 15852 w 20532"/>
              <a:gd name="connsiteY5" fmla="*/ 16469 h 21790"/>
              <a:gd name="connsiteX6" fmla="*/ 10198 w 20532"/>
              <a:gd name="connsiteY6" fmla="*/ 13716 h 21790"/>
              <a:gd name="connsiteX7" fmla="*/ 8115 w 20532"/>
              <a:gd name="connsiteY7" fmla="*/ 21790 h 21790"/>
              <a:gd name="connsiteX8" fmla="*/ 6736 w 20532"/>
              <a:gd name="connsiteY8" fmla="*/ 13729 h 21790"/>
              <a:gd name="connsiteX9" fmla="*/ 1054 w 20532"/>
              <a:gd name="connsiteY9" fmla="*/ 15615 h 21790"/>
              <a:gd name="connsiteX10" fmla="*/ 722 w 20532"/>
              <a:gd name="connsiteY10" fmla="*/ 14749 h 21790"/>
              <a:gd name="connsiteX11" fmla="*/ 6165 w 20532"/>
              <a:gd name="connsiteY11" fmla="*/ 9951 h 21790"/>
              <a:gd name="connsiteX12" fmla="*/ 0 w 20532"/>
              <a:gd name="connsiteY12" fmla="*/ 2485 h 21790"/>
              <a:gd name="connsiteX13" fmla="*/ 7397 w 20532"/>
              <a:gd name="connsiteY13" fmla="*/ 6623 h 21790"/>
              <a:gd name="connsiteX14" fmla="*/ 7827 w 20532"/>
              <a:gd name="connsiteY14" fmla="*/ 998 h 21790"/>
              <a:gd name="connsiteX15" fmla="*/ 10430 w 20532"/>
              <a:gd name="connsiteY15" fmla="*/ 5990 h 21790"/>
              <a:gd name="connsiteX0" fmla="*/ 10430 w 20532"/>
              <a:gd name="connsiteY0" fmla="*/ 5990 h 21790"/>
              <a:gd name="connsiteX1" fmla="*/ 16004 w 20532"/>
              <a:gd name="connsiteY1" fmla="*/ 0 h 21790"/>
              <a:gd name="connsiteX2" fmla="*/ 13266 w 20532"/>
              <a:gd name="connsiteY2" fmla="*/ 7860 h 21790"/>
              <a:gd name="connsiteX3" fmla="*/ 20532 w 20532"/>
              <a:gd name="connsiteY3" fmla="*/ 11286 h 21790"/>
              <a:gd name="connsiteX4" fmla="*/ 12845 w 20532"/>
              <a:gd name="connsiteY4" fmla="*/ 11539 h 21790"/>
              <a:gd name="connsiteX5" fmla="*/ 15852 w 20532"/>
              <a:gd name="connsiteY5" fmla="*/ 16469 h 21790"/>
              <a:gd name="connsiteX6" fmla="*/ 10198 w 20532"/>
              <a:gd name="connsiteY6" fmla="*/ 13716 h 21790"/>
              <a:gd name="connsiteX7" fmla="*/ 8115 w 20532"/>
              <a:gd name="connsiteY7" fmla="*/ 21790 h 21790"/>
              <a:gd name="connsiteX8" fmla="*/ 6736 w 20532"/>
              <a:gd name="connsiteY8" fmla="*/ 13729 h 21790"/>
              <a:gd name="connsiteX9" fmla="*/ 722 w 20532"/>
              <a:gd name="connsiteY9" fmla="*/ 14749 h 21790"/>
              <a:gd name="connsiteX10" fmla="*/ 6165 w 20532"/>
              <a:gd name="connsiteY10" fmla="*/ 9951 h 21790"/>
              <a:gd name="connsiteX11" fmla="*/ 0 w 20532"/>
              <a:gd name="connsiteY11" fmla="*/ 2485 h 21790"/>
              <a:gd name="connsiteX12" fmla="*/ 7397 w 20532"/>
              <a:gd name="connsiteY12" fmla="*/ 6623 h 21790"/>
              <a:gd name="connsiteX13" fmla="*/ 7827 w 20532"/>
              <a:gd name="connsiteY13" fmla="*/ 998 h 21790"/>
              <a:gd name="connsiteX14" fmla="*/ 10430 w 20532"/>
              <a:gd name="connsiteY14" fmla="*/ 5990 h 21790"/>
              <a:gd name="connsiteX0" fmla="*/ 10430 w 20532"/>
              <a:gd name="connsiteY0" fmla="*/ 5990 h 21790"/>
              <a:gd name="connsiteX1" fmla="*/ 16004 w 20532"/>
              <a:gd name="connsiteY1" fmla="*/ 0 h 21790"/>
              <a:gd name="connsiteX2" fmla="*/ 12942 w 20532"/>
              <a:gd name="connsiteY2" fmla="*/ 8272 h 21790"/>
              <a:gd name="connsiteX3" fmla="*/ 20532 w 20532"/>
              <a:gd name="connsiteY3" fmla="*/ 11286 h 21790"/>
              <a:gd name="connsiteX4" fmla="*/ 12845 w 20532"/>
              <a:gd name="connsiteY4" fmla="*/ 11539 h 21790"/>
              <a:gd name="connsiteX5" fmla="*/ 15852 w 20532"/>
              <a:gd name="connsiteY5" fmla="*/ 16469 h 21790"/>
              <a:gd name="connsiteX6" fmla="*/ 10198 w 20532"/>
              <a:gd name="connsiteY6" fmla="*/ 13716 h 21790"/>
              <a:gd name="connsiteX7" fmla="*/ 8115 w 20532"/>
              <a:gd name="connsiteY7" fmla="*/ 21790 h 21790"/>
              <a:gd name="connsiteX8" fmla="*/ 6736 w 20532"/>
              <a:gd name="connsiteY8" fmla="*/ 13729 h 21790"/>
              <a:gd name="connsiteX9" fmla="*/ 722 w 20532"/>
              <a:gd name="connsiteY9" fmla="*/ 14749 h 21790"/>
              <a:gd name="connsiteX10" fmla="*/ 6165 w 20532"/>
              <a:gd name="connsiteY10" fmla="*/ 9951 h 21790"/>
              <a:gd name="connsiteX11" fmla="*/ 0 w 20532"/>
              <a:gd name="connsiteY11" fmla="*/ 2485 h 21790"/>
              <a:gd name="connsiteX12" fmla="*/ 7397 w 20532"/>
              <a:gd name="connsiteY12" fmla="*/ 6623 h 21790"/>
              <a:gd name="connsiteX13" fmla="*/ 7827 w 20532"/>
              <a:gd name="connsiteY13" fmla="*/ 998 h 21790"/>
              <a:gd name="connsiteX14" fmla="*/ 10430 w 20532"/>
              <a:gd name="connsiteY14" fmla="*/ 5990 h 21790"/>
              <a:gd name="connsiteX0" fmla="*/ 10430 w 20532"/>
              <a:gd name="connsiteY0" fmla="*/ 5990 h 21790"/>
              <a:gd name="connsiteX1" fmla="*/ 16004 w 20532"/>
              <a:gd name="connsiteY1" fmla="*/ 0 h 21790"/>
              <a:gd name="connsiteX2" fmla="*/ 12942 w 20532"/>
              <a:gd name="connsiteY2" fmla="*/ 8272 h 21790"/>
              <a:gd name="connsiteX3" fmla="*/ 20532 w 20532"/>
              <a:gd name="connsiteY3" fmla="*/ 11286 h 21790"/>
              <a:gd name="connsiteX4" fmla="*/ 12845 w 20532"/>
              <a:gd name="connsiteY4" fmla="*/ 11539 h 21790"/>
              <a:gd name="connsiteX5" fmla="*/ 14445 w 20532"/>
              <a:gd name="connsiteY5" fmla="*/ 15871 h 21790"/>
              <a:gd name="connsiteX6" fmla="*/ 10198 w 20532"/>
              <a:gd name="connsiteY6" fmla="*/ 13716 h 21790"/>
              <a:gd name="connsiteX7" fmla="*/ 8115 w 20532"/>
              <a:gd name="connsiteY7" fmla="*/ 21790 h 21790"/>
              <a:gd name="connsiteX8" fmla="*/ 6736 w 20532"/>
              <a:gd name="connsiteY8" fmla="*/ 13729 h 21790"/>
              <a:gd name="connsiteX9" fmla="*/ 722 w 20532"/>
              <a:gd name="connsiteY9" fmla="*/ 14749 h 21790"/>
              <a:gd name="connsiteX10" fmla="*/ 6165 w 20532"/>
              <a:gd name="connsiteY10" fmla="*/ 9951 h 21790"/>
              <a:gd name="connsiteX11" fmla="*/ 0 w 20532"/>
              <a:gd name="connsiteY11" fmla="*/ 2485 h 21790"/>
              <a:gd name="connsiteX12" fmla="*/ 7397 w 20532"/>
              <a:gd name="connsiteY12" fmla="*/ 6623 h 21790"/>
              <a:gd name="connsiteX13" fmla="*/ 7827 w 20532"/>
              <a:gd name="connsiteY13" fmla="*/ 998 h 21790"/>
              <a:gd name="connsiteX14" fmla="*/ 10430 w 20532"/>
              <a:gd name="connsiteY14" fmla="*/ 5990 h 21790"/>
              <a:gd name="connsiteX0" fmla="*/ 10430 w 20532"/>
              <a:gd name="connsiteY0" fmla="*/ 5990 h 22312"/>
              <a:gd name="connsiteX1" fmla="*/ 16004 w 20532"/>
              <a:gd name="connsiteY1" fmla="*/ 0 h 22312"/>
              <a:gd name="connsiteX2" fmla="*/ 12942 w 20532"/>
              <a:gd name="connsiteY2" fmla="*/ 8272 h 22312"/>
              <a:gd name="connsiteX3" fmla="*/ 20532 w 20532"/>
              <a:gd name="connsiteY3" fmla="*/ 11286 h 22312"/>
              <a:gd name="connsiteX4" fmla="*/ 12845 w 20532"/>
              <a:gd name="connsiteY4" fmla="*/ 11539 h 22312"/>
              <a:gd name="connsiteX5" fmla="*/ 14445 w 20532"/>
              <a:gd name="connsiteY5" fmla="*/ 15871 h 22312"/>
              <a:gd name="connsiteX6" fmla="*/ 10198 w 20532"/>
              <a:gd name="connsiteY6" fmla="*/ 13716 h 22312"/>
              <a:gd name="connsiteX7" fmla="*/ 7925 w 20532"/>
              <a:gd name="connsiteY7" fmla="*/ 22312 h 22312"/>
              <a:gd name="connsiteX8" fmla="*/ 6736 w 20532"/>
              <a:gd name="connsiteY8" fmla="*/ 13729 h 22312"/>
              <a:gd name="connsiteX9" fmla="*/ 722 w 20532"/>
              <a:gd name="connsiteY9" fmla="*/ 14749 h 22312"/>
              <a:gd name="connsiteX10" fmla="*/ 6165 w 20532"/>
              <a:gd name="connsiteY10" fmla="*/ 9951 h 22312"/>
              <a:gd name="connsiteX11" fmla="*/ 0 w 20532"/>
              <a:gd name="connsiteY11" fmla="*/ 2485 h 22312"/>
              <a:gd name="connsiteX12" fmla="*/ 7397 w 20532"/>
              <a:gd name="connsiteY12" fmla="*/ 6623 h 22312"/>
              <a:gd name="connsiteX13" fmla="*/ 7827 w 20532"/>
              <a:gd name="connsiteY13" fmla="*/ 998 h 22312"/>
              <a:gd name="connsiteX14" fmla="*/ 10430 w 20532"/>
              <a:gd name="connsiteY14" fmla="*/ 5990 h 22312"/>
              <a:gd name="connsiteX0" fmla="*/ 10495 w 20532"/>
              <a:gd name="connsiteY0" fmla="*/ 6610 h 22312"/>
              <a:gd name="connsiteX1" fmla="*/ 16004 w 20532"/>
              <a:gd name="connsiteY1" fmla="*/ 0 h 22312"/>
              <a:gd name="connsiteX2" fmla="*/ 12942 w 20532"/>
              <a:gd name="connsiteY2" fmla="*/ 8272 h 22312"/>
              <a:gd name="connsiteX3" fmla="*/ 20532 w 20532"/>
              <a:gd name="connsiteY3" fmla="*/ 11286 h 22312"/>
              <a:gd name="connsiteX4" fmla="*/ 12845 w 20532"/>
              <a:gd name="connsiteY4" fmla="*/ 11539 h 22312"/>
              <a:gd name="connsiteX5" fmla="*/ 14445 w 20532"/>
              <a:gd name="connsiteY5" fmla="*/ 15871 h 22312"/>
              <a:gd name="connsiteX6" fmla="*/ 10198 w 20532"/>
              <a:gd name="connsiteY6" fmla="*/ 13716 h 22312"/>
              <a:gd name="connsiteX7" fmla="*/ 7925 w 20532"/>
              <a:gd name="connsiteY7" fmla="*/ 22312 h 22312"/>
              <a:gd name="connsiteX8" fmla="*/ 6736 w 20532"/>
              <a:gd name="connsiteY8" fmla="*/ 13729 h 22312"/>
              <a:gd name="connsiteX9" fmla="*/ 722 w 20532"/>
              <a:gd name="connsiteY9" fmla="*/ 14749 h 22312"/>
              <a:gd name="connsiteX10" fmla="*/ 6165 w 20532"/>
              <a:gd name="connsiteY10" fmla="*/ 9951 h 22312"/>
              <a:gd name="connsiteX11" fmla="*/ 0 w 20532"/>
              <a:gd name="connsiteY11" fmla="*/ 2485 h 22312"/>
              <a:gd name="connsiteX12" fmla="*/ 7397 w 20532"/>
              <a:gd name="connsiteY12" fmla="*/ 6623 h 22312"/>
              <a:gd name="connsiteX13" fmla="*/ 7827 w 20532"/>
              <a:gd name="connsiteY13" fmla="*/ 998 h 22312"/>
              <a:gd name="connsiteX14" fmla="*/ 10495 w 20532"/>
              <a:gd name="connsiteY14" fmla="*/ 6610 h 22312"/>
              <a:gd name="connsiteX0" fmla="*/ 10495 w 20532"/>
              <a:gd name="connsiteY0" fmla="*/ 6035 h 21737"/>
              <a:gd name="connsiteX1" fmla="*/ 15331 w 20532"/>
              <a:gd name="connsiteY1" fmla="*/ 0 h 21737"/>
              <a:gd name="connsiteX2" fmla="*/ 12942 w 20532"/>
              <a:gd name="connsiteY2" fmla="*/ 7697 h 21737"/>
              <a:gd name="connsiteX3" fmla="*/ 20532 w 20532"/>
              <a:gd name="connsiteY3" fmla="*/ 10711 h 21737"/>
              <a:gd name="connsiteX4" fmla="*/ 12845 w 20532"/>
              <a:gd name="connsiteY4" fmla="*/ 10964 h 21737"/>
              <a:gd name="connsiteX5" fmla="*/ 14445 w 20532"/>
              <a:gd name="connsiteY5" fmla="*/ 15296 h 21737"/>
              <a:gd name="connsiteX6" fmla="*/ 10198 w 20532"/>
              <a:gd name="connsiteY6" fmla="*/ 13141 h 21737"/>
              <a:gd name="connsiteX7" fmla="*/ 7925 w 20532"/>
              <a:gd name="connsiteY7" fmla="*/ 21737 h 21737"/>
              <a:gd name="connsiteX8" fmla="*/ 6736 w 20532"/>
              <a:gd name="connsiteY8" fmla="*/ 13154 h 21737"/>
              <a:gd name="connsiteX9" fmla="*/ 722 w 20532"/>
              <a:gd name="connsiteY9" fmla="*/ 14174 h 21737"/>
              <a:gd name="connsiteX10" fmla="*/ 6165 w 20532"/>
              <a:gd name="connsiteY10" fmla="*/ 9376 h 21737"/>
              <a:gd name="connsiteX11" fmla="*/ 0 w 20532"/>
              <a:gd name="connsiteY11" fmla="*/ 1910 h 21737"/>
              <a:gd name="connsiteX12" fmla="*/ 7397 w 20532"/>
              <a:gd name="connsiteY12" fmla="*/ 6048 h 21737"/>
              <a:gd name="connsiteX13" fmla="*/ 7827 w 20532"/>
              <a:gd name="connsiteY13" fmla="*/ 423 h 21737"/>
              <a:gd name="connsiteX14" fmla="*/ 10495 w 20532"/>
              <a:gd name="connsiteY14" fmla="*/ 6035 h 21737"/>
              <a:gd name="connsiteX0" fmla="*/ 10495 w 20532"/>
              <a:gd name="connsiteY0" fmla="*/ 6035 h 21737"/>
              <a:gd name="connsiteX1" fmla="*/ 15331 w 20532"/>
              <a:gd name="connsiteY1" fmla="*/ 0 h 21737"/>
              <a:gd name="connsiteX2" fmla="*/ 12942 w 20532"/>
              <a:gd name="connsiteY2" fmla="*/ 7697 h 21737"/>
              <a:gd name="connsiteX3" fmla="*/ 20532 w 20532"/>
              <a:gd name="connsiteY3" fmla="*/ 10711 h 21737"/>
              <a:gd name="connsiteX4" fmla="*/ 12845 w 20532"/>
              <a:gd name="connsiteY4" fmla="*/ 10964 h 21737"/>
              <a:gd name="connsiteX5" fmla="*/ 14445 w 20532"/>
              <a:gd name="connsiteY5" fmla="*/ 15296 h 21737"/>
              <a:gd name="connsiteX6" fmla="*/ 10198 w 20532"/>
              <a:gd name="connsiteY6" fmla="*/ 13141 h 21737"/>
              <a:gd name="connsiteX7" fmla="*/ 7925 w 20532"/>
              <a:gd name="connsiteY7" fmla="*/ 21737 h 21737"/>
              <a:gd name="connsiteX8" fmla="*/ 6736 w 20532"/>
              <a:gd name="connsiteY8" fmla="*/ 13154 h 21737"/>
              <a:gd name="connsiteX9" fmla="*/ 1844 w 20532"/>
              <a:gd name="connsiteY9" fmla="*/ 12729 h 21737"/>
              <a:gd name="connsiteX10" fmla="*/ 6165 w 20532"/>
              <a:gd name="connsiteY10" fmla="*/ 9376 h 21737"/>
              <a:gd name="connsiteX11" fmla="*/ 0 w 20532"/>
              <a:gd name="connsiteY11" fmla="*/ 1910 h 21737"/>
              <a:gd name="connsiteX12" fmla="*/ 7397 w 20532"/>
              <a:gd name="connsiteY12" fmla="*/ 6048 h 21737"/>
              <a:gd name="connsiteX13" fmla="*/ 7827 w 20532"/>
              <a:gd name="connsiteY13" fmla="*/ 423 h 21737"/>
              <a:gd name="connsiteX14" fmla="*/ 10495 w 20532"/>
              <a:gd name="connsiteY14" fmla="*/ 6035 h 21737"/>
              <a:gd name="connsiteX0" fmla="*/ 10495 w 20532"/>
              <a:gd name="connsiteY0" fmla="*/ 6035 h 21737"/>
              <a:gd name="connsiteX1" fmla="*/ 15331 w 20532"/>
              <a:gd name="connsiteY1" fmla="*/ 0 h 21737"/>
              <a:gd name="connsiteX2" fmla="*/ 12942 w 20532"/>
              <a:gd name="connsiteY2" fmla="*/ 7697 h 21737"/>
              <a:gd name="connsiteX3" fmla="*/ 20532 w 20532"/>
              <a:gd name="connsiteY3" fmla="*/ 10711 h 21737"/>
              <a:gd name="connsiteX4" fmla="*/ 12845 w 20532"/>
              <a:gd name="connsiteY4" fmla="*/ 10964 h 21737"/>
              <a:gd name="connsiteX5" fmla="*/ 14445 w 20532"/>
              <a:gd name="connsiteY5" fmla="*/ 15296 h 21737"/>
              <a:gd name="connsiteX6" fmla="*/ 10198 w 20532"/>
              <a:gd name="connsiteY6" fmla="*/ 13141 h 21737"/>
              <a:gd name="connsiteX7" fmla="*/ 7925 w 20532"/>
              <a:gd name="connsiteY7" fmla="*/ 21737 h 21737"/>
              <a:gd name="connsiteX8" fmla="*/ 7684 w 20532"/>
              <a:gd name="connsiteY8" fmla="*/ 11846 h 21737"/>
              <a:gd name="connsiteX9" fmla="*/ 1844 w 20532"/>
              <a:gd name="connsiteY9" fmla="*/ 12729 h 21737"/>
              <a:gd name="connsiteX10" fmla="*/ 6165 w 20532"/>
              <a:gd name="connsiteY10" fmla="*/ 9376 h 21737"/>
              <a:gd name="connsiteX11" fmla="*/ 0 w 20532"/>
              <a:gd name="connsiteY11" fmla="*/ 1910 h 21737"/>
              <a:gd name="connsiteX12" fmla="*/ 7397 w 20532"/>
              <a:gd name="connsiteY12" fmla="*/ 6048 h 21737"/>
              <a:gd name="connsiteX13" fmla="*/ 7827 w 20532"/>
              <a:gd name="connsiteY13" fmla="*/ 423 h 21737"/>
              <a:gd name="connsiteX14" fmla="*/ 10495 w 20532"/>
              <a:gd name="connsiteY14" fmla="*/ 6035 h 21737"/>
              <a:gd name="connsiteX0" fmla="*/ 10495 w 20532"/>
              <a:gd name="connsiteY0" fmla="*/ 6035 h 21737"/>
              <a:gd name="connsiteX1" fmla="*/ 15331 w 20532"/>
              <a:gd name="connsiteY1" fmla="*/ 0 h 21737"/>
              <a:gd name="connsiteX2" fmla="*/ 12942 w 20532"/>
              <a:gd name="connsiteY2" fmla="*/ 7697 h 21737"/>
              <a:gd name="connsiteX3" fmla="*/ 20532 w 20532"/>
              <a:gd name="connsiteY3" fmla="*/ 10711 h 21737"/>
              <a:gd name="connsiteX4" fmla="*/ 12845 w 20532"/>
              <a:gd name="connsiteY4" fmla="*/ 10964 h 21737"/>
              <a:gd name="connsiteX5" fmla="*/ 14445 w 20532"/>
              <a:gd name="connsiteY5" fmla="*/ 15296 h 21737"/>
              <a:gd name="connsiteX6" fmla="*/ 10554 w 20532"/>
              <a:gd name="connsiteY6" fmla="*/ 11592 h 21737"/>
              <a:gd name="connsiteX7" fmla="*/ 7925 w 20532"/>
              <a:gd name="connsiteY7" fmla="*/ 21737 h 21737"/>
              <a:gd name="connsiteX8" fmla="*/ 7684 w 20532"/>
              <a:gd name="connsiteY8" fmla="*/ 11846 h 21737"/>
              <a:gd name="connsiteX9" fmla="*/ 1844 w 20532"/>
              <a:gd name="connsiteY9" fmla="*/ 12729 h 21737"/>
              <a:gd name="connsiteX10" fmla="*/ 6165 w 20532"/>
              <a:gd name="connsiteY10" fmla="*/ 9376 h 21737"/>
              <a:gd name="connsiteX11" fmla="*/ 0 w 20532"/>
              <a:gd name="connsiteY11" fmla="*/ 1910 h 21737"/>
              <a:gd name="connsiteX12" fmla="*/ 7397 w 20532"/>
              <a:gd name="connsiteY12" fmla="*/ 6048 h 21737"/>
              <a:gd name="connsiteX13" fmla="*/ 7827 w 20532"/>
              <a:gd name="connsiteY13" fmla="*/ 423 h 21737"/>
              <a:gd name="connsiteX14" fmla="*/ 10495 w 20532"/>
              <a:gd name="connsiteY14" fmla="*/ 6035 h 21737"/>
              <a:gd name="connsiteX0" fmla="*/ 10495 w 20532"/>
              <a:gd name="connsiteY0" fmla="*/ 6035 h 21737"/>
              <a:gd name="connsiteX1" fmla="*/ 15331 w 20532"/>
              <a:gd name="connsiteY1" fmla="*/ 0 h 21737"/>
              <a:gd name="connsiteX2" fmla="*/ 12942 w 20532"/>
              <a:gd name="connsiteY2" fmla="*/ 7697 h 21737"/>
              <a:gd name="connsiteX3" fmla="*/ 20532 w 20532"/>
              <a:gd name="connsiteY3" fmla="*/ 10711 h 21737"/>
              <a:gd name="connsiteX4" fmla="*/ 12845 w 20532"/>
              <a:gd name="connsiteY4" fmla="*/ 10964 h 21737"/>
              <a:gd name="connsiteX5" fmla="*/ 14445 w 20532"/>
              <a:gd name="connsiteY5" fmla="*/ 15296 h 21737"/>
              <a:gd name="connsiteX6" fmla="*/ 10554 w 20532"/>
              <a:gd name="connsiteY6" fmla="*/ 11592 h 21737"/>
              <a:gd name="connsiteX7" fmla="*/ 7925 w 20532"/>
              <a:gd name="connsiteY7" fmla="*/ 21737 h 21737"/>
              <a:gd name="connsiteX8" fmla="*/ 8112 w 20532"/>
              <a:gd name="connsiteY8" fmla="*/ 10946 h 21737"/>
              <a:gd name="connsiteX9" fmla="*/ 1844 w 20532"/>
              <a:gd name="connsiteY9" fmla="*/ 12729 h 21737"/>
              <a:gd name="connsiteX10" fmla="*/ 6165 w 20532"/>
              <a:gd name="connsiteY10" fmla="*/ 9376 h 21737"/>
              <a:gd name="connsiteX11" fmla="*/ 0 w 20532"/>
              <a:gd name="connsiteY11" fmla="*/ 1910 h 21737"/>
              <a:gd name="connsiteX12" fmla="*/ 7397 w 20532"/>
              <a:gd name="connsiteY12" fmla="*/ 6048 h 21737"/>
              <a:gd name="connsiteX13" fmla="*/ 7827 w 20532"/>
              <a:gd name="connsiteY13" fmla="*/ 423 h 21737"/>
              <a:gd name="connsiteX14" fmla="*/ 10495 w 20532"/>
              <a:gd name="connsiteY14" fmla="*/ 6035 h 21737"/>
              <a:gd name="connsiteX0" fmla="*/ 10495 w 20532"/>
              <a:gd name="connsiteY0" fmla="*/ 6035 h 21737"/>
              <a:gd name="connsiteX1" fmla="*/ 15331 w 20532"/>
              <a:gd name="connsiteY1" fmla="*/ 0 h 21737"/>
              <a:gd name="connsiteX2" fmla="*/ 12942 w 20532"/>
              <a:gd name="connsiteY2" fmla="*/ 7697 h 21737"/>
              <a:gd name="connsiteX3" fmla="*/ 20532 w 20532"/>
              <a:gd name="connsiteY3" fmla="*/ 10711 h 21737"/>
              <a:gd name="connsiteX4" fmla="*/ 12845 w 20532"/>
              <a:gd name="connsiteY4" fmla="*/ 10964 h 21737"/>
              <a:gd name="connsiteX5" fmla="*/ 14445 w 20532"/>
              <a:gd name="connsiteY5" fmla="*/ 15296 h 21737"/>
              <a:gd name="connsiteX6" fmla="*/ 10554 w 20532"/>
              <a:gd name="connsiteY6" fmla="*/ 11592 h 21737"/>
              <a:gd name="connsiteX7" fmla="*/ 7925 w 20532"/>
              <a:gd name="connsiteY7" fmla="*/ 21737 h 21737"/>
              <a:gd name="connsiteX8" fmla="*/ 8112 w 20532"/>
              <a:gd name="connsiteY8" fmla="*/ 10946 h 21737"/>
              <a:gd name="connsiteX9" fmla="*/ 1936 w 20532"/>
              <a:gd name="connsiteY9" fmla="*/ 13221 h 21737"/>
              <a:gd name="connsiteX10" fmla="*/ 6165 w 20532"/>
              <a:gd name="connsiteY10" fmla="*/ 9376 h 21737"/>
              <a:gd name="connsiteX11" fmla="*/ 0 w 20532"/>
              <a:gd name="connsiteY11" fmla="*/ 1910 h 21737"/>
              <a:gd name="connsiteX12" fmla="*/ 7397 w 20532"/>
              <a:gd name="connsiteY12" fmla="*/ 6048 h 21737"/>
              <a:gd name="connsiteX13" fmla="*/ 7827 w 20532"/>
              <a:gd name="connsiteY13" fmla="*/ 423 h 21737"/>
              <a:gd name="connsiteX14" fmla="*/ 10495 w 20532"/>
              <a:gd name="connsiteY14" fmla="*/ 6035 h 21737"/>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2845 w 20532"/>
              <a:gd name="connsiteY4" fmla="*/ 10964 h 16242"/>
              <a:gd name="connsiteX5" fmla="*/ 14445 w 20532"/>
              <a:gd name="connsiteY5" fmla="*/ 15296 h 16242"/>
              <a:gd name="connsiteX6" fmla="*/ 10554 w 20532"/>
              <a:gd name="connsiteY6" fmla="*/ 11592 h 16242"/>
              <a:gd name="connsiteX7" fmla="*/ 8029 w 20532"/>
              <a:gd name="connsiteY7" fmla="*/ 16242 h 16242"/>
              <a:gd name="connsiteX8" fmla="*/ 8112 w 20532"/>
              <a:gd name="connsiteY8" fmla="*/ 10946 h 16242"/>
              <a:gd name="connsiteX9" fmla="*/ 1936 w 20532"/>
              <a:gd name="connsiteY9" fmla="*/ 13221 h 16242"/>
              <a:gd name="connsiteX10" fmla="*/ 6165 w 20532"/>
              <a:gd name="connsiteY10" fmla="*/ 9376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2845 w 20532"/>
              <a:gd name="connsiteY4" fmla="*/ 10964 h 16242"/>
              <a:gd name="connsiteX5" fmla="*/ 14445 w 20532"/>
              <a:gd name="connsiteY5" fmla="*/ 15296 h 16242"/>
              <a:gd name="connsiteX6" fmla="*/ 10554 w 20532"/>
              <a:gd name="connsiteY6" fmla="*/ 11592 h 16242"/>
              <a:gd name="connsiteX7" fmla="*/ 8029 w 20532"/>
              <a:gd name="connsiteY7" fmla="*/ 16242 h 16242"/>
              <a:gd name="connsiteX8" fmla="*/ 7505 w 20532"/>
              <a:gd name="connsiteY8" fmla="*/ 11062 h 16242"/>
              <a:gd name="connsiteX9" fmla="*/ 1936 w 20532"/>
              <a:gd name="connsiteY9" fmla="*/ 13221 h 16242"/>
              <a:gd name="connsiteX10" fmla="*/ 6165 w 20532"/>
              <a:gd name="connsiteY10" fmla="*/ 9376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2845 w 20532"/>
              <a:gd name="connsiteY4" fmla="*/ 10964 h 16242"/>
              <a:gd name="connsiteX5" fmla="*/ 14445 w 20532"/>
              <a:gd name="connsiteY5" fmla="*/ 15296 h 16242"/>
              <a:gd name="connsiteX6" fmla="*/ 10554 w 20532"/>
              <a:gd name="connsiteY6" fmla="*/ 11592 h 16242"/>
              <a:gd name="connsiteX7" fmla="*/ 8029 w 20532"/>
              <a:gd name="connsiteY7" fmla="*/ 16242 h 16242"/>
              <a:gd name="connsiteX8" fmla="*/ 7505 w 20532"/>
              <a:gd name="connsiteY8" fmla="*/ 11062 h 16242"/>
              <a:gd name="connsiteX9" fmla="*/ 1936 w 20532"/>
              <a:gd name="connsiteY9" fmla="*/ 13221 h 16242"/>
              <a:gd name="connsiteX10" fmla="*/ 6165 w 20532"/>
              <a:gd name="connsiteY10" fmla="*/ 9376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2845 w 20532"/>
              <a:gd name="connsiteY4" fmla="*/ 10964 h 16242"/>
              <a:gd name="connsiteX5" fmla="*/ 14445 w 20532"/>
              <a:gd name="connsiteY5" fmla="*/ 15296 h 16242"/>
              <a:gd name="connsiteX6" fmla="*/ 10554 w 20532"/>
              <a:gd name="connsiteY6" fmla="*/ 11592 h 16242"/>
              <a:gd name="connsiteX7" fmla="*/ 8029 w 20532"/>
              <a:gd name="connsiteY7" fmla="*/ 16242 h 16242"/>
              <a:gd name="connsiteX8" fmla="*/ 7505 w 20532"/>
              <a:gd name="connsiteY8" fmla="*/ 11062 h 16242"/>
              <a:gd name="connsiteX9" fmla="*/ 1936 w 20532"/>
              <a:gd name="connsiteY9" fmla="*/ 13221 h 16242"/>
              <a:gd name="connsiteX10" fmla="*/ 6165 w 20532"/>
              <a:gd name="connsiteY10" fmla="*/ 9376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2845 w 20532"/>
              <a:gd name="connsiteY4" fmla="*/ 10964 h 16242"/>
              <a:gd name="connsiteX5" fmla="*/ 14445 w 20532"/>
              <a:gd name="connsiteY5" fmla="*/ 15296 h 16242"/>
              <a:gd name="connsiteX6" fmla="*/ 10554 w 20532"/>
              <a:gd name="connsiteY6" fmla="*/ 11592 h 16242"/>
              <a:gd name="connsiteX7" fmla="*/ 8029 w 20532"/>
              <a:gd name="connsiteY7" fmla="*/ 16242 h 16242"/>
              <a:gd name="connsiteX8" fmla="*/ 7505 w 20532"/>
              <a:gd name="connsiteY8" fmla="*/ 11062 h 16242"/>
              <a:gd name="connsiteX9" fmla="*/ 1936 w 20532"/>
              <a:gd name="connsiteY9" fmla="*/ 13221 h 16242"/>
              <a:gd name="connsiteX10" fmla="*/ 6165 w 20532"/>
              <a:gd name="connsiteY10" fmla="*/ 9376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2845 w 20532"/>
              <a:gd name="connsiteY4" fmla="*/ 10964 h 16242"/>
              <a:gd name="connsiteX5" fmla="*/ 14445 w 20532"/>
              <a:gd name="connsiteY5" fmla="*/ 15296 h 16242"/>
              <a:gd name="connsiteX6" fmla="*/ 10413 w 20532"/>
              <a:gd name="connsiteY6" fmla="*/ 10814 h 16242"/>
              <a:gd name="connsiteX7" fmla="*/ 8029 w 20532"/>
              <a:gd name="connsiteY7" fmla="*/ 16242 h 16242"/>
              <a:gd name="connsiteX8" fmla="*/ 7505 w 20532"/>
              <a:gd name="connsiteY8" fmla="*/ 11062 h 16242"/>
              <a:gd name="connsiteX9" fmla="*/ 1936 w 20532"/>
              <a:gd name="connsiteY9" fmla="*/ 13221 h 16242"/>
              <a:gd name="connsiteX10" fmla="*/ 6165 w 20532"/>
              <a:gd name="connsiteY10" fmla="*/ 9376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2845 w 20532"/>
              <a:gd name="connsiteY4" fmla="*/ 10964 h 16242"/>
              <a:gd name="connsiteX5" fmla="*/ 14445 w 20532"/>
              <a:gd name="connsiteY5" fmla="*/ 15296 h 16242"/>
              <a:gd name="connsiteX6" fmla="*/ 10413 w 20532"/>
              <a:gd name="connsiteY6" fmla="*/ 10814 h 16242"/>
              <a:gd name="connsiteX7" fmla="*/ 8029 w 20532"/>
              <a:gd name="connsiteY7" fmla="*/ 16242 h 16242"/>
              <a:gd name="connsiteX8" fmla="*/ 7505 w 20532"/>
              <a:gd name="connsiteY8" fmla="*/ 11062 h 16242"/>
              <a:gd name="connsiteX9" fmla="*/ 1936 w 20532"/>
              <a:gd name="connsiteY9" fmla="*/ 13221 h 16242"/>
              <a:gd name="connsiteX10" fmla="*/ 6165 w 20532"/>
              <a:gd name="connsiteY10" fmla="*/ 9376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2845 w 20532"/>
              <a:gd name="connsiteY4" fmla="*/ 10964 h 16242"/>
              <a:gd name="connsiteX5" fmla="*/ 14445 w 20532"/>
              <a:gd name="connsiteY5" fmla="*/ 15296 h 16242"/>
              <a:gd name="connsiteX6" fmla="*/ 10413 w 20532"/>
              <a:gd name="connsiteY6" fmla="*/ 10814 h 16242"/>
              <a:gd name="connsiteX7" fmla="*/ 8029 w 20532"/>
              <a:gd name="connsiteY7" fmla="*/ 16242 h 16242"/>
              <a:gd name="connsiteX8" fmla="*/ 7505 w 20532"/>
              <a:gd name="connsiteY8" fmla="*/ 11062 h 16242"/>
              <a:gd name="connsiteX9" fmla="*/ 1936 w 20532"/>
              <a:gd name="connsiteY9" fmla="*/ 13221 h 16242"/>
              <a:gd name="connsiteX10" fmla="*/ 6165 w 20532"/>
              <a:gd name="connsiteY10" fmla="*/ 9376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1984 w 20532"/>
              <a:gd name="connsiteY4" fmla="*/ 9679 h 16242"/>
              <a:gd name="connsiteX5" fmla="*/ 14445 w 20532"/>
              <a:gd name="connsiteY5" fmla="*/ 15296 h 16242"/>
              <a:gd name="connsiteX6" fmla="*/ 10413 w 20532"/>
              <a:gd name="connsiteY6" fmla="*/ 10814 h 16242"/>
              <a:gd name="connsiteX7" fmla="*/ 8029 w 20532"/>
              <a:gd name="connsiteY7" fmla="*/ 16242 h 16242"/>
              <a:gd name="connsiteX8" fmla="*/ 7505 w 20532"/>
              <a:gd name="connsiteY8" fmla="*/ 11062 h 16242"/>
              <a:gd name="connsiteX9" fmla="*/ 1936 w 20532"/>
              <a:gd name="connsiteY9" fmla="*/ 13221 h 16242"/>
              <a:gd name="connsiteX10" fmla="*/ 6165 w 20532"/>
              <a:gd name="connsiteY10" fmla="*/ 9376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1984 w 20532"/>
              <a:gd name="connsiteY4" fmla="*/ 9679 h 16242"/>
              <a:gd name="connsiteX5" fmla="*/ 14445 w 20532"/>
              <a:gd name="connsiteY5" fmla="*/ 15296 h 16242"/>
              <a:gd name="connsiteX6" fmla="*/ 10413 w 20532"/>
              <a:gd name="connsiteY6" fmla="*/ 10814 h 16242"/>
              <a:gd name="connsiteX7" fmla="*/ 8029 w 20532"/>
              <a:gd name="connsiteY7" fmla="*/ 16242 h 16242"/>
              <a:gd name="connsiteX8" fmla="*/ 7505 w 20532"/>
              <a:gd name="connsiteY8" fmla="*/ 11062 h 16242"/>
              <a:gd name="connsiteX9" fmla="*/ 1936 w 20532"/>
              <a:gd name="connsiteY9" fmla="*/ 13221 h 16242"/>
              <a:gd name="connsiteX10" fmla="*/ 6670 w 20532"/>
              <a:gd name="connsiteY10" fmla="*/ 7830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1984 w 20532"/>
              <a:gd name="connsiteY4" fmla="*/ 9679 h 16242"/>
              <a:gd name="connsiteX5" fmla="*/ 14445 w 20532"/>
              <a:gd name="connsiteY5" fmla="*/ 15296 h 16242"/>
              <a:gd name="connsiteX6" fmla="*/ 10413 w 20532"/>
              <a:gd name="connsiteY6" fmla="*/ 10814 h 16242"/>
              <a:gd name="connsiteX7" fmla="*/ 8029 w 20532"/>
              <a:gd name="connsiteY7" fmla="*/ 16242 h 16242"/>
              <a:gd name="connsiteX8" fmla="*/ 7505 w 20532"/>
              <a:gd name="connsiteY8" fmla="*/ 11062 h 16242"/>
              <a:gd name="connsiteX9" fmla="*/ 1901 w 20532"/>
              <a:gd name="connsiteY9" fmla="*/ 11295 h 16242"/>
              <a:gd name="connsiteX10" fmla="*/ 6670 w 20532"/>
              <a:gd name="connsiteY10" fmla="*/ 7830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1984 w 20532"/>
              <a:gd name="connsiteY4" fmla="*/ 9679 h 16242"/>
              <a:gd name="connsiteX5" fmla="*/ 14445 w 20532"/>
              <a:gd name="connsiteY5" fmla="*/ 15296 h 16242"/>
              <a:gd name="connsiteX6" fmla="*/ 9997 w 20532"/>
              <a:gd name="connsiteY6" fmla="*/ 10249 h 16242"/>
              <a:gd name="connsiteX7" fmla="*/ 8029 w 20532"/>
              <a:gd name="connsiteY7" fmla="*/ 16242 h 16242"/>
              <a:gd name="connsiteX8" fmla="*/ 7505 w 20532"/>
              <a:gd name="connsiteY8" fmla="*/ 11062 h 16242"/>
              <a:gd name="connsiteX9" fmla="*/ 1901 w 20532"/>
              <a:gd name="connsiteY9" fmla="*/ 11295 h 16242"/>
              <a:gd name="connsiteX10" fmla="*/ 6670 w 20532"/>
              <a:gd name="connsiteY10" fmla="*/ 7830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1416 w 20532"/>
              <a:gd name="connsiteY4" fmla="*/ 9143 h 16242"/>
              <a:gd name="connsiteX5" fmla="*/ 14445 w 20532"/>
              <a:gd name="connsiteY5" fmla="*/ 15296 h 16242"/>
              <a:gd name="connsiteX6" fmla="*/ 9997 w 20532"/>
              <a:gd name="connsiteY6" fmla="*/ 10249 h 16242"/>
              <a:gd name="connsiteX7" fmla="*/ 8029 w 20532"/>
              <a:gd name="connsiteY7" fmla="*/ 16242 h 16242"/>
              <a:gd name="connsiteX8" fmla="*/ 7505 w 20532"/>
              <a:gd name="connsiteY8" fmla="*/ 11062 h 16242"/>
              <a:gd name="connsiteX9" fmla="*/ 1901 w 20532"/>
              <a:gd name="connsiteY9" fmla="*/ 11295 h 16242"/>
              <a:gd name="connsiteX10" fmla="*/ 6670 w 20532"/>
              <a:gd name="connsiteY10" fmla="*/ 7830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5296"/>
              <a:gd name="connsiteX1" fmla="*/ 15331 w 20532"/>
              <a:gd name="connsiteY1" fmla="*/ 0 h 15296"/>
              <a:gd name="connsiteX2" fmla="*/ 12942 w 20532"/>
              <a:gd name="connsiteY2" fmla="*/ 7697 h 15296"/>
              <a:gd name="connsiteX3" fmla="*/ 20532 w 20532"/>
              <a:gd name="connsiteY3" fmla="*/ 10711 h 15296"/>
              <a:gd name="connsiteX4" fmla="*/ 11416 w 20532"/>
              <a:gd name="connsiteY4" fmla="*/ 9143 h 15296"/>
              <a:gd name="connsiteX5" fmla="*/ 14445 w 20532"/>
              <a:gd name="connsiteY5" fmla="*/ 15296 h 15296"/>
              <a:gd name="connsiteX6" fmla="*/ 9997 w 20532"/>
              <a:gd name="connsiteY6" fmla="*/ 10249 h 15296"/>
              <a:gd name="connsiteX7" fmla="*/ 8203 w 20532"/>
              <a:gd name="connsiteY7" fmla="*/ 14598 h 15296"/>
              <a:gd name="connsiteX8" fmla="*/ 7505 w 20532"/>
              <a:gd name="connsiteY8" fmla="*/ 11062 h 15296"/>
              <a:gd name="connsiteX9" fmla="*/ 1901 w 20532"/>
              <a:gd name="connsiteY9" fmla="*/ 11295 h 15296"/>
              <a:gd name="connsiteX10" fmla="*/ 6670 w 20532"/>
              <a:gd name="connsiteY10" fmla="*/ 7830 h 15296"/>
              <a:gd name="connsiteX11" fmla="*/ 0 w 20532"/>
              <a:gd name="connsiteY11" fmla="*/ 1910 h 15296"/>
              <a:gd name="connsiteX12" fmla="*/ 7397 w 20532"/>
              <a:gd name="connsiteY12" fmla="*/ 6048 h 15296"/>
              <a:gd name="connsiteX13" fmla="*/ 7827 w 20532"/>
              <a:gd name="connsiteY13" fmla="*/ 423 h 15296"/>
              <a:gd name="connsiteX14" fmla="*/ 10495 w 20532"/>
              <a:gd name="connsiteY14" fmla="*/ 6035 h 15296"/>
              <a:gd name="connsiteX0" fmla="*/ 10495 w 20532"/>
              <a:gd name="connsiteY0" fmla="*/ 6035 h 15296"/>
              <a:gd name="connsiteX1" fmla="*/ 15331 w 20532"/>
              <a:gd name="connsiteY1" fmla="*/ 0 h 15296"/>
              <a:gd name="connsiteX2" fmla="*/ 12942 w 20532"/>
              <a:gd name="connsiteY2" fmla="*/ 7697 h 15296"/>
              <a:gd name="connsiteX3" fmla="*/ 20532 w 20532"/>
              <a:gd name="connsiteY3" fmla="*/ 10711 h 15296"/>
              <a:gd name="connsiteX4" fmla="*/ 11416 w 20532"/>
              <a:gd name="connsiteY4" fmla="*/ 9143 h 15296"/>
              <a:gd name="connsiteX5" fmla="*/ 14445 w 20532"/>
              <a:gd name="connsiteY5" fmla="*/ 15296 h 15296"/>
              <a:gd name="connsiteX6" fmla="*/ 10099 w 20532"/>
              <a:gd name="connsiteY6" fmla="*/ 11679 h 15296"/>
              <a:gd name="connsiteX7" fmla="*/ 8203 w 20532"/>
              <a:gd name="connsiteY7" fmla="*/ 14598 h 15296"/>
              <a:gd name="connsiteX8" fmla="*/ 7505 w 20532"/>
              <a:gd name="connsiteY8" fmla="*/ 11062 h 15296"/>
              <a:gd name="connsiteX9" fmla="*/ 1901 w 20532"/>
              <a:gd name="connsiteY9" fmla="*/ 11295 h 15296"/>
              <a:gd name="connsiteX10" fmla="*/ 6670 w 20532"/>
              <a:gd name="connsiteY10" fmla="*/ 7830 h 15296"/>
              <a:gd name="connsiteX11" fmla="*/ 0 w 20532"/>
              <a:gd name="connsiteY11" fmla="*/ 1910 h 15296"/>
              <a:gd name="connsiteX12" fmla="*/ 7397 w 20532"/>
              <a:gd name="connsiteY12" fmla="*/ 6048 h 15296"/>
              <a:gd name="connsiteX13" fmla="*/ 7827 w 20532"/>
              <a:gd name="connsiteY13" fmla="*/ 423 h 15296"/>
              <a:gd name="connsiteX14" fmla="*/ 10495 w 20532"/>
              <a:gd name="connsiteY14" fmla="*/ 6035 h 15296"/>
              <a:gd name="connsiteX0" fmla="*/ 10495 w 20532"/>
              <a:gd name="connsiteY0" fmla="*/ 6035 h 15296"/>
              <a:gd name="connsiteX1" fmla="*/ 15331 w 20532"/>
              <a:gd name="connsiteY1" fmla="*/ 0 h 15296"/>
              <a:gd name="connsiteX2" fmla="*/ 12942 w 20532"/>
              <a:gd name="connsiteY2" fmla="*/ 7697 h 15296"/>
              <a:gd name="connsiteX3" fmla="*/ 20532 w 20532"/>
              <a:gd name="connsiteY3" fmla="*/ 10711 h 15296"/>
              <a:gd name="connsiteX4" fmla="*/ 12041 w 20532"/>
              <a:gd name="connsiteY4" fmla="*/ 9990 h 15296"/>
              <a:gd name="connsiteX5" fmla="*/ 14445 w 20532"/>
              <a:gd name="connsiteY5" fmla="*/ 15296 h 15296"/>
              <a:gd name="connsiteX6" fmla="*/ 10099 w 20532"/>
              <a:gd name="connsiteY6" fmla="*/ 11679 h 15296"/>
              <a:gd name="connsiteX7" fmla="*/ 8203 w 20532"/>
              <a:gd name="connsiteY7" fmla="*/ 14598 h 15296"/>
              <a:gd name="connsiteX8" fmla="*/ 7505 w 20532"/>
              <a:gd name="connsiteY8" fmla="*/ 11062 h 15296"/>
              <a:gd name="connsiteX9" fmla="*/ 1901 w 20532"/>
              <a:gd name="connsiteY9" fmla="*/ 11295 h 15296"/>
              <a:gd name="connsiteX10" fmla="*/ 6670 w 20532"/>
              <a:gd name="connsiteY10" fmla="*/ 7830 h 15296"/>
              <a:gd name="connsiteX11" fmla="*/ 0 w 20532"/>
              <a:gd name="connsiteY11" fmla="*/ 1910 h 15296"/>
              <a:gd name="connsiteX12" fmla="*/ 7397 w 20532"/>
              <a:gd name="connsiteY12" fmla="*/ 6048 h 15296"/>
              <a:gd name="connsiteX13" fmla="*/ 7827 w 20532"/>
              <a:gd name="connsiteY13" fmla="*/ 423 h 15296"/>
              <a:gd name="connsiteX14" fmla="*/ 10495 w 20532"/>
              <a:gd name="connsiteY14" fmla="*/ 6035 h 15296"/>
              <a:gd name="connsiteX0" fmla="*/ 10495 w 20532"/>
              <a:gd name="connsiteY0" fmla="*/ 6035 h 15296"/>
              <a:gd name="connsiteX1" fmla="*/ 15331 w 20532"/>
              <a:gd name="connsiteY1" fmla="*/ 0 h 15296"/>
              <a:gd name="connsiteX2" fmla="*/ 12942 w 20532"/>
              <a:gd name="connsiteY2" fmla="*/ 7697 h 15296"/>
              <a:gd name="connsiteX3" fmla="*/ 20532 w 20532"/>
              <a:gd name="connsiteY3" fmla="*/ 10711 h 15296"/>
              <a:gd name="connsiteX4" fmla="*/ 12041 w 20532"/>
              <a:gd name="connsiteY4" fmla="*/ 9990 h 15296"/>
              <a:gd name="connsiteX5" fmla="*/ 14445 w 20532"/>
              <a:gd name="connsiteY5" fmla="*/ 15296 h 15296"/>
              <a:gd name="connsiteX6" fmla="*/ 10099 w 20532"/>
              <a:gd name="connsiteY6" fmla="*/ 11679 h 15296"/>
              <a:gd name="connsiteX7" fmla="*/ 8203 w 20532"/>
              <a:gd name="connsiteY7" fmla="*/ 14598 h 15296"/>
              <a:gd name="connsiteX8" fmla="*/ 7971 w 20532"/>
              <a:gd name="connsiteY8" fmla="*/ 10168 h 15296"/>
              <a:gd name="connsiteX9" fmla="*/ 1901 w 20532"/>
              <a:gd name="connsiteY9" fmla="*/ 11295 h 15296"/>
              <a:gd name="connsiteX10" fmla="*/ 6670 w 20532"/>
              <a:gd name="connsiteY10" fmla="*/ 7830 h 15296"/>
              <a:gd name="connsiteX11" fmla="*/ 0 w 20532"/>
              <a:gd name="connsiteY11" fmla="*/ 1910 h 15296"/>
              <a:gd name="connsiteX12" fmla="*/ 7397 w 20532"/>
              <a:gd name="connsiteY12" fmla="*/ 6048 h 15296"/>
              <a:gd name="connsiteX13" fmla="*/ 7827 w 20532"/>
              <a:gd name="connsiteY13" fmla="*/ 423 h 15296"/>
              <a:gd name="connsiteX14" fmla="*/ 10495 w 20532"/>
              <a:gd name="connsiteY14" fmla="*/ 6035 h 15296"/>
              <a:gd name="connsiteX0" fmla="*/ 10495 w 20532"/>
              <a:gd name="connsiteY0" fmla="*/ 6035 h 15296"/>
              <a:gd name="connsiteX1" fmla="*/ 15331 w 20532"/>
              <a:gd name="connsiteY1" fmla="*/ 0 h 15296"/>
              <a:gd name="connsiteX2" fmla="*/ 12942 w 20532"/>
              <a:gd name="connsiteY2" fmla="*/ 7697 h 15296"/>
              <a:gd name="connsiteX3" fmla="*/ 20532 w 20532"/>
              <a:gd name="connsiteY3" fmla="*/ 10711 h 15296"/>
              <a:gd name="connsiteX4" fmla="*/ 12041 w 20532"/>
              <a:gd name="connsiteY4" fmla="*/ 9990 h 15296"/>
              <a:gd name="connsiteX5" fmla="*/ 14445 w 20532"/>
              <a:gd name="connsiteY5" fmla="*/ 15296 h 15296"/>
              <a:gd name="connsiteX6" fmla="*/ 9986 w 20532"/>
              <a:gd name="connsiteY6" fmla="*/ 11056 h 15296"/>
              <a:gd name="connsiteX7" fmla="*/ 8203 w 20532"/>
              <a:gd name="connsiteY7" fmla="*/ 14598 h 15296"/>
              <a:gd name="connsiteX8" fmla="*/ 7971 w 20532"/>
              <a:gd name="connsiteY8" fmla="*/ 10168 h 15296"/>
              <a:gd name="connsiteX9" fmla="*/ 1901 w 20532"/>
              <a:gd name="connsiteY9" fmla="*/ 11295 h 15296"/>
              <a:gd name="connsiteX10" fmla="*/ 6670 w 20532"/>
              <a:gd name="connsiteY10" fmla="*/ 7830 h 15296"/>
              <a:gd name="connsiteX11" fmla="*/ 0 w 20532"/>
              <a:gd name="connsiteY11" fmla="*/ 1910 h 15296"/>
              <a:gd name="connsiteX12" fmla="*/ 7397 w 20532"/>
              <a:gd name="connsiteY12" fmla="*/ 6048 h 15296"/>
              <a:gd name="connsiteX13" fmla="*/ 7827 w 20532"/>
              <a:gd name="connsiteY13" fmla="*/ 423 h 15296"/>
              <a:gd name="connsiteX14" fmla="*/ 10495 w 20532"/>
              <a:gd name="connsiteY14" fmla="*/ 6035 h 15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532" h="15296">
                <a:moveTo>
                  <a:pt x="10495" y="6035"/>
                </a:moveTo>
                <a:lnTo>
                  <a:pt x="15331" y="0"/>
                </a:lnTo>
                <a:lnTo>
                  <a:pt x="12942" y="7697"/>
                </a:lnTo>
                <a:lnTo>
                  <a:pt x="20532" y="10711"/>
                </a:lnTo>
                <a:lnTo>
                  <a:pt x="12041" y="9990"/>
                </a:lnTo>
                <a:lnTo>
                  <a:pt x="14445" y="15296"/>
                </a:lnTo>
                <a:lnTo>
                  <a:pt x="9986" y="11056"/>
                </a:lnTo>
                <a:lnTo>
                  <a:pt x="8203" y="14598"/>
                </a:lnTo>
                <a:cubicBezTo>
                  <a:pt x="8028" y="12871"/>
                  <a:pt x="8146" y="11895"/>
                  <a:pt x="7971" y="10168"/>
                </a:cubicBezTo>
                <a:lnTo>
                  <a:pt x="1901" y="11295"/>
                </a:lnTo>
                <a:lnTo>
                  <a:pt x="6670" y="7830"/>
                </a:lnTo>
                <a:lnTo>
                  <a:pt x="0" y="1910"/>
                </a:lnTo>
                <a:lnTo>
                  <a:pt x="7397" y="6048"/>
                </a:lnTo>
                <a:cubicBezTo>
                  <a:pt x="7602" y="4375"/>
                  <a:pt x="7622" y="2096"/>
                  <a:pt x="7827" y="423"/>
                </a:cubicBezTo>
                <a:lnTo>
                  <a:pt x="10495" y="6035"/>
                </a:lnTo>
                <a:close/>
              </a:path>
            </a:pathLst>
          </a:custGeom>
          <a:gradFill flip="none" rotWithShape="1">
            <a:gsLst>
              <a:gs pos="69000">
                <a:schemeClr val="bg2"/>
              </a:gs>
              <a:gs pos="26000">
                <a:schemeClr val="bg2">
                  <a:lumMod val="60000"/>
                  <a:lumOff val="40000"/>
                </a:schemeClr>
              </a:gs>
              <a:gs pos="0">
                <a:schemeClr val="bg2">
                  <a:lumMod val="40000"/>
                  <a:lumOff val="60000"/>
                </a:schemeClr>
              </a:gs>
            </a:gsLst>
            <a:path path="circle">
              <a:fillToRect l="50000" t="50000" r="50000" b="50000"/>
            </a:path>
            <a:tileRect/>
          </a:gradFill>
          <a:ln w="6350" cap="flat" cmpd="sng" algn="ctr">
            <a:noFill/>
            <a:prstDash val="solid"/>
            <a:round/>
            <a:headEnd type="none" w="med" len="med"/>
            <a:tailEnd type="none" w="med" len="med"/>
          </a:ln>
          <a:effectLst/>
        </p:spPr>
        <p:txBody>
          <a:bodyPr vert="horz" wrap="square" lIns="24923" tIns="32400" rIns="24923" bIns="32400" numCol="1" rtlCol="0" anchor="ctr" anchorCtr="0" compatLnSpc="1">
            <a:prstTxWarp prst="textNoShape">
              <a:avLst/>
            </a:prstTxWarp>
          </a:bodyPr>
          <a:lstStyle/>
          <a:p>
            <a:pPr algn="ctr" defTabSz="844083" eaLnBrk="1" hangingPunct="1">
              <a:spcBef>
                <a:spcPts val="0"/>
              </a:spcBef>
              <a:spcAft>
                <a:spcPts val="0"/>
              </a:spcAft>
              <a:defRPr/>
            </a:pPr>
            <a:endParaRPr lang="de-DE" sz="831" b="1" dirty="0">
              <a:solidFill>
                <a:srgbClr val="FFFFFF"/>
              </a:solidFill>
              <a:latin typeface="Arial"/>
              <a:cs typeface="Arial" charset="0"/>
            </a:endParaRPr>
          </a:p>
        </p:txBody>
      </p:sp>
      <p:sp>
        <p:nvSpPr>
          <p:cNvPr id="35" name="Freeform 34"/>
          <p:cNvSpPr/>
          <p:nvPr/>
        </p:nvSpPr>
        <p:spPr bwMode="auto">
          <a:xfrm>
            <a:off x="2674722" y="2558562"/>
            <a:ext cx="3153993" cy="2441998"/>
          </a:xfrm>
          <a:custGeom>
            <a:avLst/>
            <a:gdLst>
              <a:gd name="connsiteX0" fmla="*/ 0 w 2695904"/>
              <a:gd name="connsiteY0" fmla="*/ 0 h 94593"/>
              <a:gd name="connsiteX1" fmla="*/ 2695904 w 2695904"/>
              <a:gd name="connsiteY1" fmla="*/ 94593 h 94593"/>
              <a:gd name="connsiteX0" fmla="*/ 0 w 8071946"/>
              <a:gd name="connsiteY0" fmla="*/ 4319752 h 4319752"/>
              <a:gd name="connsiteX1" fmla="*/ 8071946 w 8071946"/>
              <a:gd name="connsiteY1" fmla="*/ 0 h 4319752"/>
              <a:gd name="connsiteX0" fmla="*/ 0 w 4604351"/>
              <a:gd name="connsiteY0" fmla="*/ 3559732 h 3559732"/>
              <a:gd name="connsiteX1" fmla="*/ 4604351 w 4604351"/>
              <a:gd name="connsiteY1" fmla="*/ 0 h 3559732"/>
              <a:gd name="connsiteX0" fmla="*/ 0 w 4604351"/>
              <a:gd name="connsiteY0" fmla="*/ 3559732 h 3559732"/>
              <a:gd name="connsiteX1" fmla="*/ 4604351 w 4604351"/>
              <a:gd name="connsiteY1" fmla="*/ 0 h 3559732"/>
              <a:gd name="connsiteX0" fmla="*/ 0 w 4604351"/>
              <a:gd name="connsiteY0" fmla="*/ 3559732 h 3559732"/>
              <a:gd name="connsiteX1" fmla="*/ 3425643 w 4604351"/>
              <a:gd name="connsiteY1" fmla="*/ 1350502 h 3559732"/>
              <a:gd name="connsiteX2" fmla="*/ 4604351 w 4604351"/>
              <a:gd name="connsiteY2" fmla="*/ 0 h 3559732"/>
              <a:gd name="connsiteX0" fmla="*/ 0 w 4604351"/>
              <a:gd name="connsiteY0" fmla="*/ 3559732 h 3559732"/>
              <a:gd name="connsiteX1" fmla="*/ 3425643 w 4604351"/>
              <a:gd name="connsiteY1" fmla="*/ 1350502 h 3559732"/>
              <a:gd name="connsiteX2" fmla="*/ 4604351 w 4604351"/>
              <a:gd name="connsiteY2" fmla="*/ 0 h 3559732"/>
              <a:gd name="connsiteX0" fmla="*/ 0 w 4604351"/>
              <a:gd name="connsiteY0" fmla="*/ 3559732 h 3559732"/>
              <a:gd name="connsiteX1" fmla="*/ 3425643 w 4604351"/>
              <a:gd name="connsiteY1" fmla="*/ 1350502 h 3559732"/>
              <a:gd name="connsiteX2" fmla="*/ 4604351 w 4604351"/>
              <a:gd name="connsiteY2" fmla="*/ 0 h 3559732"/>
              <a:gd name="connsiteX0" fmla="*/ 0 w 4604351"/>
              <a:gd name="connsiteY0" fmla="*/ 3559732 h 3559732"/>
              <a:gd name="connsiteX1" fmla="*/ 3425643 w 4604351"/>
              <a:gd name="connsiteY1" fmla="*/ 1350502 h 3559732"/>
              <a:gd name="connsiteX2" fmla="*/ 4604351 w 4604351"/>
              <a:gd name="connsiteY2" fmla="*/ 0 h 3559732"/>
              <a:gd name="connsiteX0" fmla="*/ 0 w 4604351"/>
              <a:gd name="connsiteY0" fmla="*/ 3559732 h 3559732"/>
              <a:gd name="connsiteX1" fmla="*/ 3425643 w 4604351"/>
              <a:gd name="connsiteY1" fmla="*/ 1350502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827"/>
              <a:gd name="connsiteX1" fmla="*/ 3409741 w 4604351"/>
              <a:gd name="connsiteY1" fmla="*/ 1350502 h 3559827"/>
              <a:gd name="connsiteX2" fmla="*/ 4604351 w 4604351"/>
              <a:gd name="connsiteY2" fmla="*/ 0 h 3559827"/>
              <a:gd name="connsiteX0" fmla="*/ 0 w 4604351"/>
              <a:gd name="connsiteY0" fmla="*/ 3559732 h 3559827"/>
              <a:gd name="connsiteX1" fmla="*/ 3409741 w 4604351"/>
              <a:gd name="connsiteY1" fmla="*/ 1350502 h 3559827"/>
              <a:gd name="connsiteX2" fmla="*/ 4604351 w 4604351"/>
              <a:gd name="connsiteY2" fmla="*/ 0 h 3559827"/>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1700210 w 4604351"/>
              <a:gd name="connsiteY1" fmla="*/ 2606808 h 3559732"/>
              <a:gd name="connsiteX2" fmla="*/ 3409741 w 4604351"/>
              <a:gd name="connsiteY2" fmla="*/ 1350502 h 3559732"/>
              <a:gd name="connsiteX3" fmla="*/ 4604351 w 4604351"/>
              <a:gd name="connsiteY3" fmla="*/ 0 h 3559732"/>
              <a:gd name="connsiteX0" fmla="*/ 0 w 4604351"/>
              <a:gd name="connsiteY0" fmla="*/ 3559732 h 3559732"/>
              <a:gd name="connsiteX1" fmla="*/ 1700210 w 4604351"/>
              <a:gd name="connsiteY1" fmla="*/ 2606808 h 3559732"/>
              <a:gd name="connsiteX2" fmla="*/ 3409741 w 4604351"/>
              <a:gd name="connsiteY2" fmla="*/ 1350502 h 3559732"/>
              <a:gd name="connsiteX3" fmla="*/ 4604351 w 4604351"/>
              <a:gd name="connsiteY3" fmla="*/ 0 h 3559732"/>
              <a:gd name="connsiteX0" fmla="*/ 0 w 4604351"/>
              <a:gd name="connsiteY0" fmla="*/ 3559732 h 3559732"/>
              <a:gd name="connsiteX1" fmla="*/ 1700210 w 4604351"/>
              <a:gd name="connsiteY1" fmla="*/ 2606808 h 3559732"/>
              <a:gd name="connsiteX2" fmla="*/ 3409741 w 4604351"/>
              <a:gd name="connsiteY2" fmla="*/ 1350502 h 3559732"/>
              <a:gd name="connsiteX3" fmla="*/ 4604351 w 4604351"/>
              <a:gd name="connsiteY3" fmla="*/ 0 h 3559732"/>
              <a:gd name="connsiteX0" fmla="*/ 0 w 4604351"/>
              <a:gd name="connsiteY0" fmla="*/ 3559732 h 3559732"/>
              <a:gd name="connsiteX1" fmla="*/ 1700210 w 4604351"/>
              <a:gd name="connsiteY1" fmla="*/ 2606808 h 3559732"/>
              <a:gd name="connsiteX2" fmla="*/ 3409741 w 4604351"/>
              <a:gd name="connsiteY2" fmla="*/ 1350502 h 3559732"/>
              <a:gd name="connsiteX3" fmla="*/ 4604351 w 4604351"/>
              <a:gd name="connsiteY3" fmla="*/ 0 h 3559732"/>
              <a:gd name="connsiteX0" fmla="*/ 0 w 4604351"/>
              <a:gd name="connsiteY0" fmla="*/ 3559732 h 3559732"/>
              <a:gd name="connsiteX1" fmla="*/ 1700210 w 4604351"/>
              <a:gd name="connsiteY1" fmla="*/ 2606808 h 3559732"/>
              <a:gd name="connsiteX2" fmla="*/ 3409741 w 4604351"/>
              <a:gd name="connsiteY2" fmla="*/ 1350502 h 3559732"/>
              <a:gd name="connsiteX3" fmla="*/ 4604351 w 4604351"/>
              <a:gd name="connsiteY3" fmla="*/ 0 h 3559732"/>
              <a:gd name="connsiteX0" fmla="*/ 0 w 4604351"/>
              <a:gd name="connsiteY0" fmla="*/ 3559732 h 3559732"/>
              <a:gd name="connsiteX1" fmla="*/ 1700210 w 4604351"/>
              <a:gd name="connsiteY1" fmla="*/ 2606808 h 3559732"/>
              <a:gd name="connsiteX2" fmla="*/ 3409741 w 4604351"/>
              <a:gd name="connsiteY2" fmla="*/ 1350502 h 3559732"/>
              <a:gd name="connsiteX3" fmla="*/ 4604351 w 4604351"/>
              <a:gd name="connsiteY3" fmla="*/ 0 h 3559732"/>
              <a:gd name="connsiteX0" fmla="*/ 0 w 4604351"/>
              <a:gd name="connsiteY0" fmla="*/ 3559732 h 3559732"/>
              <a:gd name="connsiteX1" fmla="*/ 1668405 w 4604351"/>
              <a:gd name="connsiteY1" fmla="*/ 2606808 h 3559732"/>
              <a:gd name="connsiteX2" fmla="*/ 3409741 w 4604351"/>
              <a:gd name="connsiteY2" fmla="*/ 1350502 h 3559732"/>
              <a:gd name="connsiteX3" fmla="*/ 4604351 w 4604351"/>
              <a:gd name="connsiteY3" fmla="*/ 0 h 3559732"/>
              <a:gd name="connsiteX0" fmla="*/ 0 w 4604351"/>
              <a:gd name="connsiteY0" fmla="*/ 3559732 h 3559732"/>
              <a:gd name="connsiteX1" fmla="*/ 1692259 w 4604351"/>
              <a:gd name="connsiteY1" fmla="*/ 2630662 h 3559732"/>
              <a:gd name="connsiteX2" fmla="*/ 3409741 w 4604351"/>
              <a:gd name="connsiteY2" fmla="*/ 1350502 h 3559732"/>
              <a:gd name="connsiteX3" fmla="*/ 4604351 w 4604351"/>
              <a:gd name="connsiteY3" fmla="*/ 0 h 3559732"/>
              <a:gd name="connsiteX0" fmla="*/ 0 w 4604351"/>
              <a:gd name="connsiteY0" fmla="*/ 3559732 h 3559732"/>
              <a:gd name="connsiteX1" fmla="*/ 1692259 w 4604351"/>
              <a:gd name="connsiteY1" fmla="*/ 2630662 h 3559732"/>
              <a:gd name="connsiteX2" fmla="*/ 3409741 w 4604351"/>
              <a:gd name="connsiteY2" fmla="*/ 1350502 h 3559732"/>
              <a:gd name="connsiteX3" fmla="*/ 4604351 w 4604351"/>
              <a:gd name="connsiteY3" fmla="*/ 0 h 3559732"/>
              <a:gd name="connsiteX0" fmla="*/ 0 w 4604351"/>
              <a:gd name="connsiteY0" fmla="*/ 3559732 h 3559732"/>
              <a:gd name="connsiteX1" fmla="*/ 1692259 w 4604351"/>
              <a:gd name="connsiteY1" fmla="*/ 2630662 h 3559732"/>
              <a:gd name="connsiteX2" fmla="*/ 3409741 w 4604351"/>
              <a:gd name="connsiteY2" fmla="*/ 1350502 h 3559732"/>
              <a:gd name="connsiteX3" fmla="*/ 4604351 w 4604351"/>
              <a:gd name="connsiteY3" fmla="*/ 0 h 3559732"/>
              <a:gd name="connsiteX0" fmla="*/ 0 w 4604351"/>
              <a:gd name="connsiteY0" fmla="*/ 3559732 h 3559732"/>
              <a:gd name="connsiteX1" fmla="*/ 1668405 w 4604351"/>
              <a:gd name="connsiteY1" fmla="*/ 2622711 h 3559732"/>
              <a:gd name="connsiteX2" fmla="*/ 3409741 w 4604351"/>
              <a:gd name="connsiteY2" fmla="*/ 1350502 h 3559732"/>
              <a:gd name="connsiteX3" fmla="*/ 4604351 w 4604351"/>
              <a:gd name="connsiteY3" fmla="*/ 0 h 3559732"/>
              <a:gd name="connsiteX0" fmla="*/ 0 w 4604351"/>
              <a:gd name="connsiteY0" fmla="*/ 3559732 h 3559732"/>
              <a:gd name="connsiteX1" fmla="*/ 1668405 w 4604351"/>
              <a:gd name="connsiteY1" fmla="*/ 2622711 h 3559732"/>
              <a:gd name="connsiteX2" fmla="*/ 3409741 w 4604351"/>
              <a:gd name="connsiteY2" fmla="*/ 1350502 h 3559732"/>
              <a:gd name="connsiteX3" fmla="*/ 4604351 w 4604351"/>
              <a:gd name="connsiteY3" fmla="*/ 0 h 3559732"/>
              <a:gd name="connsiteX0" fmla="*/ 0 w 4604351"/>
              <a:gd name="connsiteY0" fmla="*/ 3559732 h 3559732"/>
              <a:gd name="connsiteX1" fmla="*/ 1668405 w 4604351"/>
              <a:gd name="connsiteY1" fmla="*/ 2622711 h 3559732"/>
              <a:gd name="connsiteX2" fmla="*/ 3409741 w 4604351"/>
              <a:gd name="connsiteY2" fmla="*/ 1350502 h 3559732"/>
              <a:gd name="connsiteX3" fmla="*/ 4604351 w 4604351"/>
              <a:gd name="connsiteY3" fmla="*/ 0 h 3559732"/>
              <a:gd name="connsiteX0" fmla="*/ 0 w 4604351"/>
              <a:gd name="connsiteY0" fmla="*/ 3559732 h 3559732"/>
              <a:gd name="connsiteX1" fmla="*/ 1668405 w 4604351"/>
              <a:gd name="connsiteY1" fmla="*/ 2622711 h 3559732"/>
              <a:gd name="connsiteX2" fmla="*/ 3409741 w 4604351"/>
              <a:gd name="connsiteY2" fmla="*/ 1350502 h 3559732"/>
              <a:gd name="connsiteX3" fmla="*/ 4604351 w 4604351"/>
              <a:gd name="connsiteY3" fmla="*/ 0 h 3559732"/>
              <a:gd name="connsiteX0" fmla="*/ 0 w 4604351"/>
              <a:gd name="connsiteY0" fmla="*/ 3559732 h 3559732"/>
              <a:gd name="connsiteX1" fmla="*/ 1668405 w 4604351"/>
              <a:gd name="connsiteY1" fmla="*/ 2622711 h 3559732"/>
              <a:gd name="connsiteX2" fmla="*/ 3409741 w 4604351"/>
              <a:gd name="connsiteY2" fmla="*/ 1350502 h 3559732"/>
              <a:gd name="connsiteX3" fmla="*/ 4604351 w 4604351"/>
              <a:gd name="connsiteY3" fmla="*/ 0 h 3559732"/>
              <a:gd name="connsiteX0" fmla="*/ 0 w 4604351"/>
              <a:gd name="connsiteY0" fmla="*/ 3559732 h 3559732"/>
              <a:gd name="connsiteX1" fmla="*/ 1668405 w 4604351"/>
              <a:gd name="connsiteY1" fmla="*/ 2622711 h 3559732"/>
              <a:gd name="connsiteX2" fmla="*/ 3409741 w 4604351"/>
              <a:gd name="connsiteY2" fmla="*/ 1350502 h 3559732"/>
              <a:gd name="connsiteX3" fmla="*/ 4604351 w 4604351"/>
              <a:gd name="connsiteY3" fmla="*/ 0 h 3559732"/>
              <a:gd name="connsiteX0" fmla="*/ 0 w 4604351"/>
              <a:gd name="connsiteY0" fmla="*/ 3559732 h 3559732"/>
              <a:gd name="connsiteX1" fmla="*/ 1668405 w 4604351"/>
              <a:gd name="connsiteY1" fmla="*/ 2622711 h 3559732"/>
              <a:gd name="connsiteX2" fmla="*/ 3409741 w 4604351"/>
              <a:gd name="connsiteY2" fmla="*/ 1350502 h 3559732"/>
              <a:gd name="connsiteX3" fmla="*/ 4604351 w 4604351"/>
              <a:gd name="connsiteY3" fmla="*/ 0 h 3559732"/>
              <a:gd name="connsiteX0" fmla="*/ 0 w 4580497"/>
              <a:gd name="connsiteY0" fmla="*/ 3527927 h 3527927"/>
              <a:gd name="connsiteX1" fmla="*/ 1644551 w 4580497"/>
              <a:gd name="connsiteY1" fmla="*/ 2622711 h 3527927"/>
              <a:gd name="connsiteX2" fmla="*/ 3385887 w 4580497"/>
              <a:gd name="connsiteY2" fmla="*/ 1350502 h 3527927"/>
              <a:gd name="connsiteX3" fmla="*/ 4580497 w 4580497"/>
              <a:gd name="connsiteY3" fmla="*/ 0 h 3527927"/>
              <a:gd name="connsiteX0" fmla="*/ 0 w 4580497"/>
              <a:gd name="connsiteY0" fmla="*/ 3527927 h 3527927"/>
              <a:gd name="connsiteX1" fmla="*/ 1644551 w 4580497"/>
              <a:gd name="connsiteY1" fmla="*/ 2622711 h 3527927"/>
              <a:gd name="connsiteX2" fmla="*/ 3385887 w 4580497"/>
              <a:gd name="connsiteY2" fmla="*/ 1350502 h 3527927"/>
              <a:gd name="connsiteX3" fmla="*/ 4580497 w 4580497"/>
              <a:gd name="connsiteY3" fmla="*/ 0 h 3527927"/>
              <a:gd name="connsiteX0" fmla="*/ 0 w 4580497"/>
              <a:gd name="connsiteY0" fmla="*/ 3527927 h 3527927"/>
              <a:gd name="connsiteX1" fmla="*/ 1644551 w 4580497"/>
              <a:gd name="connsiteY1" fmla="*/ 2622711 h 3527927"/>
              <a:gd name="connsiteX2" fmla="*/ 3385887 w 4580497"/>
              <a:gd name="connsiteY2" fmla="*/ 1350502 h 3527927"/>
              <a:gd name="connsiteX3" fmla="*/ 4580497 w 4580497"/>
              <a:gd name="connsiteY3" fmla="*/ 0 h 3527927"/>
              <a:gd name="connsiteX0" fmla="*/ 0 w 4580497"/>
              <a:gd name="connsiteY0" fmla="*/ 3527927 h 3527927"/>
              <a:gd name="connsiteX1" fmla="*/ 1644551 w 4580497"/>
              <a:gd name="connsiteY1" fmla="*/ 2622711 h 3527927"/>
              <a:gd name="connsiteX2" fmla="*/ 3385887 w 4580497"/>
              <a:gd name="connsiteY2" fmla="*/ 1350502 h 3527927"/>
              <a:gd name="connsiteX3" fmla="*/ 4580497 w 4580497"/>
              <a:gd name="connsiteY3" fmla="*/ 0 h 3527927"/>
              <a:gd name="connsiteX0" fmla="*/ 0 w 3385887"/>
              <a:gd name="connsiteY0" fmla="*/ 2177425 h 2177425"/>
              <a:gd name="connsiteX1" fmla="*/ 1644551 w 3385887"/>
              <a:gd name="connsiteY1" fmla="*/ 1272209 h 2177425"/>
              <a:gd name="connsiteX2" fmla="*/ 3385887 w 3385887"/>
              <a:gd name="connsiteY2" fmla="*/ 0 h 2177425"/>
              <a:gd name="connsiteX0" fmla="*/ 0 w 3390414"/>
              <a:gd name="connsiteY0" fmla="*/ 2186478 h 2186478"/>
              <a:gd name="connsiteX1" fmla="*/ 1644551 w 3390414"/>
              <a:gd name="connsiteY1" fmla="*/ 1281262 h 2186478"/>
              <a:gd name="connsiteX2" fmla="*/ 3390414 w 3390414"/>
              <a:gd name="connsiteY2" fmla="*/ 0 h 2186478"/>
              <a:gd name="connsiteX0" fmla="*/ 0 w 3390414"/>
              <a:gd name="connsiteY0" fmla="*/ 2186478 h 2186478"/>
              <a:gd name="connsiteX1" fmla="*/ 1644551 w 3390414"/>
              <a:gd name="connsiteY1" fmla="*/ 1281262 h 2186478"/>
              <a:gd name="connsiteX2" fmla="*/ 3390414 w 3390414"/>
              <a:gd name="connsiteY2" fmla="*/ 0 h 2186478"/>
              <a:gd name="connsiteX0" fmla="*/ 0 w 3390414"/>
              <a:gd name="connsiteY0" fmla="*/ 2186478 h 2186478"/>
              <a:gd name="connsiteX1" fmla="*/ 1644551 w 3390414"/>
              <a:gd name="connsiteY1" fmla="*/ 1281262 h 2186478"/>
              <a:gd name="connsiteX2" fmla="*/ 3390414 w 3390414"/>
              <a:gd name="connsiteY2" fmla="*/ 0 h 2186478"/>
              <a:gd name="connsiteX0" fmla="*/ 0 w 3390414"/>
              <a:gd name="connsiteY0" fmla="*/ 2186478 h 2186478"/>
              <a:gd name="connsiteX1" fmla="*/ 1644551 w 3390414"/>
              <a:gd name="connsiteY1" fmla="*/ 1281262 h 2186478"/>
              <a:gd name="connsiteX2" fmla="*/ 3390414 w 3390414"/>
              <a:gd name="connsiteY2" fmla="*/ 0 h 2186478"/>
              <a:gd name="connsiteX0" fmla="*/ 0 w 3390414"/>
              <a:gd name="connsiteY0" fmla="*/ 2186478 h 2186478"/>
              <a:gd name="connsiteX1" fmla="*/ 1644551 w 3390414"/>
              <a:gd name="connsiteY1" fmla="*/ 1281262 h 2186478"/>
              <a:gd name="connsiteX2" fmla="*/ 3390414 w 3390414"/>
              <a:gd name="connsiteY2" fmla="*/ 0 h 2186478"/>
              <a:gd name="connsiteX0" fmla="*/ 0 w 3390414"/>
              <a:gd name="connsiteY0" fmla="*/ 2186478 h 2186478"/>
              <a:gd name="connsiteX1" fmla="*/ 1644551 w 3390414"/>
              <a:gd name="connsiteY1" fmla="*/ 1281262 h 2186478"/>
              <a:gd name="connsiteX2" fmla="*/ 3390414 w 3390414"/>
              <a:gd name="connsiteY2" fmla="*/ 0 h 2186478"/>
              <a:gd name="connsiteX0" fmla="*/ 0 w 3390414"/>
              <a:gd name="connsiteY0" fmla="*/ 2186478 h 2186478"/>
              <a:gd name="connsiteX1" fmla="*/ 1644551 w 3390414"/>
              <a:gd name="connsiteY1" fmla="*/ 1281262 h 2186478"/>
              <a:gd name="connsiteX2" fmla="*/ 3390414 w 3390414"/>
              <a:gd name="connsiteY2" fmla="*/ 0 h 2186478"/>
              <a:gd name="connsiteX0" fmla="*/ 0 w 3390414"/>
              <a:gd name="connsiteY0" fmla="*/ 2186478 h 2186478"/>
              <a:gd name="connsiteX1" fmla="*/ 1644551 w 3390414"/>
              <a:gd name="connsiteY1" fmla="*/ 1281262 h 2186478"/>
              <a:gd name="connsiteX2" fmla="*/ 3390414 w 3390414"/>
              <a:gd name="connsiteY2" fmla="*/ 0 h 2186478"/>
              <a:gd name="connsiteX0" fmla="*/ 0 w 4615365"/>
              <a:gd name="connsiteY0" fmla="*/ 3549451 h 3549451"/>
              <a:gd name="connsiteX1" fmla="*/ 1644551 w 4615365"/>
              <a:gd name="connsiteY1" fmla="*/ 2644235 h 3549451"/>
              <a:gd name="connsiteX2" fmla="*/ 4615365 w 4615365"/>
              <a:gd name="connsiteY2" fmla="*/ 0 h 3549451"/>
              <a:gd name="connsiteX0" fmla="*/ 0 w 4615365"/>
              <a:gd name="connsiteY0" fmla="*/ 3549451 h 3549451"/>
              <a:gd name="connsiteX1" fmla="*/ 1644551 w 4615365"/>
              <a:gd name="connsiteY1" fmla="*/ 2644235 h 3549451"/>
              <a:gd name="connsiteX2" fmla="*/ 3378055 w 4615365"/>
              <a:gd name="connsiteY2" fmla="*/ 1250643 h 3549451"/>
              <a:gd name="connsiteX3" fmla="*/ 4615365 w 4615365"/>
              <a:gd name="connsiteY3" fmla="*/ 0 h 3549451"/>
              <a:gd name="connsiteX0" fmla="*/ 0 w 4615365"/>
              <a:gd name="connsiteY0" fmla="*/ 3549451 h 3549451"/>
              <a:gd name="connsiteX1" fmla="*/ 1644551 w 4615365"/>
              <a:gd name="connsiteY1" fmla="*/ 2644235 h 3549451"/>
              <a:gd name="connsiteX2" fmla="*/ 3378055 w 4615365"/>
              <a:gd name="connsiteY2" fmla="*/ 1250643 h 3549451"/>
              <a:gd name="connsiteX3" fmla="*/ 4615365 w 4615365"/>
              <a:gd name="connsiteY3" fmla="*/ 0 h 3549451"/>
              <a:gd name="connsiteX0" fmla="*/ 0 w 4615365"/>
              <a:gd name="connsiteY0" fmla="*/ 3549451 h 3549451"/>
              <a:gd name="connsiteX1" fmla="*/ 1644551 w 4615365"/>
              <a:gd name="connsiteY1" fmla="*/ 2644235 h 3549451"/>
              <a:gd name="connsiteX2" fmla="*/ 3378055 w 4615365"/>
              <a:gd name="connsiteY2" fmla="*/ 1250643 h 3549451"/>
              <a:gd name="connsiteX3" fmla="*/ 4615365 w 4615365"/>
              <a:gd name="connsiteY3" fmla="*/ 0 h 3549451"/>
              <a:gd name="connsiteX0" fmla="*/ 0 w 4615365"/>
              <a:gd name="connsiteY0" fmla="*/ 3549451 h 3549451"/>
              <a:gd name="connsiteX1" fmla="*/ 1644551 w 4615365"/>
              <a:gd name="connsiteY1" fmla="*/ 2644235 h 3549451"/>
              <a:gd name="connsiteX2" fmla="*/ 3378055 w 4615365"/>
              <a:gd name="connsiteY2" fmla="*/ 1250643 h 3549451"/>
              <a:gd name="connsiteX3" fmla="*/ 4615365 w 4615365"/>
              <a:gd name="connsiteY3" fmla="*/ 0 h 3549451"/>
              <a:gd name="connsiteX0" fmla="*/ 0 w 4615365"/>
              <a:gd name="connsiteY0" fmla="*/ 3549451 h 3549451"/>
              <a:gd name="connsiteX1" fmla="*/ 1644551 w 4615365"/>
              <a:gd name="connsiteY1" fmla="*/ 2644235 h 3549451"/>
              <a:gd name="connsiteX2" fmla="*/ 3300417 w 4615365"/>
              <a:gd name="connsiteY2" fmla="*/ 1267896 h 3549451"/>
              <a:gd name="connsiteX3" fmla="*/ 4615365 w 4615365"/>
              <a:gd name="connsiteY3" fmla="*/ 0 h 3549451"/>
              <a:gd name="connsiteX0" fmla="*/ 0 w 4615365"/>
              <a:gd name="connsiteY0" fmla="*/ 3549451 h 3549451"/>
              <a:gd name="connsiteX1" fmla="*/ 1325374 w 4615365"/>
              <a:gd name="connsiteY1" fmla="*/ 3092809 h 3549451"/>
              <a:gd name="connsiteX2" fmla="*/ 3300417 w 4615365"/>
              <a:gd name="connsiteY2" fmla="*/ 1267896 h 3549451"/>
              <a:gd name="connsiteX3" fmla="*/ 4615365 w 4615365"/>
              <a:gd name="connsiteY3" fmla="*/ 0 h 3549451"/>
              <a:gd name="connsiteX0" fmla="*/ 0 w 4589486"/>
              <a:gd name="connsiteY0" fmla="*/ 3540824 h 3540824"/>
              <a:gd name="connsiteX1" fmla="*/ 1299495 w 4589486"/>
              <a:gd name="connsiteY1" fmla="*/ 3092809 h 3540824"/>
              <a:gd name="connsiteX2" fmla="*/ 3274538 w 4589486"/>
              <a:gd name="connsiteY2" fmla="*/ 1267896 h 3540824"/>
              <a:gd name="connsiteX3" fmla="*/ 4589486 w 4589486"/>
              <a:gd name="connsiteY3" fmla="*/ 0 h 3540824"/>
              <a:gd name="connsiteX0" fmla="*/ 0 w 4589486"/>
              <a:gd name="connsiteY0" fmla="*/ 3540824 h 3540824"/>
              <a:gd name="connsiteX1" fmla="*/ 1299495 w 4589486"/>
              <a:gd name="connsiteY1" fmla="*/ 3092809 h 3540824"/>
              <a:gd name="connsiteX2" fmla="*/ 3274538 w 4589486"/>
              <a:gd name="connsiteY2" fmla="*/ 1267896 h 3540824"/>
              <a:gd name="connsiteX3" fmla="*/ 4589486 w 4589486"/>
              <a:gd name="connsiteY3" fmla="*/ 0 h 3540824"/>
              <a:gd name="connsiteX0" fmla="*/ 0 w 4589486"/>
              <a:gd name="connsiteY0" fmla="*/ 3540824 h 3540824"/>
              <a:gd name="connsiteX1" fmla="*/ 2196643 w 4589486"/>
              <a:gd name="connsiteY1" fmla="*/ 1936870 h 3540824"/>
              <a:gd name="connsiteX2" fmla="*/ 3274538 w 4589486"/>
              <a:gd name="connsiteY2" fmla="*/ 1267896 h 3540824"/>
              <a:gd name="connsiteX3" fmla="*/ 4589486 w 4589486"/>
              <a:gd name="connsiteY3" fmla="*/ 0 h 3540824"/>
              <a:gd name="connsiteX0" fmla="*/ 0 w 4589486"/>
              <a:gd name="connsiteY0" fmla="*/ 3540824 h 3540824"/>
              <a:gd name="connsiteX1" fmla="*/ 2196643 w 4589486"/>
              <a:gd name="connsiteY1" fmla="*/ 1936870 h 3540824"/>
              <a:gd name="connsiteX2" fmla="*/ 3274538 w 4589486"/>
              <a:gd name="connsiteY2" fmla="*/ 1267896 h 3540824"/>
              <a:gd name="connsiteX3" fmla="*/ 4589486 w 4589486"/>
              <a:gd name="connsiteY3" fmla="*/ 0 h 3540824"/>
              <a:gd name="connsiteX0" fmla="*/ 0 w 4589486"/>
              <a:gd name="connsiteY0" fmla="*/ 3540824 h 3540824"/>
              <a:gd name="connsiteX1" fmla="*/ 2110379 w 4589486"/>
              <a:gd name="connsiteY1" fmla="*/ 1824726 h 3540824"/>
              <a:gd name="connsiteX2" fmla="*/ 3274538 w 4589486"/>
              <a:gd name="connsiteY2" fmla="*/ 1267896 h 3540824"/>
              <a:gd name="connsiteX3" fmla="*/ 4589486 w 4589486"/>
              <a:gd name="connsiteY3" fmla="*/ 0 h 3540824"/>
              <a:gd name="connsiteX0" fmla="*/ 0 w 4589486"/>
              <a:gd name="connsiteY0" fmla="*/ 3540824 h 3540824"/>
              <a:gd name="connsiteX1" fmla="*/ 2110379 w 4589486"/>
              <a:gd name="connsiteY1" fmla="*/ 1824726 h 3540824"/>
              <a:gd name="connsiteX2" fmla="*/ 3309044 w 4589486"/>
              <a:gd name="connsiteY2" fmla="*/ 1233390 h 3540824"/>
              <a:gd name="connsiteX3" fmla="*/ 4589486 w 4589486"/>
              <a:gd name="connsiteY3" fmla="*/ 0 h 3540824"/>
              <a:gd name="connsiteX0" fmla="*/ 0 w 4589486"/>
              <a:gd name="connsiteY0" fmla="*/ 3540824 h 3540824"/>
              <a:gd name="connsiteX1" fmla="*/ 2110379 w 4589486"/>
              <a:gd name="connsiteY1" fmla="*/ 1824726 h 3540824"/>
              <a:gd name="connsiteX2" fmla="*/ 3309044 w 4589486"/>
              <a:gd name="connsiteY2" fmla="*/ 1233390 h 3540824"/>
              <a:gd name="connsiteX3" fmla="*/ 4589486 w 4589486"/>
              <a:gd name="connsiteY3" fmla="*/ 0 h 3540824"/>
              <a:gd name="connsiteX0" fmla="*/ 0 w 4589486"/>
              <a:gd name="connsiteY0" fmla="*/ 3540824 h 3540824"/>
              <a:gd name="connsiteX1" fmla="*/ 2110379 w 4589486"/>
              <a:gd name="connsiteY1" fmla="*/ 1824726 h 3540824"/>
              <a:gd name="connsiteX2" fmla="*/ 3309044 w 4589486"/>
              <a:gd name="connsiteY2" fmla="*/ 1233390 h 3540824"/>
              <a:gd name="connsiteX3" fmla="*/ 4589486 w 4589486"/>
              <a:gd name="connsiteY3" fmla="*/ 0 h 3540824"/>
              <a:gd name="connsiteX0" fmla="*/ 0 w 4589486"/>
              <a:gd name="connsiteY0" fmla="*/ 3540824 h 3540824"/>
              <a:gd name="connsiteX1" fmla="*/ 2110379 w 4589486"/>
              <a:gd name="connsiteY1" fmla="*/ 1824726 h 3540824"/>
              <a:gd name="connsiteX2" fmla="*/ 3309044 w 4589486"/>
              <a:gd name="connsiteY2" fmla="*/ 1233390 h 3540824"/>
              <a:gd name="connsiteX3" fmla="*/ 4589486 w 4589486"/>
              <a:gd name="connsiteY3" fmla="*/ 0 h 3540824"/>
              <a:gd name="connsiteX0" fmla="*/ 0 w 4589486"/>
              <a:gd name="connsiteY0" fmla="*/ 3540824 h 3540824"/>
              <a:gd name="connsiteX1" fmla="*/ 2110379 w 4589486"/>
              <a:gd name="connsiteY1" fmla="*/ 1824726 h 3540824"/>
              <a:gd name="connsiteX2" fmla="*/ 3265912 w 4589486"/>
              <a:gd name="connsiteY2" fmla="*/ 1259269 h 3540824"/>
              <a:gd name="connsiteX3" fmla="*/ 4589486 w 4589486"/>
              <a:gd name="connsiteY3" fmla="*/ 0 h 3540824"/>
              <a:gd name="connsiteX0" fmla="*/ 0 w 4598113"/>
              <a:gd name="connsiteY0" fmla="*/ 3558077 h 3558077"/>
              <a:gd name="connsiteX1" fmla="*/ 2110379 w 4598113"/>
              <a:gd name="connsiteY1" fmla="*/ 1841979 h 3558077"/>
              <a:gd name="connsiteX2" fmla="*/ 3265912 w 4598113"/>
              <a:gd name="connsiteY2" fmla="*/ 1276522 h 3558077"/>
              <a:gd name="connsiteX3" fmla="*/ 4598113 w 4598113"/>
              <a:gd name="connsiteY3" fmla="*/ 0 h 3558077"/>
              <a:gd name="connsiteX0" fmla="*/ 0 w 4598113"/>
              <a:gd name="connsiteY0" fmla="*/ 3558077 h 3558077"/>
              <a:gd name="connsiteX1" fmla="*/ 2110379 w 4598113"/>
              <a:gd name="connsiteY1" fmla="*/ 1841979 h 3558077"/>
              <a:gd name="connsiteX2" fmla="*/ 3265912 w 4598113"/>
              <a:gd name="connsiteY2" fmla="*/ 1276522 h 3558077"/>
              <a:gd name="connsiteX3" fmla="*/ 4598113 w 4598113"/>
              <a:gd name="connsiteY3" fmla="*/ 0 h 3558077"/>
              <a:gd name="connsiteX0" fmla="*/ 0 w 4598113"/>
              <a:gd name="connsiteY0" fmla="*/ 3558077 h 3558077"/>
              <a:gd name="connsiteX1" fmla="*/ 2110379 w 4598113"/>
              <a:gd name="connsiteY1" fmla="*/ 1841979 h 3558077"/>
              <a:gd name="connsiteX2" fmla="*/ 3265912 w 4598113"/>
              <a:gd name="connsiteY2" fmla="*/ 1276522 h 3558077"/>
              <a:gd name="connsiteX3" fmla="*/ 4598113 w 4598113"/>
              <a:gd name="connsiteY3" fmla="*/ 0 h 3558077"/>
              <a:gd name="connsiteX0" fmla="*/ 0 w 4598113"/>
              <a:gd name="connsiteY0" fmla="*/ 3558077 h 3558077"/>
              <a:gd name="connsiteX1" fmla="*/ 2110379 w 4598113"/>
              <a:gd name="connsiteY1" fmla="*/ 1841979 h 3558077"/>
              <a:gd name="connsiteX2" fmla="*/ 3300417 w 4598113"/>
              <a:gd name="connsiteY2" fmla="*/ 1242017 h 3558077"/>
              <a:gd name="connsiteX3" fmla="*/ 4598113 w 4598113"/>
              <a:gd name="connsiteY3" fmla="*/ 0 h 3558077"/>
              <a:gd name="connsiteX0" fmla="*/ 0 w 4598113"/>
              <a:gd name="connsiteY0" fmla="*/ 3558077 h 3558077"/>
              <a:gd name="connsiteX1" fmla="*/ 2110379 w 4598113"/>
              <a:gd name="connsiteY1" fmla="*/ 1841979 h 3558077"/>
              <a:gd name="connsiteX2" fmla="*/ 3300417 w 4598113"/>
              <a:gd name="connsiteY2" fmla="*/ 1242017 h 3558077"/>
              <a:gd name="connsiteX3" fmla="*/ 4598113 w 4598113"/>
              <a:gd name="connsiteY3" fmla="*/ 0 h 3558077"/>
              <a:gd name="connsiteX0" fmla="*/ 0 w 4598113"/>
              <a:gd name="connsiteY0" fmla="*/ 3558077 h 3558077"/>
              <a:gd name="connsiteX1" fmla="*/ 2136259 w 4598113"/>
              <a:gd name="connsiteY1" fmla="*/ 1816099 h 3558077"/>
              <a:gd name="connsiteX2" fmla="*/ 3300417 w 4598113"/>
              <a:gd name="connsiteY2" fmla="*/ 1242017 h 3558077"/>
              <a:gd name="connsiteX3" fmla="*/ 4598113 w 4598113"/>
              <a:gd name="connsiteY3" fmla="*/ 0 h 3558077"/>
              <a:gd name="connsiteX0" fmla="*/ 0 w 4598113"/>
              <a:gd name="connsiteY0" fmla="*/ 3558077 h 3558077"/>
              <a:gd name="connsiteX1" fmla="*/ 2136259 w 4598113"/>
              <a:gd name="connsiteY1" fmla="*/ 1816099 h 3558077"/>
              <a:gd name="connsiteX2" fmla="*/ 3300417 w 4598113"/>
              <a:gd name="connsiteY2" fmla="*/ 1242017 h 3558077"/>
              <a:gd name="connsiteX3" fmla="*/ 4598113 w 4598113"/>
              <a:gd name="connsiteY3" fmla="*/ 0 h 3558077"/>
              <a:gd name="connsiteX0" fmla="*/ 0 w 4598113"/>
              <a:gd name="connsiteY0" fmla="*/ 3558077 h 3558077"/>
              <a:gd name="connsiteX1" fmla="*/ 2179391 w 4598113"/>
              <a:gd name="connsiteY1" fmla="*/ 1841978 h 3558077"/>
              <a:gd name="connsiteX2" fmla="*/ 3300417 w 4598113"/>
              <a:gd name="connsiteY2" fmla="*/ 1242017 h 3558077"/>
              <a:gd name="connsiteX3" fmla="*/ 4598113 w 4598113"/>
              <a:gd name="connsiteY3" fmla="*/ 0 h 3558077"/>
              <a:gd name="connsiteX0" fmla="*/ 0 w 4623992"/>
              <a:gd name="connsiteY0" fmla="*/ 3549451 h 3549451"/>
              <a:gd name="connsiteX1" fmla="*/ 2205270 w 4623992"/>
              <a:gd name="connsiteY1" fmla="*/ 1841978 h 3549451"/>
              <a:gd name="connsiteX2" fmla="*/ 3326296 w 4623992"/>
              <a:gd name="connsiteY2" fmla="*/ 1242017 h 3549451"/>
              <a:gd name="connsiteX3" fmla="*/ 4623992 w 4623992"/>
              <a:gd name="connsiteY3" fmla="*/ 0 h 3549451"/>
              <a:gd name="connsiteX0" fmla="*/ 0 w 4623992"/>
              <a:gd name="connsiteY0" fmla="*/ 3549451 h 3549451"/>
              <a:gd name="connsiteX1" fmla="*/ 2205270 w 4623992"/>
              <a:gd name="connsiteY1" fmla="*/ 1841978 h 3549451"/>
              <a:gd name="connsiteX2" fmla="*/ 3326296 w 4623992"/>
              <a:gd name="connsiteY2" fmla="*/ 1242017 h 3549451"/>
              <a:gd name="connsiteX3" fmla="*/ 4623992 w 4623992"/>
              <a:gd name="connsiteY3" fmla="*/ 0 h 3549451"/>
              <a:gd name="connsiteX0" fmla="*/ 0 w 4623992"/>
              <a:gd name="connsiteY0" fmla="*/ 3549451 h 3549451"/>
              <a:gd name="connsiteX1" fmla="*/ 2205270 w 4623992"/>
              <a:gd name="connsiteY1" fmla="*/ 1841978 h 3549451"/>
              <a:gd name="connsiteX2" fmla="*/ 3326296 w 4623992"/>
              <a:gd name="connsiteY2" fmla="*/ 1242017 h 3549451"/>
              <a:gd name="connsiteX3" fmla="*/ 4623992 w 4623992"/>
              <a:gd name="connsiteY3" fmla="*/ 0 h 3549451"/>
              <a:gd name="connsiteX0" fmla="*/ 0 w 4623992"/>
              <a:gd name="connsiteY0" fmla="*/ 3549451 h 3549451"/>
              <a:gd name="connsiteX1" fmla="*/ 2075874 w 4623992"/>
              <a:gd name="connsiteY1" fmla="*/ 1988627 h 3549451"/>
              <a:gd name="connsiteX2" fmla="*/ 3326296 w 4623992"/>
              <a:gd name="connsiteY2" fmla="*/ 1242017 h 3549451"/>
              <a:gd name="connsiteX3" fmla="*/ 4623992 w 4623992"/>
              <a:gd name="connsiteY3" fmla="*/ 0 h 3549451"/>
              <a:gd name="connsiteX0" fmla="*/ 0 w 4623992"/>
              <a:gd name="connsiteY0" fmla="*/ 3549451 h 3549451"/>
              <a:gd name="connsiteX1" fmla="*/ 2075874 w 4623992"/>
              <a:gd name="connsiteY1" fmla="*/ 1988627 h 3549451"/>
              <a:gd name="connsiteX2" fmla="*/ 3326296 w 4623992"/>
              <a:gd name="connsiteY2" fmla="*/ 1242017 h 3549451"/>
              <a:gd name="connsiteX3" fmla="*/ 4623992 w 4623992"/>
              <a:gd name="connsiteY3" fmla="*/ 0 h 3549451"/>
              <a:gd name="connsiteX0" fmla="*/ 0 w 4623992"/>
              <a:gd name="connsiteY0" fmla="*/ 3549451 h 3549451"/>
              <a:gd name="connsiteX1" fmla="*/ 2075874 w 4623992"/>
              <a:gd name="connsiteY1" fmla="*/ 1988627 h 3549451"/>
              <a:gd name="connsiteX2" fmla="*/ 3291791 w 4623992"/>
              <a:gd name="connsiteY2" fmla="*/ 1293776 h 3549451"/>
              <a:gd name="connsiteX3" fmla="*/ 4623992 w 4623992"/>
              <a:gd name="connsiteY3" fmla="*/ 0 h 3549451"/>
              <a:gd name="connsiteX0" fmla="*/ 0 w 4623992"/>
              <a:gd name="connsiteY0" fmla="*/ 3549451 h 3549451"/>
              <a:gd name="connsiteX1" fmla="*/ 1998236 w 4623992"/>
              <a:gd name="connsiteY1" fmla="*/ 2100771 h 3549451"/>
              <a:gd name="connsiteX2" fmla="*/ 3291791 w 4623992"/>
              <a:gd name="connsiteY2" fmla="*/ 1293776 h 3549451"/>
              <a:gd name="connsiteX3" fmla="*/ 4623992 w 4623992"/>
              <a:gd name="connsiteY3" fmla="*/ 0 h 3549451"/>
              <a:gd name="connsiteX0" fmla="*/ 0 w 4623992"/>
              <a:gd name="connsiteY0" fmla="*/ 3549451 h 3549451"/>
              <a:gd name="connsiteX1" fmla="*/ 1998236 w 4623992"/>
              <a:gd name="connsiteY1" fmla="*/ 2100771 h 3549451"/>
              <a:gd name="connsiteX2" fmla="*/ 3291791 w 4623992"/>
              <a:gd name="connsiteY2" fmla="*/ 1293776 h 3549451"/>
              <a:gd name="connsiteX3" fmla="*/ 4623992 w 4623992"/>
              <a:gd name="connsiteY3" fmla="*/ 0 h 3549451"/>
              <a:gd name="connsiteX0" fmla="*/ 0 w 4623992"/>
              <a:gd name="connsiteY0" fmla="*/ 3549451 h 3549451"/>
              <a:gd name="connsiteX1" fmla="*/ 1937851 w 4623992"/>
              <a:gd name="connsiteY1" fmla="*/ 2066265 h 3549451"/>
              <a:gd name="connsiteX2" fmla="*/ 3291791 w 4623992"/>
              <a:gd name="connsiteY2" fmla="*/ 1293776 h 3549451"/>
              <a:gd name="connsiteX3" fmla="*/ 4623992 w 4623992"/>
              <a:gd name="connsiteY3" fmla="*/ 0 h 3549451"/>
              <a:gd name="connsiteX0" fmla="*/ 0 w 4623992"/>
              <a:gd name="connsiteY0" fmla="*/ 3549451 h 3549451"/>
              <a:gd name="connsiteX1" fmla="*/ 1937851 w 4623992"/>
              <a:gd name="connsiteY1" fmla="*/ 2066265 h 3549451"/>
              <a:gd name="connsiteX2" fmla="*/ 3291791 w 4623992"/>
              <a:gd name="connsiteY2" fmla="*/ 1293776 h 3549451"/>
              <a:gd name="connsiteX3" fmla="*/ 4623992 w 4623992"/>
              <a:gd name="connsiteY3" fmla="*/ 0 h 3549451"/>
              <a:gd name="connsiteX0" fmla="*/ 0 w 4623992"/>
              <a:gd name="connsiteY0" fmla="*/ 3549451 h 3549451"/>
              <a:gd name="connsiteX1" fmla="*/ 1937851 w 4623992"/>
              <a:gd name="connsiteY1" fmla="*/ 2066265 h 3549451"/>
              <a:gd name="connsiteX2" fmla="*/ 3291791 w 4623992"/>
              <a:gd name="connsiteY2" fmla="*/ 1293776 h 3549451"/>
              <a:gd name="connsiteX3" fmla="*/ 4623992 w 4623992"/>
              <a:gd name="connsiteY3" fmla="*/ 0 h 3549451"/>
              <a:gd name="connsiteX0" fmla="*/ 0 w 4623992"/>
              <a:gd name="connsiteY0" fmla="*/ 3549451 h 3549451"/>
              <a:gd name="connsiteX1" fmla="*/ 1937851 w 4623992"/>
              <a:gd name="connsiteY1" fmla="*/ 2066265 h 3549451"/>
              <a:gd name="connsiteX2" fmla="*/ 3274538 w 4623992"/>
              <a:gd name="connsiteY2" fmla="*/ 1233391 h 3549451"/>
              <a:gd name="connsiteX3" fmla="*/ 4623992 w 4623992"/>
              <a:gd name="connsiteY3" fmla="*/ 0 h 3549451"/>
              <a:gd name="connsiteX0" fmla="*/ 0 w 4623992"/>
              <a:gd name="connsiteY0" fmla="*/ 3549451 h 3549451"/>
              <a:gd name="connsiteX1" fmla="*/ 1937851 w 4623992"/>
              <a:gd name="connsiteY1" fmla="*/ 2066265 h 3549451"/>
              <a:gd name="connsiteX2" fmla="*/ 3274538 w 4623992"/>
              <a:gd name="connsiteY2" fmla="*/ 1233391 h 3549451"/>
              <a:gd name="connsiteX3" fmla="*/ 4623992 w 4623992"/>
              <a:gd name="connsiteY3" fmla="*/ 0 h 3549451"/>
              <a:gd name="connsiteX0" fmla="*/ 0 w 4623992"/>
              <a:gd name="connsiteY0" fmla="*/ 3583957 h 3583957"/>
              <a:gd name="connsiteX1" fmla="*/ 1937851 w 4623992"/>
              <a:gd name="connsiteY1" fmla="*/ 2100771 h 3583957"/>
              <a:gd name="connsiteX2" fmla="*/ 3274538 w 4623992"/>
              <a:gd name="connsiteY2" fmla="*/ 1267897 h 3583957"/>
              <a:gd name="connsiteX3" fmla="*/ 4623992 w 4623992"/>
              <a:gd name="connsiteY3" fmla="*/ 0 h 3583957"/>
              <a:gd name="connsiteX0" fmla="*/ 0 w 4623992"/>
              <a:gd name="connsiteY0" fmla="*/ 3583957 h 3583957"/>
              <a:gd name="connsiteX1" fmla="*/ 1937851 w 4623992"/>
              <a:gd name="connsiteY1" fmla="*/ 2100771 h 3583957"/>
              <a:gd name="connsiteX2" fmla="*/ 3274538 w 4623992"/>
              <a:gd name="connsiteY2" fmla="*/ 1267897 h 3583957"/>
              <a:gd name="connsiteX3" fmla="*/ 4623992 w 4623992"/>
              <a:gd name="connsiteY3" fmla="*/ 0 h 3583957"/>
              <a:gd name="connsiteX0" fmla="*/ 0 w 4623992"/>
              <a:gd name="connsiteY0" fmla="*/ 3583957 h 3583957"/>
              <a:gd name="connsiteX1" fmla="*/ 1937851 w 4623992"/>
              <a:gd name="connsiteY1" fmla="*/ 2100771 h 3583957"/>
              <a:gd name="connsiteX2" fmla="*/ 3343549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43549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43549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43549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43549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43549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43549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43549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43549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43549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43549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283164 w 4623992"/>
              <a:gd name="connsiteY2" fmla="*/ 1371414 h 3583957"/>
              <a:gd name="connsiteX3" fmla="*/ 4623992 w 4623992"/>
              <a:gd name="connsiteY3" fmla="*/ 0 h 3583957"/>
              <a:gd name="connsiteX0" fmla="*/ 0 w 4623992"/>
              <a:gd name="connsiteY0" fmla="*/ 3583957 h 3583957"/>
              <a:gd name="connsiteX1" fmla="*/ 2101753 w 4623992"/>
              <a:gd name="connsiteY1" fmla="*/ 1997254 h 3583957"/>
              <a:gd name="connsiteX2" fmla="*/ 3283164 w 4623992"/>
              <a:gd name="connsiteY2" fmla="*/ 1371414 h 3583957"/>
              <a:gd name="connsiteX3" fmla="*/ 4623992 w 4623992"/>
              <a:gd name="connsiteY3" fmla="*/ 0 h 3583957"/>
              <a:gd name="connsiteX0" fmla="*/ 0 w 4623992"/>
              <a:gd name="connsiteY0" fmla="*/ 3583957 h 3583957"/>
              <a:gd name="connsiteX1" fmla="*/ 2101753 w 4623992"/>
              <a:gd name="connsiteY1" fmla="*/ 1997254 h 3583957"/>
              <a:gd name="connsiteX2" fmla="*/ 3283164 w 4623992"/>
              <a:gd name="connsiteY2" fmla="*/ 1371414 h 3583957"/>
              <a:gd name="connsiteX3" fmla="*/ 4623992 w 4623992"/>
              <a:gd name="connsiteY3" fmla="*/ 0 h 3583957"/>
              <a:gd name="connsiteX0" fmla="*/ 0 w 4623992"/>
              <a:gd name="connsiteY0" fmla="*/ 3583957 h 3583957"/>
              <a:gd name="connsiteX1" fmla="*/ 2101753 w 4623992"/>
              <a:gd name="connsiteY1" fmla="*/ 1997254 h 3583957"/>
              <a:gd name="connsiteX2" fmla="*/ 3283164 w 4623992"/>
              <a:gd name="connsiteY2" fmla="*/ 1371414 h 3583957"/>
              <a:gd name="connsiteX3" fmla="*/ 4623992 w 4623992"/>
              <a:gd name="connsiteY3" fmla="*/ 0 h 3583957"/>
              <a:gd name="connsiteX0" fmla="*/ 0 w 4623992"/>
              <a:gd name="connsiteY0" fmla="*/ 3583957 h 3583957"/>
              <a:gd name="connsiteX1" fmla="*/ 2101753 w 4623992"/>
              <a:gd name="connsiteY1" fmla="*/ 1997254 h 3583957"/>
              <a:gd name="connsiteX2" fmla="*/ 3283164 w 4623992"/>
              <a:gd name="connsiteY2" fmla="*/ 1371414 h 3583957"/>
              <a:gd name="connsiteX3" fmla="*/ 4623992 w 4623992"/>
              <a:gd name="connsiteY3" fmla="*/ 0 h 3583957"/>
              <a:gd name="connsiteX0" fmla="*/ 0 w 4623992"/>
              <a:gd name="connsiteY0" fmla="*/ 3583957 h 3583957"/>
              <a:gd name="connsiteX1" fmla="*/ 2101753 w 4623992"/>
              <a:gd name="connsiteY1" fmla="*/ 1997254 h 3583957"/>
              <a:gd name="connsiteX2" fmla="*/ 3283164 w 4623992"/>
              <a:gd name="connsiteY2" fmla="*/ 1371414 h 3583957"/>
              <a:gd name="connsiteX3" fmla="*/ 4623992 w 4623992"/>
              <a:gd name="connsiteY3" fmla="*/ 0 h 3583957"/>
              <a:gd name="connsiteX0" fmla="*/ 0 w 4623992"/>
              <a:gd name="connsiteY0" fmla="*/ 3583957 h 3583957"/>
              <a:gd name="connsiteX1" fmla="*/ 2101753 w 4623992"/>
              <a:gd name="connsiteY1" fmla="*/ 1997254 h 3583957"/>
              <a:gd name="connsiteX2" fmla="*/ 3283164 w 4623992"/>
              <a:gd name="connsiteY2" fmla="*/ 1371414 h 3583957"/>
              <a:gd name="connsiteX3" fmla="*/ 4623992 w 4623992"/>
              <a:gd name="connsiteY3" fmla="*/ 0 h 3583957"/>
              <a:gd name="connsiteX0" fmla="*/ 0 w 4623992"/>
              <a:gd name="connsiteY0" fmla="*/ 3583957 h 3583957"/>
              <a:gd name="connsiteX1" fmla="*/ 2101753 w 4623992"/>
              <a:gd name="connsiteY1" fmla="*/ 1997254 h 3583957"/>
              <a:gd name="connsiteX2" fmla="*/ 3283164 w 4623992"/>
              <a:gd name="connsiteY2" fmla="*/ 1371414 h 3583957"/>
              <a:gd name="connsiteX3" fmla="*/ 4623992 w 4623992"/>
              <a:gd name="connsiteY3" fmla="*/ 0 h 3583957"/>
              <a:gd name="connsiteX0" fmla="*/ 0 w 4623992"/>
              <a:gd name="connsiteY0" fmla="*/ 3583957 h 3583957"/>
              <a:gd name="connsiteX1" fmla="*/ 2101753 w 4623992"/>
              <a:gd name="connsiteY1" fmla="*/ 1997254 h 3583957"/>
              <a:gd name="connsiteX2" fmla="*/ 3317670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17670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17670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17670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17670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17670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17670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17670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075874 w 4623992"/>
              <a:gd name="connsiteY1" fmla="*/ 1980001 h 3583957"/>
              <a:gd name="connsiteX2" fmla="*/ 3257285 w 4623992"/>
              <a:gd name="connsiteY2" fmla="*/ 1319656 h 3583957"/>
              <a:gd name="connsiteX3" fmla="*/ 4623992 w 4623992"/>
              <a:gd name="connsiteY3" fmla="*/ 0 h 3583957"/>
              <a:gd name="connsiteX0" fmla="*/ 0 w 4615366"/>
              <a:gd name="connsiteY0" fmla="*/ 3549451 h 3549451"/>
              <a:gd name="connsiteX1" fmla="*/ 2067248 w 4615366"/>
              <a:gd name="connsiteY1" fmla="*/ 1980001 h 3549451"/>
              <a:gd name="connsiteX2" fmla="*/ 3248659 w 4615366"/>
              <a:gd name="connsiteY2" fmla="*/ 1319656 h 3549451"/>
              <a:gd name="connsiteX3" fmla="*/ 4615366 w 4615366"/>
              <a:gd name="connsiteY3" fmla="*/ 0 h 3549451"/>
              <a:gd name="connsiteX0" fmla="*/ 0 w 4615366"/>
              <a:gd name="connsiteY0" fmla="*/ 3549451 h 3549451"/>
              <a:gd name="connsiteX1" fmla="*/ 2067248 w 4615366"/>
              <a:gd name="connsiteY1" fmla="*/ 1980001 h 3549451"/>
              <a:gd name="connsiteX2" fmla="*/ 3248659 w 4615366"/>
              <a:gd name="connsiteY2" fmla="*/ 1319656 h 3549451"/>
              <a:gd name="connsiteX3" fmla="*/ 4615366 w 4615366"/>
              <a:gd name="connsiteY3" fmla="*/ 0 h 3549451"/>
              <a:gd name="connsiteX0" fmla="*/ 0 w 4615366"/>
              <a:gd name="connsiteY0" fmla="*/ 3549451 h 3549451"/>
              <a:gd name="connsiteX1" fmla="*/ 2067248 w 4615366"/>
              <a:gd name="connsiteY1" fmla="*/ 1980001 h 3549451"/>
              <a:gd name="connsiteX2" fmla="*/ 3248659 w 4615366"/>
              <a:gd name="connsiteY2" fmla="*/ 1319656 h 3549451"/>
              <a:gd name="connsiteX3" fmla="*/ 4615366 w 4615366"/>
              <a:gd name="connsiteY3" fmla="*/ 0 h 3549451"/>
              <a:gd name="connsiteX0" fmla="*/ 0 w 4615366"/>
              <a:gd name="connsiteY0" fmla="*/ 3549451 h 3549451"/>
              <a:gd name="connsiteX1" fmla="*/ 2067248 w 4615366"/>
              <a:gd name="connsiteY1" fmla="*/ 1980001 h 3549451"/>
              <a:gd name="connsiteX2" fmla="*/ 3248659 w 4615366"/>
              <a:gd name="connsiteY2" fmla="*/ 1319656 h 3549451"/>
              <a:gd name="connsiteX3" fmla="*/ 4615366 w 4615366"/>
              <a:gd name="connsiteY3" fmla="*/ 0 h 3549451"/>
              <a:gd name="connsiteX0" fmla="*/ 0 w 4615366"/>
              <a:gd name="connsiteY0" fmla="*/ 3549451 h 3549451"/>
              <a:gd name="connsiteX1" fmla="*/ 2067248 w 4615366"/>
              <a:gd name="connsiteY1" fmla="*/ 1980001 h 3549451"/>
              <a:gd name="connsiteX2" fmla="*/ 3248659 w 4615366"/>
              <a:gd name="connsiteY2" fmla="*/ 1319656 h 3549451"/>
              <a:gd name="connsiteX3" fmla="*/ 4615366 w 4615366"/>
              <a:gd name="connsiteY3" fmla="*/ 0 h 3549451"/>
              <a:gd name="connsiteX0" fmla="*/ 0 w 4615366"/>
              <a:gd name="connsiteY0" fmla="*/ 3549451 h 3549451"/>
              <a:gd name="connsiteX1" fmla="*/ 2067248 w 4615366"/>
              <a:gd name="connsiteY1" fmla="*/ 1980001 h 3549451"/>
              <a:gd name="connsiteX2" fmla="*/ 3248659 w 4615366"/>
              <a:gd name="connsiteY2" fmla="*/ 1319656 h 3549451"/>
              <a:gd name="connsiteX3" fmla="*/ 4615366 w 4615366"/>
              <a:gd name="connsiteY3" fmla="*/ 0 h 3549451"/>
              <a:gd name="connsiteX0" fmla="*/ 0 w 4615366"/>
              <a:gd name="connsiteY0" fmla="*/ 3549451 h 3549451"/>
              <a:gd name="connsiteX1" fmla="*/ 2067248 w 4615366"/>
              <a:gd name="connsiteY1" fmla="*/ 1980001 h 3549451"/>
              <a:gd name="connsiteX2" fmla="*/ 3248659 w 4615366"/>
              <a:gd name="connsiteY2" fmla="*/ 1319656 h 3549451"/>
              <a:gd name="connsiteX3" fmla="*/ 4615366 w 4615366"/>
              <a:gd name="connsiteY3" fmla="*/ 0 h 3549451"/>
              <a:gd name="connsiteX0" fmla="*/ 0 w 4615366"/>
              <a:gd name="connsiteY0" fmla="*/ 3549451 h 3549451"/>
              <a:gd name="connsiteX1" fmla="*/ 2067248 w 4615366"/>
              <a:gd name="connsiteY1" fmla="*/ 1980001 h 3549451"/>
              <a:gd name="connsiteX2" fmla="*/ 3248659 w 4615366"/>
              <a:gd name="connsiteY2" fmla="*/ 1319656 h 3549451"/>
              <a:gd name="connsiteX3" fmla="*/ 4615366 w 4615366"/>
              <a:gd name="connsiteY3" fmla="*/ 0 h 3549451"/>
              <a:gd name="connsiteX0" fmla="*/ 0 w 4615366"/>
              <a:gd name="connsiteY0" fmla="*/ 3549451 h 3549451"/>
              <a:gd name="connsiteX1" fmla="*/ 2067248 w 4615366"/>
              <a:gd name="connsiteY1" fmla="*/ 1980001 h 3549451"/>
              <a:gd name="connsiteX2" fmla="*/ 3326297 w 4615366"/>
              <a:gd name="connsiteY2" fmla="*/ 1267897 h 3549451"/>
              <a:gd name="connsiteX3" fmla="*/ 4615366 w 4615366"/>
              <a:gd name="connsiteY3" fmla="*/ 0 h 3549451"/>
              <a:gd name="connsiteX0" fmla="*/ 0 w 4615366"/>
              <a:gd name="connsiteY0" fmla="*/ 3549451 h 3549451"/>
              <a:gd name="connsiteX1" fmla="*/ 2067248 w 4615366"/>
              <a:gd name="connsiteY1" fmla="*/ 1980001 h 3549451"/>
              <a:gd name="connsiteX2" fmla="*/ 3274538 w 4615366"/>
              <a:gd name="connsiteY2" fmla="*/ 1293776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283166 w 4615366"/>
              <a:gd name="connsiteY2" fmla="*/ 1293776 h 3549451"/>
              <a:gd name="connsiteX3" fmla="*/ 4615366 w 4615366"/>
              <a:gd name="connsiteY3" fmla="*/ 0 h 3549451"/>
              <a:gd name="connsiteX0" fmla="*/ 0 w 4615366"/>
              <a:gd name="connsiteY0" fmla="*/ 3549451 h 3549451"/>
              <a:gd name="connsiteX1" fmla="*/ 2067248 w 4615366"/>
              <a:gd name="connsiteY1" fmla="*/ 1980001 h 3549451"/>
              <a:gd name="connsiteX2" fmla="*/ 3283166 w 4615366"/>
              <a:gd name="connsiteY2" fmla="*/ 1293776 h 3549451"/>
              <a:gd name="connsiteX3" fmla="*/ 4615366 w 4615366"/>
              <a:gd name="connsiteY3" fmla="*/ 0 h 3549451"/>
              <a:gd name="connsiteX0" fmla="*/ 0 w 4615366"/>
              <a:gd name="connsiteY0" fmla="*/ 3549451 h 3549451"/>
              <a:gd name="connsiteX1" fmla="*/ 2067248 w 4615366"/>
              <a:gd name="connsiteY1" fmla="*/ 1980001 h 3549451"/>
              <a:gd name="connsiteX2" fmla="*/ 3283166 w 4615366"/>
              <a:gd name="connsiteY2" fmla="*/ 1293776 h 3549451"/>
              <a:gd name="connsiteX3" fmla="*/ 4615366 w 4615366"/>
              <a:gd name="connsiteY3" fmla="*/ 0 h 3549451"/>
              <a:gd name="connsiteX0" fmla="*/ 0 w 4615366"/>
              <a:gd name="connsiteY0" fmla="*/ 3549451 h 3549451"/>
              <a:gd name="connsiteX1" fmla="*/ 2067248 w 4615366"/>
              <a:gd name="connsiteY1" fmla="*/ 1980001 h 3549451"/>
              <a:gd name="connsiteX2" fmla="*/ 3283166 w 4615366"/>
              <a:gd name="connsiteY2" fmla="*/ 1293776 h 3549451"/>
              <a:gd name="connsiteX3" fmla="*/ 4615366 w 4615366"/>
              <a:gd name="connsiteY3" fmla="*/ 0 h 3549451"/>
              <a:gd name="connsiteX0" fmla="*/ 0 w 4615366"/>
              <a:gd name="connsiteY0" fmla="*/ 3549451 h 3549451"/>
              <a:gd name="connsiteX1" fmla="*/ 2067248 w 4615366"/>
              <a:gd name="connsiteY1" fmla="*/ 1980001 h 3549451"/>
              <a:gd name="connsiteX2" fmla="*/ 3283166 w 4615366"/>
              <a:gd name="connsiteY2" fmla="*/ 1293776 h 3549451"/>
              <a:gd name="connsiteX3" fmla="*/ 4615366 w 4615366"/>
              <a:gd name="connsiteY3" fmla="*/ 0 h 3549451"/>
              <a:gd name="connsiteX0" fmla="*/ 0 w 4615366"/>
              <a:gd name="connsiteY0" fmla="*/ 3549451 h 3549451"/>
              <a:gd name="connsiteX1" fmla="*/ 2067248 w 4615366"/>
              <a:gd name="connsiteY1" fmla="*/ 1980001 h 3549451"/>
              <a:gd name="connsiteX2" fmla="*/ 3283166 w 4615366"/>
              <a:gd name="connsiteY2" fmla="*/ 1293776 h 3549451"/>
              <a:gd name="connsiteX3" fmla="*/ 4615366 w 4615366"/>
              <a:gd name="connsiteY3" fmla="*/ 0 h 3549451"/>
              <a:gd name="connsiteX0" fmla="*/ 0 w 4615366"/>
              <a:gd name="connsiteY0" fmla="*/ 3549451 h 3549451"/>
              <a:gd name="connsiteX1" fmla="*/ 2067248 w 4615366"/>
              <a:gd name="connsiteY1" fmla="*/ 1980001 h 3549451"/>
              <a:gd name="connsiteX2" fmla="*/ 3283166 w 4615366"/>
              <a:gd name="connsiteY2" fmla="*/ 1293776 h 3549451"/>
              <a:gd name="connsiteX3" fmla="*/ 4615366 w 4615366"/>
              <a:gd name="connsiteY3" fmla="*/ 0 h 3549451"/>
              <a:gd name="connsiteX0" fmla="*/ 0 w 4615366"/>
              <a:gd name="connsiteY0" fmla="*/ 3549451 h 3549451"/>
              <a:gd name="connsiteX1" fmla="*/ 2067248 w 4615366"/>
              <a:gd name="connsiteY1" fmla="*/ 1980001 h 3549451"/>
              <a:gd name="connsiteX2" fmla="*/ 3240034 w 4615366"/>
              <a:gd name="connsiteY2" fmla="*/ 1336909 h 3549451"/>
              <a:gd name="connsiteX3" fmla="*/ 4615366 w 4615366"/>
              <a:gd name="connsiteY3" fmla="*/ 0 h 3549451"/>
              <a:gd name="connsiteX0" fmla="*/ 0 w 4615366"/>
              <a:gd name="connsiteY0" fmla="*/ 3549451 h 3549451"/>
              <a:gd name="connsiteX1" fmla="*/ 2067248 w 4615366"/>
              <a:gd name="connsiteY1" fmla="*/ 1980001 h 3549451"/>
              <a:gd name="connsiteX2" fmla="*/ 3240034 w 4615366"/>
              <a:gd name="connsiteY2" fmla="*/ 1336909 h 3549451"/>
              <a:gd name="connsiteX3" fmla="*/ 4615366 w 4615366"/>
              <a:gd name="connsiteY3" fmla="*/ 0 h 3549451"/>
              <a:gd name="connsiteX0" fmla="*/ 0 w 4615366"/>
              <a:gd name="connsiteY0" fmla="*/ 3549451 h 3549451"/>
              <a:gd name="connsiteX1" fmla="*/ 2067248 w 4615366"/>
              <a:gd name="connsiteY1" fmla="*/ 1980001 h 3549451"/>
              <a:gd name="connsiteX2" fmla="*/ 3240034 w 4615366"/>
              <a:gd name="connsiteY2" fmla="*/ 1336909 h 3549451"/>
              <a:gd name="connsiteX3" fmla="*/ 4615366 w 4615366"/>
              <a:gd name="connsiteY3" fmla="*/ 0 h 3549451"/>
              <a:gd name="connsiteX0" fmla="*/ 0 w 4615366"/>
              <a:gd name="connsiteY0" fmla="*/ 3549451 h 3549451"/>
              <a:gd name="connsiteX1" fmla="*/ 2067248 w 4615366"/>
              <a:gd name="connsiteY1" fmla="*/ 1980001 h 3549451"/>
              <a:gd name="connsiteX2" fmla="*/ 3240034 w 4615366"/>
              <a:gd name="connsiteY2" fmla="*/ 1336909 h 3549451"/>
              <a:gd name="connsiteX3" fmla="*/ 4615366 w 4615366"/>
              <a:gd name="connsiteY3" fmla="*/ 0 h 3549451"/>
              <a:gd name="connsiteX0" fmla="*/ 0 w 4615366"/>
              <a:gd name="connsiteY0" fmla="*/ 3549451 h 3549451"/>
              <a:gd name="connsiteX1" fmla="*/ 2067248 w 4615366"/>
              <a:gd name="connsiteY1" fmla="*/ 1980001 h 3549451"/>
              <a:gd name="connsiteX2" fmla="*/ 3240034 w 4615366"/>
              <a:gd name="connsiteY2" fmla="*/ 1336909 h 3549451"/>
              <a:gd name="connsiteX3" fmla="*/ 4615366 w 4615366"/>
              <a:gd name="connsiteY3" fmla="*/ 0 h 3549451"/>
              <a:gd name="connsiteX0" fmla="*/ 0 w 4615366"/>
              <a:gd name="connsiteY0" fmla="*/ 3549451 h 3549451"/>
              <a:gd name="connsiteX1" fmla="*/ 2067248 w 4615366"/>
              <a:gd name="connsiteY1" fmla="*/ 1980001 h 3549451"/>
              <a:gd name="connsiteX2" fmla="*/ 3240034 w 4615366"/>
              <a:gd name="connsiteY2" fmla="*/ 1336909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9 w 4615366"/>
              <a:gd name="connsiteY2" fmla="*/ 1302404 h 3549451"/>
              <a:gd name="connsiteX3" fmla="*/ 4615366 w 4615366"/>
              <a:gd name="connsiteY3" fmla="*/ 0 h 3549451"/>
              <a:gd name="connsiteX0" fmla="*/ 0 w 4615366"/>
              <a:gd name="connsiteY0" fmla="*/ 3549451 h 3549451"/>
              <a:gd name="connsiteX1" fmla="*/ 2110380 w 4615366"/>
              <a:gd name="connsiteY1" fmla="*/ 1910990 h 3549451"/>
              <a:gd name="connsiteX2" fmla="*/ 3300419 w 4615366"/>
              <a:gd name="connsiteY2" fmla="*/ 1302404 h 3549451"/>
              <a:gd name="connsiteX3" fmla="*/ 4615366 w 4615366"/>
              <a:gd name="connsiteY3" fmla="*/ 0 h 3549451"/>
              <a:gd name="connsiteX0" fmla="*/ 0 w 4598113"/>
              <a:gd name="connsiteY0" fmla="*/ 3558077 h 3558077"/>
              <a:gd name="connsiteX1" fmla="*/ 2110380 w 4598113"/>
              <a:gd name="connsiteY1" fmla="*/ 1919616 h 3558077"/>
              <a:gd name="connsiteX2" fmla="*/ 3300419 w 4598113"/>
              <a:gd name="connsiteY2" fmla="*/ 1311030 h 3558077"/>
              <a:gd name="connsiteX3" fmla="*/ 4598113 w 4598113"/>
              <a:gd name="connsiteY3" fmla="*/ 0 h 3558077"/>
              <a:gd name="connsiteX0" fmla="*/ 0 w 4598113"/>
              <a:gd name="connsiteY0" fmla="*/ 3558077 h 3558077"/>
              <a:gd name="connsiteX1" fmla="*/ 2110380 w 4598113"/>
              <a:gd name="connsiteY1" fmla="*/ 1919616 h 3558077"/>
              <a:gd name="connsiteX2" fmla="*/ 3300419 w 4598113"/>
              <a:gd name="connsiteY2" fmla="*/ 1311030 h 3558077"/>
              <a:gd name="connsiteX3" fmla="*/ 4598113 w 4598113"/>
              <a:gd name="connsiteY3" fmla="*/ 0 h 3558077"/>
              <a:gd name="connsiteX0" fmla="*/ 0 w 4598113"/>
              <a:gd name="connsiteY0" fmla="*/ 3558077 h 3558077"/>
              <a:gd name="connsiteX1" fmla="*/ 2110380 w 4598113"/>
              <a:gd name="connsiteY1" fmla="*/ 1919616 h 3558077"/>
              <a:gd name="connsiteX2" fmla="*/ 3300419 w 4598113"/>
              <a:gd name="connsiteY2" fmla="*/ 1311030 h 3558077"/>
              <a:gd name="connsiteX3" fmla="*/ 4598113 w 4598113"/>
              <a:gd name="connsiteY3" fmla="*/ 0 h 3558077"/>
              <a:gd name="connsiteX0" fmla="*/ 0 w 4598113"/>
              <a:gd name="connsiteY0" fmla="*/ 3558077 h 3558077"/>
              <a:gd name="connsiteX1" fmla="*/ 2110380 w 4598113"/>
              <a:gd name="connsiteY1" fmla="*/ 1919616 h 3558077"/>
              <a:gd name="connsiteX2" fmla="*/ 3300419 w 4598113"/>
              <a:gd name="connsiteY2" fmla="*/ 1311030 h 3558077"/>
              <a:gd name="connsiteX3" fmla="*/ 4598113 w 4598113"/>
              <a:gd name="connsiteY3" fmla="*/ 0 h 3558077"/>
              <a:gd name="connsiteX0" fmla="*/ 0 w 4598113"/>
              <a:gd name="connsiteY0" fmla="*/ 3558077 h 3558077"/>
              <a:gd name="connsiteX1" fmla="*/ 2110380 w 4598113"/>
              <a:gd name="connsiteY1" fmla="*/ 1919616 h 3558077"/>
              <a:gd name="connsiteX2" fmla="*/ 3300419 w 4598113"/>
              <a:gd name="connsiteY2" fmla="*/ 1311030 h 3558077"/>
              <a:gd name="connsiteX3" fmla="*/ 4598113 w 4598113"/>
              <a:gd name="connsiteY3" fmla="*/ 0 h 3558077"/>
              <a:gd name="connsiteX0" fmla="*/ 0 w 4598113"/>
              <a:gd name="connsiteY0" fmla="*/ 3558077 h 3558077"/>
              <a:gd name="connsiteX1" fmla="*/ 2110380 w 4598113"/>
              <a:gd name="connsiteY1" fmla="*/ 1919616 h 3558077"/>
              <a:gd name="connsiteX2" fmla="*/ 3300419 w 4598113"/>
              <a:gd name="connsiteY2" fmla="*/ 1311030 h 3558077"/>
              <a:gd name="connsiteX3" fmla="*/ 4598113 w 4598113"/>
              <a:gd name="connsiteY3" fmla="*/ 0 h 3558077"/>
              <a:gd name="connsiteX0" fmla="*/ 0 w 4598113"/>
              <a:gd name="connsiteY0" fmla="*/ 3558077 h 3558077"/>
              <a:gd name="connsiteX1" fmla="*/ 2110380 w 4598113"/>
              <a:gd name="connsiteY1" fmla="*/ 1919616 h 3558077"/>
              <a:gd name="connsiteX2" fmla="*/ 3300419 w 4598113"/>
              <a:gd name="connsiteY2" fmla="*/ 1311030 h 3558077"/>
              <a:gd name="connsiteX3" fmla="*/ 4598113 w 4598113"/>
              <a:gd name="connsiteY3" fmla="*/ 0 h 3558077"/>
              <a:gd name="connsiteX0" fmla="*/ 0 w 4598113"/>
              <a:gd name="connsiteY0" fmla="*/ 3558077 h 3558077"/>
              <a:gd name="connsiteX1" fmla="*/ 2110380 w 4598113"/>
              <a:gd name="connsiteY1" fmla="*/ 1919616 h 3558077"/>
              <a:gd name="connsiteX2" fmla="*/ 3317672 w 4598113"/>
              <a:gd name="connsiteY2" fmla="*/ 1345536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57287 w 4598113"/>
              <a:gd name="connsiteY2" fmla="*/ 1267899 h 3558077"/>
              <a:gd name="connsiteX3" fmla="*/ 4598113 w 4598113"/>
              <a:gd name="connsiteY3" fmla="*/ 0 h 3558077"/>
              <a:gd name="connsiteX0" fmla="*/ 0 w 4598113"/>
              <a:gd name="connsiteY0" fmla="*/ 3558077 h 3558077"/>
              <a:gd name="connsiteX1" fmla="*/ 2110380 w 4598113"/>
              <a:gd name="connsiteY1" fmla="*/ 1919616 h 3558077"/>
              <a:gd name="connsiteX2" fmla="*/ 3257287 w 4598113"/>
              <a:gd name="connsiteY2" fmla="*/ 1267899 h 3558077"/>
              <a:gd name="connsiteX3" fmla="*/ 4598113 w 4598113"/>
              <a:gd name="connsiteY3" fmla="*/ 0 h 3558077"/>
              <a:gd name="connsiteX0" fmla="*/ 0 w 4598113"/>
              <a:gd name="connsiteY0" fmla="*/ 3558077 h 3558077"/>
              <a:gd name="connsiteX1" fmla="*/ 2110380 w 4598113"/>
              <a:gd name="connsiteY1" fmla="*/ 1919616 h 3558077"/>
              <a:gd name="connsiteX2" fmla="*/ 3257287 w 4598113"/>
              <a:gd name="connsiteY2" fmla="*/ 1267899 h 3558077"/>
              <a:gd name="connsiteX3" fmla="*/ 4598113 w 4598113"/>
              <a:gd name="connsiteY3" fmla="*/ 0 h 3558077"/>
              <a:gd name="connsiteX0" fmla="*/ 0 w 4598113"/>
              <a:gd name="connsiteY0" fmla="*/ 3558077 h 3558077"/>
              <a:gd name="connsiteX1" fmla="*/ 2110380 w 4598113"/>
              <a:gd name="connsiteY1" fmla="*/ 1919616 h 3558077"/>
              <a:gd name="connsiteX2" fmla="*/ 3257287 w 4598113"/>
              <a:gd name="connsiteY2" fmla="*/ 1267899 h 3558077"/>
              <a:gd name="connsiteX3" fmla="*/ 4598113 w 4598113"/>
              <a:gd name="connsiteY3" fmla="*/ 0 h 3558077"/>
              <a:gd name="connsiteX0" fmla="*/ 0 w 4598113"/>
              <a:gd name="connsiteY0" fmla="*/ 3558077 h 3558077"/>
              <a:gd name="connsiteX1" fmla="*/ 2110380 w 4598113"/>
              <a:gd name="connsiteY1" fmla="*/ 1919616 h 3558077"/>
              <a:gd name="connsiteX2" fmla="*/ 3257287 w 4598113"/>
              <a:gd name="connsiteY2" fmla="*/ 1267899 h 3558077"/>
              <a:gd name="connsiteX3" fmla="*/ 4598113 w 4598113"/>
              <a:gd name="connsiteY3" fmla="*/ 0 h 3558077"/>
              <a:gd name="connsiteX0" fmla="*/ 0 w 4598113"/>
              <a:gd name="connsiteY0" fmla="*/ 3558077 h 3558376"/>
              <a:gd name="connsiteX1" fmla="*/ 2110380 w 4598113"/>
              <a:gd name="connsiteY1" fmla="*/ 1919616 h 3558376"/>
              <a:gd name="connsiteX2" fmla="*/ 3257287 w 4598113"/>
              <a:gd name="connsiteY2" fmla="*/ 1267899 h 3558376"/>
              <a:gd name="connsiteX3" fmla="*/ 4598113 w 4598113"/>
              <a:gd name="connsiteY3" fmla="*/ 0 h 3558376"/>
              <a:gd name="connsiteX0" fmla="*/ 0 w 4598113"/>
              <a:gd name="connsiteY0" fmla="*/ 3558077 h 3558077"/>
              <a:gd name="connsiteX1" fmla="*/ 2110380 w 4598113"/>
              <a:gd name="connsiteY1" fmla="*/ 1919616 h 3558077"/>
              <a:gd name="connsiteX2" fmla="*/ 3257287 w 4598113"/>
              <a:gd name="connsiteY2" fmla="*/ 1267899 h 3558077"/>
              <a:gd name="connsiteX3" fmla="*/ 4598113 w 4598113"/>
              <a:gd name="connsiteY3" fmla="*/ 0 h 3558077"/>
              <a:gd name="connsiteX0" fmla="*/ 0 w 4598113"/>
              <a:gd name="connsiteY0" fmla="*/ 3558077 h 3558077"/>
              <a:gd name="connsiteX1" fmla="*/ 2110380 w 4598113"/>
              <a:gd name="connsiteY1" fmla="*/ 1919616 h 3558077"/>
              <a:gd name="connsiteX2" fmla="*/ 3257287 w 4598113"/>
              <a:gd name="connsiteY2" fmla="*/ 1267899 h 3558077"/>
              <a:gd name="connsiteX3" fmla="*/ 4598113 w 4598113"/>
              <a:gd name="connsiteY3" fmla="*/ 0 h 3558077"/>
              <a:gd name="connsiteX0" fmla="*/ 0 w 4598113"/>
              <a:gd name="connsiteY0" fmla="*/ 3558077 h 3558077"/>
              <a:gd name="connsiteX1" fmla="*/ 2110380 w 4598113"/>
              <a:gd name="connsiteY1" fmla="*/ 1919616 h 3558077"/>
              <a:gd name="connsiteX2" fmla="*/ 3257287 w 4598113"/>
              <a:gd name="connsiteY2" fmla="*/ 1267899 h 3558077"/>
              <a:gd name="connsiteX3" fmla="*/ 4598113 w 4598113"/>
              <a:gd name="connsiteY3" fmla="*/ 0 h 3558077"/>
              <a:gd name="connsiteX0" fmla="*/ 0 w 4598113"/>
              <a:gd name="connsiteY0" fmla="*/ 3558077 h 3558077"/>
              <a:gd name="connsiteX1" fmla="*/ 2110380 w 4598113"/>
              <a:gd name="connsiteY1" fmla="*/ 1919616 h 3558077"/>
              <a:gd name="connsiteX2" fmla="*/ 3257287 w 4598113"/>
              <a:gd name="connsiteY2" fmla="*/ 1267899 h 3558077"/>
              <a:gd name="connsiteX3" fmla="*/ 4598113 w 4598113"/>
              <a:gd name="connsiteY3" fmla="*/ 0 h 3558077"/>
              <a:gd name="connsiteX0" fmla="*/ 0 w 4598113"/>
              <a:gd name="connsiteY0" fmla="*/ 3558077 h 3558077"/>
              <a:gd name="connsiteX1" fmla="*/ 2110380 w 4598113"/>
              <a:gd name="connsiteY1" fmla="*/ 1919616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615366"/>
              <a:gd name="connsiteY0" fmla="*/ 3601209 h 3601209"/>
              <a:gd name="connsiteX1" fmla="*/ 2136259 w 4615366"/>
              <a:gd name="connsiteY1" fmla="*/ 1954122 h 3601209"/>
              <a:gd name="connsiteX2" fmla="*/ 3257287 w 4615366"/>
              <a:gd name="connsiteY2" fmla="*/ 1311031 h 3601209"/>
              <a:gd name="connsiteX3" fmla="*/ 4615366 w 4615366"/>
              <a:gd name="connsiteY3" fmla="*/ 0 h 3601209"/>
              <a:gd name="connsiteX0" fmla="*/ 0 w 4615366"/>
              <a:gd name="connsiteY0" fmla="*/ 3601209 h 3601209"/>
              <a:gd name="connsiteX1" fmla="*/ 2136259 w 4615366"/>
              <a:gd name="connsiteY1" fmla="*/ 1954122 h 3601209"/>
              <a:gd name="connsiteX2" fmla="*/ 3257287 w 4615366"/>
              <a:gd name="connsiteY2" fmla="*/ 1311031 h 3601209"/>
              <a:gd name="connsiteX3" fmla="*/ 4615366 w 4615366"/>
              <a:gd name="connsiteY3" fmla="*/ 0 h 3601209"/>
              <a:gd name="connsiteX0" fmla="*/ 0 w 4615366"/>
              <a:gd name="connsiteY0" fmla="*/ 3601209 h 3601209"/>
              <a:gd name="connsiteX1" fmla="*/ 2136259 w 4615366"/>
              <a:gd name="connsiteY1" fmla="*/ 1954122 h 3601209"/>
              <a:gd name="connsiteX2" fmla="*/ 3257287 w 4615366"/>
              <a:gd name="connsiteY2" fmla="*/ 1311031 h 3601209"/>
              <a:gd name="connsiteX3" fmla="*/ 4615366 w 4615366"/>
              <a:gd name="connsiteY3" fmla="*/ 0 h 3601209"/>
              <a:gd name="connsiteX0" fmla="*/ 0 w 4615366"/>
              <a:gd name="connsiteY0" fmla="*/ 3601209 h 3601209"/>
              <a:gd name="connsiteX1" fmla="*/ 2136259 w 4615366"/>
              <a:gd name="connsiteY1" fmla="*/ 1954122 h 3601209"/>
              <a:gd name="connsiteX2" fmla="*/ 3257287 w 4615366"/>
              <a:gd name="connsiteY2" fmla="*/ 1311031 h 3601209"/>
              <a:gd name="connsiteX3" fmla="*/ 4615366 w 4615366"/>
              <a:gd name="connsiteY3" fmla="*/ 0 h 3601209"/>
              <a:gd name="connsiteX0" fmla="*/ 0 w 4615366"/>
              <a:gd name="connsiteY0" fmla="*/ 3601209 h 3601209"/>
              <a:gd name="connsiteX1" fmla="*/ 2136259 w 4615366"/>
              <a:gd name="connsiteY1" fmla="*/ 1954122 h 3601209"/>
              <a:gd name="connsiteX2" fmla="*/ 3257287 w 4615366"/>
              <a:gd name="connsiteY2" fmla="*/ 1311031 h 3601209"/>
              <a:gd name="connsiteX3" fmla="*/ 4615366 w 4615366"/>
              <a:gd name="connsiteY3" fmla="*/ 0 h 3601209"/>
              <a:gd name="connsiteX0" fmla="*/ 0 w 4615366"/>
              <a:gd name="connsiteY0" fmla="*/ 3601209 h 3601209"/>
              <a:gd name="connsiteX1" fmla="*/ 2136259 w 4615366"/>
              <a:gd name="connsiteY1" fmla="*/ 1954122 h 3601209"/>
              <a:gd name="connsiteX2" fmla="*/ 3257287 w 4615366"/>
              <a:gd name="connsiteY2" fmla="*/ 1311031 h 3601209"/>
              <a:gd name="connsiteX3" fmla="*/ 4615366 w 4615366"/>
              <a:gd name="connsiteY3" fmla="*/ 0 h 3601209"/>
              <a:gd name="connsiteX0" fmla="*/ 0 w 4615366"/>
              <a:gd name="connsiteY0" fmla="*/ 3601209 h 3601209"/>
              <a:gd name="connsiteX1" fmla="*/ 2136259 w 4615366"/>
              <a:gd name="connsiteY1" fmla="*/ 1954122 h 3601209"/>
              <a:gd name="connsiteX2" fmla="*/ 3257287 w 4615366"/>
              <a:gd name="connsiteY2" fmla="*/ 1311031 h 3601209"/>
              <a:gd name="connsiteX3" fmla="*/ 4615366 w 4615366"/>
              <a:gd name="connsiteY3" fmla="*/ 0 h 3601209"/>
              <a:gd name="connsiteX0" fmla="*/ 0 w 4615366"/>
              <a:gd name="connsiteY0" fmla="*/ 3601209 h 3601209"/>
              <a:gd name="connsiteX1" fmla="*/ 2136259 w 4615366"/>
              <a:gd name="connsiteY1" fmla="*/ 1954122 h 3601209"/>
              <a:gd name="connsiteX2" fmla="*/ 3257287 w 4615366"/>
              <a:gd name="connsiteY2" fmla="*/ 1311031 h 3601209"/>
              <a:gd name="connsiteX3" fmla="*/ 4615366 w 4615366"/>
              <a:gd name="connsiteY3" fmla="*/ 0 h 3601209"/>
              <a:gd name="connsiteX0" fmla="*/ 0 w 4598113"/>
              <a:gd name="connsiteY0" fmla="*/ 3558077 h 3558077"/>
              <a:gd name="connsiteX1" fmla="*/ 2119006 w 4598113"/>
              <a:gd name="connsiteY1" fmla="*/ 1954122 h 3558077"/>
              <a:gd name="connsiteX2" fmla="*/ 3240034 w 4598113"/>
              <a:gd name="connsiteY2" fmla="*/ 1311031 h 3558077"/>
              <a:gd name="connsiteX3" fmla="*/ 4598113 w 4598113"/>
              <a:gd name="connsiteY3" fmla="*/ 0 h 3558077"/>
              <a:gd name="connsiteX0" fmla="*/ 0 w 4598113"/>
              <a:gd name="connsiteY0" fmla="*/ 3583956 h 3583956"/>
              <a:gd name="connsiteX1" fmla="*/ 2119006 w 4598113"/>
              <a:gd name="connsiteY1" fmla="*/ 1954122 h 3583956"/>
              <a:gd name="connsiteX2" fmla="*/ 3240034 w 4598113"/>
              <a:gd name="connsiteY2" fmla="*/ 1311031 h 3583956"/>
              <a:gd name="connsiteX3" fmla="*/ 4598113 w 4598113"/>
              <a:gd name="connsiteY3" fmla="*/ 0 h 3583956"/>
              <a:gd name="connsiteX0" fmla="*/ 0 w 4621926"/>
              <a:gd name="connsiteY0" fmla="*/ 3567288 h 3567288"/>
              <a:gd name="connsiteX1" fmla="*/ 2142819 w 4621926"/>
              <a:gd name="connsiteY1" fmla="*/ 1954122 h 3567288"/>
              <a:gd name="connsiteX2" fmla="*/ 3263847 w 4621926"/>
              <a:gd name="connsiteY2" fmla="*/ 1311031 h 3567288"/>
              <a:gd name="connsiteX3" fmla="*/ 4621926 w 4621926"/>
              <a:gd name="connsiteY3" fmla="*/ 0 h 3567288"/>
              <a:gd name="connsiteX0" fmla="*/ 0 w 4621926"/>
              <a:gd name="connsiteY0" fmla="*/ 3567288 h 3567288"/>
              <a:gd name="connsiteX1" fmla="*/ 2142819 w 4621926"/>
              <a:gd name="connsiteY1" fmla="*/ 1954122 h 3567288"/>
              <a:gd name="connsiteX2" fmla="*/ 3263847 w 4621926"/>
              <a:gd name="connsiteY2" fmla="*/ 1311031 h 3567288"/>
              <a:gd name="connsiteX3" fmla="*/ 4621926 w 4621926"/>
              <a:gd name="connsiteY3" fmla="*/ 0 h 3567288"/>
            </a:gdLst>
            <a:ahLst/>
            <a:cxnLst>
              <a:cxn ang="0">
                <a:pos x="connsiteX0" y="connsiteY0"/>
              </a:cxn>
              <a:cxn ang="0">
                <a:pos x="connsiteX1" y="connsiteY1"/>
              </a:cxn>
              <a:cxn ang="0">
                <a:pos x="connsiteX2" y="connsiteY2"/>
              </a:cxn>
              <a:cxn ang="0">
                <a:pos x="connsiteX3" y="connsiteY3"/>
              </a:cxn>
            </a:cxnLst>
            <a:rect l="l" t="t" r="r" b="b"/>
            <a:pathLst>
              <a:path w="4621926" h="3567288">
                <a:moveTo>
                  <a:pt x="0" y="3567288"/>
                </a:moveTo>
                <a:cubicBezTo>
                  <a:pt x="1744256" y="3451906"/>
                  <a:pt x="1348305" y="2652677"/>
                  <a:pt x="2142819" y="1954122"/>
                </a:cubicBezTo>
                <a:cubicBezTo>
                  <a:pt x="2646797" y="1511013"/>
                  <a:pt x="2899545" y="1592149"/>
                  <a:pt x="3263847" y="1311031"/>
                </a:cubicBezTo>
                <a:cubicBezTo>
                  <a:pt x="3628149" y="1029913"/>
                  <a:pt x="3683901" y="278891"/>
                  <a:pt x="4621926" y="0"/>
                </a:cubicBezTo>
              </a:path>
            </a:pathLst>
          </a:custGeom>
          <a:noFill/>
          <a:ln w="31750" cap="rnd" cmpd="sng" algn="ctr">
            <a:solidFill>
              <a:srgbClr val="0043DA">
                <a:alpha val="88000"/>
              </a:srgbClr>
            </a:solidFill>
            <a:prstDash val="solid"/>
            <a:round/>
            <a:headEnd type="none" w="med" len="med"/>
            <a:tailEnd type="none" w="med" len="med"/>
          </a:ln>
          <a:effectLst>
            <a:glow rad="76200">
              <a:srgbClr val="0043DA">
                <a:alpha val="24000"/>
              </a:srgbClr>
            </a:glow>
          </a:effectLst>
        </p:spPr>
        <p:txBody>
          <a:bodyPr rtlCol="0" anchor="ctr"/>
          <a:lstStyle/>
          <a:p>
            <a:pPr algn="ctr" defTabSz="844083" eaLnBrk="1" hangingPunct="1">
              <a:spcAft>
                <a:spcPct val="0"/>
              </a:spcAft>
              <a:defRPr/>
            </a:pPr>
            <a:endParaRPr lang="de-DE" sz="1038" dirty="0">
              <a:solidFill>
                <a:srgbClr val="000000"/>
              </a:solidFill>
              <a:latin typeface="Arial"/>
              <a:cs typeface="Arial" charset="0"/>
            </a:endParaRPr>
          </a:p>
        </p:txBody>
      </p:sp>
      <p:pic>
        <p:nvPicPr>
          <p:cNvPr id="30" name="Grafik 14"/>
          <p:cNvPicPr>
            <a:picLocks/>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a:xfrm>
            <a:off x="5743184" y="2182158"/>
            <a:ext cx="751391" cy="705912"/>
          </a:xfrm>
          <a:prstGeom prst="rect">
            <a:avLst/>
          </a:prstGeom>
        </p:spPr>
      </p:pic>
      <p:sp>
        <p:nvSpPr>
          <p:cNvPr id="40" name="Textfeld 54"/>
          <p:cNvSpPr txBox="1">
            <a:spLocks noChangeArrowheads="1"/>
          </p:cNvSpPr>
          <p:nvPr/>
        </p:nvSpPr>
        <p:spPr bwMode="auto">
          <a:xfrm>
            <a:off x="5787319" y="3511205"/>
            <a:ext cx="1538095" cy="383173"/>
          </a:xfrm>
          <a:prstGeom prst="rect">
            <a:avLst/>
          </a:prstGeom>
          <a:noFill/>
          <a:ln w="9525">
            <a:noFill/>
            <a:miter lim="800000"/>
            <a:headEnd/>
            <a:tailEnd/>
          </a:ln>
        </p:spPr>
        <p:txBody>
          <a:bodyPr wrap="none" lIns="63110" tIns="31555" rIns="63110" bIns="31555">
            <a:spAutoFit/>
          </a:bodyPr>
          <a:lstStyle>
            <a:defPPr>
              <a:defRPr lang="de-DE"/>
            </a:defPPr>
            <a:lvl1pPr>
              <a:spcAft>
                <a:spcPct val="0"/>
              </a:spcAft>
              <a:defRPr sz="1500">
                <a:solidFill>
                  <a:srgbClr val="E20000"/>
                </a:solidFill>
              </a:defRPr>
            </a:lvl1pPr>
          </a:lstStyle>
          <a:p>
            <a:pPr defTabSz="844083" eaLnBrk="1" hangingPunct="1">
              <a:defRPr/>
            </a:pPr>
            <a:r>
              <a:rPr lang="de-DE" sz="1038" dirty="0">
                <a:latin typeface="Arial"/>
                <a:cs typeface="Arial" charset="0"/>
              </a:rPr>
              <a:t>Grundlagen der </a:t>
            </a:r>
          </a:p>
          <a:p>
            <a:pPr defTabSz="844083" eaLnBrk="1" hangingPunct="1">
              <a:defRPr/>
            </a:pPr>
            <a:r>
              <a:rPr lang="de-DE" sz="1038" dirty="0">
                <a:latin typeface="Arial"/>
                <a:cs typeface="Arial" charset="0"/>
              </a:rPr>
              <a:t>gegenwärtigen Existenz</a:t>
            </a:r>
          </a:p>
        </p:txBody>
      </p:sp>
      <p:grpSp>
        <p:nvGrpSpPr>
          <p:cNvPr id="2" name="Gruppieren 1"/>
          <p:cNvGrpSpPr/>
          <p:nvPr/>
        </p:nvGrpSpPr>
        <p:grpSpPr>
          <a:xfrm>
            <a:off x="4291985" y="2295666"/>
            <a:ext cx="1678873" cy="1581924"/>
            <a:chOff x="4057310" y="1584371"/>
            <a:chExt cx="2425038" cy="2285001"/>
          </a:xfrm>
        </p:grpSpPr>
        <p:sp>
          <p:nvSpPr>
            <p:cNvPr id="41" name="Textfeld 53"/>
            <p:cNvSpPr txBox="1">
              <a:spLocks noChangeArrowheads="1"/>
            </p:cNvSpPr>
            <p:nvPr/>
          </p:nvSpPr>
          <p:spPr bwMode="auto">
            <a:xfrm rot="19481751">
              <a:off x="4057310" y="2601518"/>
              <a:ext cx="1126054" cy="639084"/>
            </a:xfrm>
            <a:prstGeom prst="rect">
              <a:avLst/>
            </a:prstGeom>
            <a:noFill/>
            <a:ln w="9525">
              <a:noFill/>
              <a:miter lim="800000"/>
              <a:headEnd/>
              <a:tailEnd/>
            </a:ln>
          </p:spPr>
          <p:txBody>
            <a:bodyPr spcFirstLastPara="1" wrap="square" lIns="63110" tIns="31555" rIns="63110" bIns="31555" numCol="1">
              <a:prstTxWarp prst="textArchDown">
                <a:avLst/>
              </a:prstTxWarp>
              <a:spAutoFit/>
            </a:bodyPr>
            <a:lstStyle/>
            <a:p>
              <a:pPr algn="ctr" defTabSz="844083" eaLnBrk="1" hangingPunct="1">
                <a:spcAft>
                  <a:spcPct val="0"/>
                </a:spcAft>
                <a:defRPr/>
              </a:pPr>
              <a:r>
                <a:rPr lang="de-DE" sz="969" dirty="0">
                  <a:solidFill>
                    <a:srgbClr val="0043DA"/>
                  </a:solidFill>
                  <a:latin typeface="Arial"/>
                  <a:cs typeface="Arial" charset="0"/>
                </a:rPr>
                <a:t>Optimaler</a:t>
              </a:r>
            </a:p>
          </p:txBody>
        </p:sp>
        <p:sp>
          <p:nvSpPr>
            <p:cNvPr id="43" name="Textfeld 53"/>
            <p:cNvSpPr txBox="1">
              <a:spLocks noChangeArrowheads="1"/>
            </p:cNvSpPr>
            <p:nvPr/>
          </p:nvSpPr>
          <p:spPr bwMode="auto">
            <a:xfrm rot="18840000">
              <a:off x="4743781" y="2130806"/>
              <a:ext cx="2285001" cy="1192132"/>
            </a:xfrm>
            <a:prstGeom prst="rect">
              <a:avLst/>
            </a:prstGeom>
            <a:noFill/>
            <a:ln w="9525">
              <a:noFill/>
              <a:miter lim="800000"/>
              <a:headEnd/>
              <a:tailEnd/>
            </a:ln>
          </p:spPr>
          <p:txBody>
            <a:bodyPr spcFirstLastPara="1" wrap="square" lIns="63110" tIns="31555" rIns="63110" bIns="31555" numCol="1">
              <a:prstTxWarp prst="textArchUp">
                <a:avLst/>
              </a:prstTxWarp>
              <a:spAutoFit/>
            </a:bodyPr>
            <a:lstStyle/>
            <a:p>
              <a:pPr algn="ctr" defTabSz="844083" eaLnBrk="1" hangingPunct="1">
                <a:spcAft>
                  <a:spcPct val="0"/>
                </a:spcAft>
                <a:defRPr/>
              </a:pPr>
              <a:r>
                <a:rPr lang="de-DE" sz="969" dirty="0">
                  <a:solidFill>
                    <a:srgbClr val="0043DA"/>
                  </a:solidFill>
                  <a:latin typeface="Arial"/>
                  <a:cs typeface="Arial" charset="0"/>
                </a:rPr>
                <a:t>Entwicklungspfad</a:t>
              </a:r>
            </a:p>
          </p:txBody>
        </p:sp>
      </p:grpSp>
      <p:sp>
        <p:nvSpPr>
          <p:cNvPr id="51" name="Kritische Entscheidungszone"/>
          <p:cNvSpPr txBox="1">
            <a:spLocks noChangeArrowheads="1"/>
          </p:cNvSpPr>
          <p:nvPr/>
        </p:nvSpPr>
        <p:spPr bwMode="auto">
          <a:xfrm>
            <a:off x="4628049" y="4313942"/>
            <a:ext cx="2523943" cy="575213"/>
          </a:xfrm>
          <a:prstGeom prst="rect">
            <a:avLst/>
          </a:prstGeom>
          <a:noFill/>
          <a:ln w="9525">
            <a:noFill/>
            <a:miter lim="800000"/>
            <a:headEnd/>
            <a:tailEnd/>
          </a:ln>
        </p:spPr>
        <p:txBody>
          <a:bodyPr wrap="none" lIns="63110" tIns="31555" rIns="63110" bIns="31555">
            <a:spAutoFit/>
          </a:bodyPr>
          <a:lstStyle>
            <a:defPPr>
              <a:defRPr lang="de-DE"/>
            </a:defPPr>
            <a:lvl1pPr>
              <a:spcAft>
                <a:spcPct val="0"/>
              </a:spcAft>
              <a:defRPr sz="1500">
                <a:solidFill>
                  <a:srgbClr val="E20000"/>
                </a:solidFill>
              </a:defRPr>
            </a:lvl1pPr>
          </a:lstStyle>
          <a:p>
            <a:pPr defTabSz="844083" eaLnBrk="1" hangingPunct="1">
              <a:defRPr/>
            </a:pPr>
            <a:r>
              <a:rPr lang="de-DE" sz="1108" b="1" dirty="0">
                <a:solidFill>
                  <a:srgbClr val="E62614"/>
                </a:solidFill>
                <a:latin typeface="Arial"/>
                <a:cs typeface="Arial" charset="0"/>
              </a:rPr>
              <a:t>Kritische</a:t>
            </a:r>
            <a:r>
              <a:rPr lang="de-DE" sz="1108" b="1" dirty="0">
                <a:gradFill flip="none" rotWithShape="1">
                  <a:gsLst>
                    <a:gs pos="0">
                      <a:srgbClr val="4AD378"/>
                    </a:gs>
                    <a:gs pos="50000">
                      <a:srgbClr val="CED6BD"/>
                    </a:gs>
                    <a:gs pos="100000">
                      <a:srgbClr val="E62614"/>
                    </a:gs>
                  </a:gsLst>
                  <a:lin ang="2700000" scaled="1"/>
                  <a:tileRect/>
                </a:gradFill>
                <a:latin typeface="Arial"/>
                <a:cs typeface="Arial" charset="0"/>
              </a:rPr>
              <a:t> </a:t>
            </a:r>
            <a:r>
              <a:rPr lang="de-DE" sz="1108" b="1" dirty="0">
                <a:gradFill flip="none" rotWithShape="1">
                  <a:gsLst>
                    <a:gs pos="22574">
                      <a:srgbClr val="628157"/>
                    </a:gs>
                    <a:gs pos="5000">
                      <a:srgbClr val="00B050"/>
                    </a:gs>
                    <a:gs pos="34000">
                      <a:srgbClr val="A2625C"/>
                    </a:gs>
                    <a:gs pos="44000">
                      <a:srgbClr val="FF0000"/>
                    </a:gs>
                  </a:gsLst>
                  <a:lin ang="14400000" scaled="0"/>
                  <a:tileRect/>
                </a:gradFill>
                <a:latin typeface="Arial"/>
                <a:cs typeface="Arial" charset="0"/>
              </a:rPr>
              <a:t>Entscheidungszone</a:t>
            </a:r>
            <a:r>
              <a:rPr lang="de-DE" sz="1108" b="1" dirty="0">
                <a:gradFill flip="none" rotWithShape="1">
                  <a:gsLst>
                    <a:gs pos="0">
                      <a:srgbClr val="4AD378"/>
                    </a:gs>
                    <a:gs pos="50000">
                      <a:srgbClr val="CED6BD"/>
                    </a:gs>
                    <a:gs pos="100000">
                      <a:srgbClr val="E62614"/>
                    </a:gs>
                  </a:gsLst>
                  <a:lin ang="2700000" scaled="1"/>
                  <a:tileRect/>
                </a:gradFill>
                <a:latin typeface="Arial"/>
                <a:cs typeface="Arial" charset="0"/>
              </a:rPr>
              <a:t/>
            </a:r>
            <a:br>
              <a:rPr lang="de-DE" sz="1108" b="1" dirty="0">
                <a:gradFill flip="none" rotWithShape="1">
                  <a:gsLst>
                    <a:gs pos="0">
                      <a:srgbClr val="4AD378"/>
                    </a:gs>
                    <a:gs pos="50000">
                      <a:srgbClr val="CED6BD"/>
                    </a:gs>
                    <a:gs pos="100000">
                      <a:srgbClr val="E62614"/>
                    </a:gs>
                  </a:gsLst>
                  <a:lin ang="2700000" scaled="1"/>
                  <a:tileRect/>
                </a:gradFill>
                <a:latin typeface="Arial"/>
                <a:cs typeface="Arial" charset="0"/>
              </a:rPr>
            </a:br>
            <a:r>
              <a:rPr lang="de-DE" sz="1108" b="1" dirty="0">
                <a:gradFill flip="none" rotWithShape="1">
                  <a:gsLst>
                    <a:gs pos="45000">
                      <a:srgbClr val="15935A"/>
                    </a:gs>
                    <a:gs pos="58000">
                      <a:srgbClr val="A2625C"/>
                    </a:gs>
                    <a:gs pos="76000">
                      <a:srgbClr val="E62614"/>
                    </a:gs>
                  </a:gsLst>
                  <a:lin ang="14400000" scaled="0"/>
                  <a:tileRect/>
                </a:gradFill>
                <a:latin typeface="Arial"/>
                <a:cs typeface="Arial" charset="0"/>
              </a:rPr>
              <a:t>Verlagerung</a:t>
            </a:r>
            <a:r>
              <a:rPr lang="de-DE" sz="1108" b="1" dirty="0">
                <a:gradFill flip="none" rotWithShape="1">
                  <a:gsLst>
                    <a:gs pos="0">
                      <a:srgbClr val="4AD378"/>
                    </a:gs>
                    <a:gs pos="50000">
                      <a:srgbClr val="CED6BD"/>
                    </a:gs>
                    <a:gs pos="100000">
                      <a:srgbClr val="E62614"/>
                    </a:gs>
                  </a:gsLst>
                  <a:lin ang="2700000" scaled="1"/>
                  <a:tileRect/>
                </a:gradFill>
                <a:latin typeface="Arial"/>
                <a:cs typeface="Arial" charset="0"/>
              </a:rPr>
              <a:t> </a:t>
            </a:r>
            <a:r>
              <a:rPr lang="de-DE" sz="1108" b="1" dirty="0">
                <a:gradFill flip="none" rotWithShape="1">
                  <a:gsLst>
                    <a:gs pos="37000">
                      <a:srgbClr val="15935A"/>
                    </a:gs>
                    <a:gs pos="52000">
                      <a:srgbClr val="A2625C"/>
                    </a:gs>
                    <a:gs pos="59000">
                      <a:srgbClr val="E62614"/>
                    </a:gs>
                  </a:gsLst>
                  <a:lin ang="14400000" scaled="0"/>
                  <a:tileRect/>
                </a:gradFill>
                <a:latin typeface="Arial"/>
                <a:cs typeface="Arial" charset="0"/>
              </a:rPr>
              <a:t>von</a:t>
            </a:r>
            <a:r>
              <a:rPr lang="de-DE" sz="1108" b="1" dirty="0">
                <a:gradFill flip="none" rotWithShape="1">
                  <a:gsLst>
                    <a:gs pos="0">
                      <a:srgbClr val="4AD378"/>
                    </a:gs>
                    <a:gs pos="50000">
                      <a:srgbClr val="CED6BD"/>
                    </a:gs>
                    <a:gs pos="100000">
                      <a:srgbClr val="E62614"/>
                    </a:gs>
                  </a:gsLst>
                  <a:lin ang="2700000" scaled="1"/>
                  <a:tileRect/>
                </a:gradFill>
                <a:latin typeface="Arial"/>
                <a:cs typeface="Arial" charset="0"/>
              </a:rPr>
              <a:t> </a:t>
            </a:r>
            <a:r>
              <a:rPr lang="de-DE" sz="1108" b="1" dirty="0">
                <a:solidFill>
                  <a:srgbClr val="00B050"/>
                </a:solidFill>
                <a:latin typeface="Arial"/>
                <a:cs typeface="Arial" charset="0"/>
              </a:rPr>
              <a:t>Ressourcen</a:t>
            </a:r>
            <a:br>
              <a:rPr lang="de-DE" sz="1108" b="1" dirty="0">
                <a:solidFill>
                  <a:srgbClr val="00B050"/>
                </a:solidFill>
                <a:latin typeface="Arial"/>
                <a:cs typeface="Arial" charset="0"/>
              </a:rPr>
            </a:br>
            <a:r>
              <a:rPr lang="de-DE" sz="1108" b="1" dirty="0">
                <a:gradFill flip="none" rotWithShape="1">
                  <a:gsLst>
                    <a:gs pos="55000">
                      <a:srgbClr val="15935A"/>
                    </a:gs>
                    <a:gs pos="70000">
                      <a:srgbClr val="A2625C"/>
                    </a:gs>
                    <a:gs pos="88000">
                      <a:srgbClr val="E62614"/>
                    </a:gs>
                  </a:gsLst>
                  <a:lin ang="15600000" scaled="0"/>
                  <a:tileRect/>
                </a:gradFill>
                <a:latin typeface="Arial"/>
                <a:cs typeface="Arial" charset="0"/>
              </a:rPr>
              <a:t>Revolutionäres</a:t>
            </a:r>
            <a:r>
              <a:rPr lang="de-DE" sz="1108" b="1" dirty="0">
                <a:solidFill>
                  <a:srgbClr val="00B050"/>
                </a:solidFill>
                <a:latin typeface="Arial"/>
                <a:cs typeface="Arial" charset="0"/>
              </a:rPr>
              <a:t> Neues Management</a:t>
            </a:r>
          </a:p>
        </p:txBody>
      </p:sp>
      <p:sp>
        <p:nvSpPr>
          <p:cNvPr id="52" name="Abgerundetes Rechteck 51"/>
          <p:cNvSpPr/>
          <p:nvPr/>
        </p:nvSpPr>
        <p:spPr bwMode="auto">
          <a:xfrm rot="21030533">
            <a:off x="3108186" y="2586029"/>
            <a:ext cx="599772" cy="260309"/>
          </a:xfrm>
          <a:prstGeom prst="roundRect">
            <a:avLst>
              <a:gd name="adj" fmla="val 50000"/>
            </a:avLst>
          </a:prstGeom>
          <a:solidFill>
            <a:srgbClr val="FFFF00"/>
          </a:solidFill>
          <a:ln w="9525" cap="flat" cmpd="sng" algn="ctr">
            <a:solidFill>
              <a:schemeClr val="accent4"/>
            </a:solidFill>
            <a:prstDash val="solid"/>
            <a:round/>
            <a:headEnd type="none" w="med" len="med"/>
            <a:tailEnd type="none" w="med" len="med"/>
          </a:ln>
          <a:effectLst/>
        </p:spPr>
        <p:txBody>
          <a:bodyPr vert="horz" wrap="square" lIns="33231" tIns="43200" rIns="33231" bIns="43200" numCol="1" rtlCol="0" anchor="ctr" anchorCtr="0" compatLnSpc="1">
            <a:prstTxWarp prst="textNoShape">
              <a:avLst/>
            </a:prstTxWarp>
          </a:bodyPr>
          <a:lstStyle/>
          <a:p>
            <a:pPr algn="ctr" defTabSz="844083">
              <a:spcBef>
                <a:spcPts val="0"/>
              </a:spcBef>
              <a:spcAft>
                <a:spcPts val="0"/>
              </a:spcAft>
              <a:defRPr/>
            </a:pPr>
            <a:r>
              <a:rPr lang="de-DE" sz="1108">
                <a:solidFill>
                  <a:srgbClr val="000000"/>
                </a:solidFill>
                <a:latin typeface="Arial"/>
              </a:rPr>
              <a:t>click </a:t>
            </a:r>
            <a:endParaRPr lang="de-CH" sz="1108" dirty="0" err="1">
              <a:solidFill>
                <a:srgbClr val="000000"/>
              </a:solidFill>
              <a:latin typeface="Arial"/>
            </a:endParaRPr>
          </a:p>
        </p:txBody>
      </p:sp>
    </p:spTree>
    <p:extLst>
      <p:ext uri="{BB962C8B-B14F-4D97-AF65-F5344CB8AC3E}">
        <p14:creationId xmlns:p14="http://schemas.microsoft.com/office/powerpoint/2010/main" val="422441778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wipe(left)">
                                      <p:cBhvr>
                                        <p:cTn id="7" dur="2000"/>
                                        <p:tgtEl>
                                          <p:spTgt spid="10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1400"/>
                                        <p:tgtEl>
                                          <p:spTgt spid="4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wipe(down)">
                                      <p:cBhvr>
                                        <p:cTn id="15" dur="1500"/>
                                        <p:tgtEl>
                                          <p:spTgt spid="42"/>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47"/>
                                        </p:tgtEl>
                                        <p:attrNameLst>
                                          <p:attrName>style.visibility</p:attrName>
                                        </p:attrNameLst>
                                      </p:cBhvr>
                                      <p:to>
                                        <p:strVal val="visible"/>
                                      </p:to>
                                    </p:set>
                                  </p:childTnLst>
                                </p:cTn>
                              </p:par>
                            </p:childTnLst>
                          </p:cTn>
                        </p:par>
                        <p:par>
                          <p:cTn id="20" fill="hold">
                            <p:stCondLst>
                              <p:cond delay="0"/>
                            </p:stCondLst>
                            <p:childTnLst>
                              <p:par>
                                <p:cTn id="21" presetID="27" presetClass="emph" presetSubtype="0" repeatCount="5000" fill="remove" grpId="1" nodeType="afterEffect">
                                  <p:stCondLst>
                                    <p:cond delay="0"/>
                                  </p:stCondLst>
                                  <p:childTnLst>
                                    <p:animClr clrSpc="rgb" dir="cw">
                                      <p:cBhvr override="childStyle">
                                        <p:cTn id="22" dur="250" autoRev="1" fill="remove"/>
                                        <p:tgtEl>
                                          <p:spTgt spid="47"/>
                                        </p:tgtEl>
                                        <p:attrNameLst>
                                          <p:attrName>style.color</p:attrName>
                                        </p:attrNameLst>
                                      </p:cBhvr>
                                      <p:to>
                                        <a:schemeClr val="bg1"/>
                                      </p:to>
                                    </p:animClr>
                                    <p:animClr clrSpc="rgb" dir="cw">
                                      <p:cBhvr>
                                        <p:cTn id="23" dur="250" autoRev="1" fill="remove"/>
                                        <p:tgtEl>
                                          <p:spTgt spid="47"/>
                                        </p:tgtEl>
                                        <p:attrNameLst>
                                          <p:attrName>fillcolor</p:attrName>
                                        </p:attrNameLst>
                                      </p:cBhvr>
                                      <p:to>
                                        <a:schemeClr val="bg1"/>
                                      </p:to>
                                    </p:animClr>
                                    <p:set>
                                      <p:cBhvr>
                                        <p:cTn id="24" dur="250" autoRev="1" fill="remove"/>
                                        <p:tgtEl>
                                          <p:spTgt spid="47"/>
                                        </p:tgtEl>
                                        <p:attrNameLst>
                                          <p:attrName>fill.type</p:attrName>
                                        </p:attrNameLst>
                                      </p:cBhvr>
                                      <p:to>
                                        <p:strVal val="solid"/>
                                      </p:to>
                                    </p:set>
                                    <p:set>
                                      <p:cBhvr>
                                        <p:cTn id="25" dur="250" autoRev="1" fill="remove"/>
                                        <p:tgtEl>
                                          <p:spTgt spid="47"/>
                                        </p:tgtEl>
                                        <p:attrNameLst>
                                          <p:attrName>fill.on</p:attrName>
                                        </p:attrNameLst>
                                      </p:cBhvr>
                                      <p:to>
                                        <p:strVal val="true"/>
                                      </p:to>
                                    </p:set>
                                  </p:childTnLst>
                                </p:cTn>
                              </p:par>
                            </p:childTnLst>
                          </p:cTn>
                        </p:par>
                      </p:childTnLst>
                    </p:cTn>
                  </p:par>
                  <p:par>
                    <p:cTn id="26" fill="hold">
                      <p:stCondLst>
                        <p:cond delay="indefinite"/>
                      </p:stCondLst>
                      <p:childTnLst>
                        <p:par>
                          <p:cTn id="27" fill="hold">
                            <p:stCondLst>
                              <p:cond delay="0"/>
                            </p:stCondLst>
                            <p:childTnLst>
                              <p:par>
                                <p:cTn id="28" presetID="22" presetClass="entr" presetSubtype="4" fill="hold" grpId="0" nodeType="clickEffect">
                                  <p:stCondLst>
                                    <p:cond delay="0"/>
                                  </p:stCondLst>
                                  <p:childTnLst>
                                    <p:set>
                                      <p:cBhvr>
                                        <p:cTn id="29" dur="1" fill="hold">
                                          <p:stCondLst>
                                            <p:cond delay="0"/>
                                          </p:stCondLst>
                                        </p:cTn>
                                        <p:tgtEl>
                                          <p:spTgt spid="44"/>
                                        </p:tgtEl>
                                        <p:attrNameLst>
                                          <p:attrName>style.visibility</p:attrName>
                                        </p:attrNameLst>
                                      </p:cBhvr>
                                      <p:to>
                                        <p:strVal val="visible"/>
                                      </p:to>
                                    </p:set>
                                    <p:animEffect transition="in" filter="wipe(down)">
                                      <p:cBhvr>
                                        <p:cTn id="30" dur="1250"/>
                                        <p:tgtEl>
                                          <p:spTgt spid="44"/>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0"/>
                                        </p:tgtEl>
                                        <p:attrNameLst>
                                          <p:attrName>style.visibility</p:attrName>
                                        </p:attrNameLst>
                                      </p:cBhvr>
                                      <p:to>
                                        <p:strVal val="visible"/>
                                      </p:to>
                                    </p:set>
                                  </p:childTnLst>
                                </p:cTn>
                              </p:par>
                            </p:childTnLst>
                          </p:cTn>
                        </p:par>
                        <p:par>
                          <p:cTn id="35" fill="hold">
                            <p:stCondLst>
                              <p:cond delay="0"/>
                            </p:stCondLst>
                            <p:childTnLst>
                              <p:par>
                                <p:cTn id="36" presetID="27" presetClass="emph" presetSubtype="0" repeatCount="5000" fill="remove" grpId="1" nodeType="afterEffect">
                                  <p:stCondLst>
                                    <p:cond delay="0"/>
                                  </p:stCondLst>
                                  <p:childTnLst>
                                    <p:animClr clrSpc="rgb" dir="cw">
                                      <p:cBhvr override="childStyle">
                                        <p:cTn id="37" dur="250" autoRev="1" fill="remove"/>
                                        <p:tgtEl>
                                          <p:spTgt spid="50"/>
                                        </p:tgtEl>
                                        <p:attrNameLst>
                                          <p:attrName>style.color</p:attrName>
                                        </p:attrNameLst>
                                      </p:cBhvr>
                                      <p:to>
                                        <a:schemeClr val="bg1"/>
                                      </p:to>
                                    </p:animClr>
                                    <p:animClr clrSpc="rgb" dir="cw">
                                      <p:cBhvr>
                                        <p:cTn id="38" dur="250" autoRev="1" fill="remove"/>
                                        <p:tgtEl>
                                          <p:spTgt spid="50"/>
                                        </p:tgtEl>
                                        <p:attrNameLst>
                                          <p:attrName>fillcolor</p:attrName>
                                        </p:attrNameLst>
                                      </p:cBhvr>
                                      <p:to>
                                        <a:schemeClr val="bg1"/>
                                      </p:to>
                                    </p:animClr>
                                    <p:set>
                                      <p:cBhvr>
                                        <p:cTn id="39" dur="250" autoRev="1" fill="remove"/>
                                        <p:tgtEl>
                                          <p:spTgt spid="50"/>
                                        </p:tgtEl>
                                        <p:attrNameLst>
                                          <p:attrName>fill.type</p:attrName>
                                        </p:attrNameLst>
                                      </p:cBhvr>
                                      <p:to>
                                        <p:strVal val="solid"/>
                                      </p:to>
                                    </p:set>
                                    <p:set>
                                      <p:cBhvr>
                                        <p:cTn id="40" dur="250" autoRev="1" fill="remove"/>
                                        <p:tgtEl>
                                          <p:spTgt spid="50"/>
                                        </p:tgtEl>
                                        <p:attrNameLst>
                                          <p:attrName>fill.on</p:attrName>
                                        </p:attrNameLst>
                                      </p:cBhvr>
                                      <p:to>
                                        <p:strVal val="true"/>
                                      </p:to>
                                    </p:se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grpId="0" nodeType="clickEffect">
                                  <p:stCondLst>
                                    <p:cond delay="0"/>
                                  </p:stCondLst>
                                  <p:childTnLst>
                                    <p:set>
                                      <p:cBhvr>
                                        <p:cTn id="44" dur="1" fill="hold">
                                          <p:stCondLst>
                                            <p:cond delay="0"/>
                                          </p:stCondLst>
                                        </p:cTn>
                                        <p:tgtEl>
                                          <p:spTgt spid="46"/>
                                        </p:tgtEl>
                                        <p:attrNameLst>
                                          <p:attrName>style.visibility</p:attrName>
                                        </p:attrNameLst>
                                      </p:cBhvr>
                                      <p:to>
                                        <p:strVal val="visible"/>
                                      </p:to>
                                    </p:set>
                                    <p:animEffect transition="in" filter="wipe(down)">
                                      <p:cBhvr>
                                        <p:cTn id="45" dur="1000"/>
                                        <p:tgtEl>
                                          <p:spTgt spid="46"/>
                                        </p:tgtEl>
                                      </p:cBhvr>
                                    </p:animEffec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49"/>
                                        </p:tgtEl>
                                        <p:attrNameLst>
                                          <p:attrName>style.visibility</p:attrName>
                                        </p:attrNameLst>
                                      </p:cBhvr>
                                      <p:to>
                                        <p:strVal val="visible"/>
                                      </p:to>
                                    </p:set>
                                  </p:childTnLst>
                                </p:cTn>
                              </p:par>
                            </p:childTnLst>
                          </p:cTn>
                        </p:par>
                        <p:par>
                          <p:cTn id="50" fill="hold">
                            <p:stCondLst>
                              <p:cond delay="0"/>
                            </p:stCondLst>
                            <p:childTnLst>
                              <p:par>
                                <p:cTn id="51" presetID="27" presetClass="emph" presetSubtype="0" repeatCount="5000" fill="remove" grpId="1" nodeType="afterEffect">
                                  <p:stCondLst>
                                    <p:cond delay="0"/>
                                  </p:stCondLst>
                                  <p:childTnLst>
                                    <p:animClr clrSpc="rgb" dir="cw">
                                      <p:cBhvr override="childStyle">
                                        <p:cTn id="52" dur="250" autoRev="1" fill="remove"/>
                                        <p:tgtEl>
                                          <p:spTgt spid="49"/>
                                        </p:tgtEl>
                                        <p:attrNameLst>
                                          <p:attrName>style.color</p:attrName>
                                        </p:attrNameLst>
                                      </p:cBhvr>
                                      <p:to>
                                        <a:schemeClr val="bg1"/>
                                      </p:to>
                                    </p:animClr>
                                    <p:animClr clrSpc="rgb" dir="cw">
                                      <p:cBhvr>
                                        <p:cTn id="53" dur="250" autoRev="1" fill="remove"/>
                                        <p:tgtEl>
                                          <p:spTgt spid="49"/>
                                        </p:tgtEl>
                                        <p:attrNameLst>
                                          <p:attrName>fillcolor</p:attrName>
                                        </p:attrNameLst>
                                      </p:cBhvr>
                                      <p:to>
                                        <a:schemeClr val="bg1"/>
                                      </p:to>
                                    </p:animClr>
                                    <p:set>
                                      <p:cBhvr>
                                        <p:cTn id="54" dur="250" autoRev="1" fill="remove"/>
                                        <p:tgtEl>
                                          <p:spTgt spid="49"/>
                                        </p:tgtEl>
                                        <p:attrNameLst>
                                          <p:attrName>fill.type</p:attrName>
                                        </p:attrNameLst>
                                      </p:cBhvr>
                                      <p:to>
                                        <p:strVal val="solid"/>
                                      </p:to>
                                    </p:set>
                                    <p:set>
                                      <p:cBhvr>
                                        <p:cTn id="55" dur="250" autoRev="1" fill="remove"/>
                                        <p:tgtEl>
                                          <p:spTgt spid="49"/>
                                        </p:tgtEl>
                                        <p:attrNameLst>
                                          <p:attrName>fill.on</p:attrName>
                                        </p:attrNameLst>
                                      </p:cBhvr>
                                      <p:to>
                                        <p:strVal val="true"/>
                                      </p:to>
                                    </p:set>
                                  </p:childTnLst>
                                </p:cTn>
                              </p:par>
                            </p:childTnLst>
                          </p:cTn>
                        </p:par>
                      </p:childTnLst>
                    </p:cTn>
                  </p:par>
                  <p:par>
                    <p:cTn id="56" fill="hold">
                      <p:stCondLst>
                        <p:cond delay="indefinite"/>
                      </p:stCondLst>
                      <p:childTnLst>
                        <p:par>
                          <p:cTn id="57" fill="hold">
                            <p:stCondLst>
                              <p:cond delay="0"/>
                            </p:stCondLst>
                            <p:childTnLst>
                              <p:par>
                                <p:cTn id="58" presetID="22" presetClass="entr" presetSubtype="1" fill="hold" grpId="0" nodeType="clickEffect">
                                  <p:stCondLst>
                                    <p:cond delay="0"/>
                                  </p:stCondLst>
                                  <p:childTnLst>
                                    <p:set>
                                      <p:cBhvr>
                                        <p:cTn id="59" dur="1" fill="hold">
                                          <p:stCondLst>
                                            <p:cond delay="0"/>
                                          </p:stCondLst>
                                        </p:cTn>
                                        <p:tgtEl>
                                          <p:spTgt spid="48"/>
                                        </p:tgtEl>
                                        <p:attrNameLst>
                                          <p:attrName>style.visibility</p:attrName>
                                        </p:attrNameLst>
                                      </p:cBhvr>
                                      <p:to>
                                        <p:strVal val="visible"/>
                                      </p:to>
                                    </p:set>
                                    <p:animEffect transition="in" filter="wipe(up)">
                                      <p:cBhvr>
                                        <p:cTn id="60" dur="500"/>
                                        <p:tgtEl>
                                          <p:spTgt spid="48"/>
                                        </p:tgtEl>
                                      </p:cBhvr>
                                    </p:animEffect>
                                  </p:childTnLst>
                                </p:cTn>
                              </p:par>
                              <p:par>
                                <p:cTn id="61" presetID="1" presetClass="entr" presetSubtype="0" fill="hold" grpId="0" nodeType="withEffect">
                                  <p:stCondLst>
                                    <p:cond delay="250"/>
                                  </p:stCondLst>
                                  <p:childTnLst>
                                    <p:set>
                                      <p:cBhvr>
                                        <p:cTn id="62" dur="1" fill="hold">
                                          <p:stCondLst>
                                            <p:cond delay="0"/>
                                          </p:stCondLst>
                                        </p:cTn>
                                        <p:tgtEl>
                                          <p:spTgt spid="45"/>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11"/>
                                        </p:tgtEl>
                                        <p:attrNameLst>
                                          <p:attrName>style.visibility</p:attrName>
                                        </p:attrNameLst>
                                      </p:cBhvr>
                                      <p:to>
                                        <p:strVal val="visible"/>
                                      </p:to>
                                    </p:set>
                                    <p:animEffect transition="in" filter="wipe(left)">
                                      <p:cBhvr>
                                        <p:cTn id="67" dur="1500"/>
                                        <p:tgtEl>
                                          <p:spTgt spid="111"/>
                                        </p:tgtEl>
                                      </p:cBhvr>
                                    </p:animEffect>
                                  </p:childTnLst>
                                </p:cTn>
                              </p:par>
                            </p:childTnLst>
                          </p:cTn>
                        </p:par>
                        <p:par>
                          <p:cTn id="68" fill="hold">
                            <p:stCondLst>
                              <p:cond delay="1500"/>
                            </p:stCondLst>
                            <p:childTnLst>
                              <p:par>
                                <p:cTn id="69" presetID="22" presetClass="entr" presetSubtype="8" fill="hold" grpId="0" nodeType="afterEffect">
                                  <p:stCondLst>
                                    <p:cond delay="0"/>
                                  </p:stCondLst>
                                  <p:childTnLst>
                                    <p:set>
                                      <p:cBhvr>
                                        <p:cTn id="70" dur="1" fill="hold">
                                          <p:stCondLst>
                                            <p:cond delay="0"/>
                                          </p:stCondLst>
                                        </p:cTn>
                                        <p:tgtEl>
                                          <p:spTgt spid="110"/>
                                        </p:tgtEl>
                                        <p:attrNameLst>
                                          <p:attrName>style.visibility</p:attrName>
                                        </p:attrNameLst>
                                      </p:cBhvr>
                                      <p:to>
                                        <p:strVal val="visible"/>
                                      </p:to>
                                    </p:set>
                                    <p:animEffect transition="in" filter="wipe(left)">
                                      <p:cBhvr>
                                        <p:cTn id="71" dur="2000"/>
                                        <p:tgtEl>
                                          <p:spTgt spid="110"/>
                                        </p:tgtEl>
                                      </p:cBhvr>
                                    </p:animEffect>
                                  </p:childTnLst>
                                </p:cTn>
                              </p:par>
                              <p:par>
                                <p:cTn id="72" presetID="10" presetClass="entr" presetSubtype="0" fill="hold" grpId="0" nodeType="withEffect">
                                  <p:stCondLst>
                                    <p:cond delay="1500"/>
                                  </p:stCondLst>
                                  <p:childTnLst>
                                    <p:set>
                                      <p:cBhvr>
                                        <p:cTn id="73" dur="1" fill="hold">
                                          <p:stCondLst>
                                            <p:cond delay="0"/>
                                          </p:stCondLst>
                                        </p:cTn>
                                        <p:tgtEl>
                                          <p:spTgt spid="93"/>
                                        </p:tgtEl>
                                        <p:attrNameLst>
                                          <p:attrName>style.visibility</p:attrName>
                                        </p:attrNameLst>
                                      </p:cBhvr>
                                      <p:to>
                                        <p:strVal val="visible"/>
                                      </p:to>
                                    </p:set>
                                    <p:animEffect transition="in" filter="fade">
                                      <p:cBhvr>
                                        <p:cTn id="74" dur="1400"/>
                                        <p:tgtEl>
                                          <p:spTgt spid="93"/>
                                        </p:tgtEl>
                                      </p:cBhvr>
                                    </p:animEffect>
                                  </p:childTnLst>
                                </p:cTn>
                              </p:par>
                              <p:par>
                                <p:cTn id="75" presetID="10" presetClass="entr" presetSubtype="0" fill="hold" nodeType="withEffect">
                                  <p:stCondLst>
                                    <p:cond delay="0"/>
                                  </p:stCondLst>
                                  <p:childTnLst>
                                    <p:set>
                                      <p:cBhvr>
                                        <p:cTn id="76" dur="1" fill="hold">
                                          <p:stCondLst>
                                            <p:cond delay="0"/>
                                          </p:stCondLst>
                                        </p:cTn>
                                        <p:tgtEl>
                                          <p:spTgt spid="30"/>
                                        </p:tgtEl>
                                        <p:attrNameLst>
                                          <p:attrName>style.visibility</p:attrName>
                                        </p:attrNameLst>
                                      </p:cBhvr>
                                      <p:to>
                                        <p:strVal val="visible"/>
                                      </p:to>
                                    </p:set>
                                    <p:animEffect transition="in" filter="fade">
                                      <p:cBhvr>
                                        <p:cTn id="77" dur="1300"/>
                                        <p:tgtEl>
                                          <p:spTgt spid="30"/>
                                        </p:tgtEl>
                                      </p:cBhvr>
                                    </p:animEffect>
                                  </p:childTnLst>
                                </p:cTn>
                              </p:par>
                              <p:par>
                                <p:cTn id="78" presetID="37" presetClass="path" presetSubtype="0" accel="50000" decel="50000" fill="hold" nodeType="withEffect">
                                  <p:stCondLst>
                                    <p:cond delay="0"/>
                                  </p:stCondLst>
                                  <p:childTnLst>
                                    <p:animMotion origin="layout" path="M -2.05128E-6 4.44444E-6 C -0.0915 0.03217 -0.12484 0.18217 -0.13862 0.2199 C -0.1524 0.25763 -0.19615 0.41643 -0.39182 0.43217 " pathEditMode="relative" rAng="0" ptsTypes="AAA">
                                      <p:cBhvr>
                                        <p:cTn id="79" dur="2000" spd="-100000" fill="hold"/>
                                        <p:tgtEl>
                                          <p:spTgt spid="30"/>
                                        </p:tgtEl>
                                        <p:attrNameLst>
                                          <p:attrName>ppt_x</p:attrName>
                                          <p:attrName>ppt_y</p:attrName>
                                        </p:attrNameLst>
                                      </p:cBhvr>
                                      <p:rCtr x="-19599" y="21597"/>
                                    </p:animMotion>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101"/>
                                        </p:tgtEl>
                                        <p:attrNameLst>
                                          <p:attrName>style.visibility</p:attrName>
                                        </p:attrNameLst>
                                      </p:cBhvr>
                                      <p:to>
                                        <p:strVal val="visible"/>
                                      </p:to>
                                    </p:set>
                                    <p:animEffect transition="in" filter="fade">
                                      <p:cBhvr>
                                        <p:cTn id="84" dur="2000"/>
                                        <p:tgtEl>
                                          <p:spTgt spid="101"/>
                                        </p:tgtEl>
                                      </p:cBhvr>
                                    </p:animEffect>
                                  </p:childTnLst>
                                </p:cTn>
                              </p:par>
                              <p:par>
                                <p:cTn id="85" presetID="10" presetClass="entr" presetSubtype="0" fill="hold" grpId="0" nodeType="withEffect">
                                  <p:stCondLst>
                                    <p:cond delay="900"/>
                                  </p:stCondLst>
                                  <p:childTnLst>
                                    <p:set>
                                      <p:cBhvr>
                                        <p:cTn id="86" dur="1" fill="hold">
                                          <p:stCondLst>
                                            <p:cond delay="0"/>
                                          </p:stCondLst>
                                        </p:cTn>
                                        <p:tgtEl>
                                          <p:spTgt spid="51"/>
                                        </p:tgtEl>
                                        <p:attrNameLst>
                                          <p:attrName>style.visibility</p:attrName>
                                        </p:attrNameLst>
                                      </p:cBhvr>
                                      <p:to>
                                        <p:strVal val="visible"/>
                                      </p:to>
                                    </p:set>
                                    <p:animEffect transition="in" filter="fade">
                                      <p:cBhvr>
                                        <p:cTn id="87" dur="1100"/>
                                        <p:tgtEl>
                                          <p:spTgt spid="51"/>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97"/>
                                        </p:tgtEl>
                                        <p:attrNameLst>
                                          <p:attrName>style.visibility</p:attrName>
                                        </p:attrNameLst>
                                      </p:cBhvr>
                                      <p:to>
                                        <p:strVal val="visible"/>
                                      </p:to>
                                    </p:set>
                                    <p:animEffect transition="in" filter="fade">
                                      <p:cBhvr>
                                        <p:cTn id="90" dur="500"/>
                                        <p:tgtEl>
                                          <p:spTgt spid="97"/>
                                        </p:tgtEl>
                                      </p:cBhvr>
                                    </p:animEffect>
                                  </p:childTnLst>
                                </p:cTn>
                              </p:par>
                              <p:par>
                                <p:cTn id="91" presetID="22" presetClass="entr" presetSubtype="2" fill="hold" nodeType="withEffect">
                                  <p:stCondLst>
                                    <p:cond delay="100"/>
                                  </p:stCondLst>
                                  <p:childTnLst>
                                    <p:set>
                                      <p:cBhvr>
                                        <p:cTn id="92" dur="1" fill="hold">
                                          <p:stCondLst>
                                            <p:cond delay="0"/>
                                          </p:stCondLst>
                                        </p:cTn>
                                        <p:tgtEl>
                                          <p:spTgt spid="100"/>
                                        </p:tgtEl>
                                        <p:attrNameLst>
                                          <p:attrName>style.visibility</p:attrName>
                                        </p:attrNameLst>
                                      </p:cBhvr>
                                      <p:to>
                                        <p:strVal val="visible"/>
                                      </p:to>
                                    </p:set>
                                    <p:animEffect transition="in" filter="wipe(right)">
                                      <p:cBhvr>
                                        <p:cTn id="93" dur="500"/>
                                        <p:tgtEl>
                                          <p:spTgt spid="100"/>
                                        </p:tgtEl>
                                      </p:cBhvr>
                                    </p:animEffect>
                                  </p:childTnLst>
                                </p:cTn>
                              </p:par>
                              <p:par>
                                <p:cTn id="94" presetID="10" presetClass="entr" presetSubtype="0" fill="hold" grpId="0" nodeType="withEffect">
                                  <p:stCondLst>
                                    <p:cond delay="200"/>
                                  </p:stCondLst>
                                  <p:childTnLst>
                                    <p:set>
                                      <p:cBhvr>
                                        <p:cTn id="95" dur="1" fill="hold">
                                          <p:stCondLst>
                                            <p:cond delay="0"/>
                                          </p:stCondLst>
                                        </p:cTn>
                                        <p:tgtEl>
                                          <p:spTgt spid="96"/>
                                        </p:tgtEl>
                                        <p:attrNameLst>
                                          <p:attrName>style.visibility</p:attrName>
                                        </p:attrNameLst>
                                      </p:cBhvr>
                                      <p:to>
                                        <p:strVal val="visible"/>
                                      </p:to>
                                    </p:set>
                                    <p:animEffect transition="in" filter="fade">
                                      <p:cBhvr>
                                        <p:cTn id="96" dur="500"/>
                                        <p:tgtEl>
                                          <p:spTgt spid="96"/>
                                        </p:tgtEl>
                                      </p:cBhvr>
                                    </p:animEffect>
                                  </p:childTnLst>
                                </p:cTn>
                              </p:par>
                              <p:par>
                                <p:cTn id="97" presetID="22" presetClass="entr" presetSubtype="8" fill="hold" nodeType="withEffect">
                                  <p:stCondLst>
                                    <p:cond delay="100"/>
                                  </p:stCondLst>
                                  <p:childTnLst>
                                    <p:set>
                                      <p:cBhvr>
                                        <p:cTn id="98" dur="1" fill="hold">
                                          <p:stCondLst>
                                            <p:cond delay="0"/>
                                          </p:stCondLst>
                                        </p:cTn>
                                        <p:tgtEl>
                                          <p:spTgt spid="99"/>
                                        </p:tgtEl>
                                        <p:attrNameLst>
                                          <p:attrName>style.visibility</p:attrName>
                                        </p:attrNameLst>
                                      </p:cBhvr>
                                      <p:to>
                                        <p:strVal val="visible"/>
                                      </p:to>
                                    </p:set>
                                    <p:animEffect transition="in" filter="wipe(left)">
                                      <p:cBhvr>
                                        <p:cTn id="99" dur="500"/>
                                        <p:tgtEl>
                                          <p:spTgt spid="99"/>
                                        </p:tgtEl>
                                      </p:cBhvr>
                                    </p:animEffect>
                                  </p:childTnLst>
                                </p:cTn>
                              </p:par>
                              <p:par>
                                <p:cTn id="100" presetID="10" presetClass="entr" presetSubtype="0" fill="hold" grpId="0" nodeType="withEffect">
                                  <p:stCondLst>
                                    <p:cond delay="200"/>
                                  </p:stCondLst>
                                  <p:childTnLst>
                                    <p:set>
                                      <p:cBhvr>
                                        <p:cTn id="101" dur="1" fill="hold">
                                          <p:stCondLst>
                                            <p:cond delay="0"/>
                                          </p:stCondLst>
                                        </p:cTn>
                                        <p:tgtEl>
                                          <p:spTgt spid="98"/>
                                        </p:tgtEl>
                                        <p:attrNameLst>
                                          <p:attrName>style.visibility</p:attrName>
                                        </p:attrNameLst>
                                      </p:cBhvr>
                                      <p:to>
                                        <p:strVal val="visible"/>
                                      </p:to>
                                    </p:set>
                                    <p:animEffect transition="in" filter="fade">
                                      <p:cBhvr>
                                        <p:cTn id="102" dur="500"/>
                                        <p:tgtEl>
                                          <p:spTgt spid="98"/>
                                        </p:tgtEl>
                                      </p:cBhvr>
                                    </p:animEffect>
                                  </p:childTnLst>
                                </p:cTn>
                              </p:par>
                            </p:childTnLst>
                          </p:cTn>
                        </p:par>
                      </p:childTnLst>
                    </p:cTn>
                  </p:par>
                  <p:par>
                    <p:cTn id="103" fill="hold">
                      <p:stCondLst>
                        <p:cond delay="indefinite"/>
                      </p:stCondLst>
                      <p:childTnLst>
                        <p:par>
                          <p:cTn id="104" fill="hold">
                            <p:stCondLst>
                              <p:cond delay="0"/>
                            </p:stCondLst>
                            <p:childTnLst>
                              <p:par>
                                <p:cTn id="105" presetID="22" presetClass="entr" presetSubtype="8" fill="hold" grpId="0" nodeType="clickEffect">
                                  <p:stCondLst>
                                    <p:cond delay="0"/>
                                  </p:stCondLst>
                                  <p:childTnLst>
                                    <p:set>
                                      <p:cBhvr>
                                        <p:cTn id="106" dur="1" fill="hold">
                                          <p:stCondLst>
                                            <p:cond delay="0"/>
                                          </p:stCondLst>
                                        </p:cTn>
                                        <p:tgtEl>
                                          <p:spTgt spid="35"/>
                                        </p:tgtEl>
                                        <p:attrNameLst>
                                          <p:attrName>style.visibility</p:attrName>
                                        </p:attrNameLst>
                                      </p:cBhvr>
                                      <p:to>
                                        <p:strVal val="visible"/>
                                      </p:to>
                                    </p:set>
                                    <p:animEffect transition="in" filter="wipe(left)">
                                      <p:cBhvr>
                                        <p:cTn id="107" dur="4500"/>
                                        <p:tgtEl>
                                          <p:spTgt spid="35"/>
                                        </p:tgtEl>
                                      </p:cBhvr>
                                    </p:animEffect>
                                  </p:childTnLst>
                                </p:cTn>
                              </p:par>
                              <p:par>
                                <p:cTn id="108" presetID="10" presetClass="entr" presetSubtype="0" fill="hold" nodeType="withEffect">
                                  <p:stCondLst>
                                    <p:cond delay="2750"/>
                                  </p:stCondLst>
                                  <p:childTnLst>
                                    <p:set>
                                      <p:cBhvr>
                                        <p:cTn id="109" dur="1" fill="hold">
                                          <p:stCondLst>
                                            <p:cond delay="0"/>
                                          </p:stCondLst>
                                        </p:cTn>
                                        <p:tgtEl>
                                          <p:spTgt spid="2"/>
                                        </p:tgtEl>
                                        <p:attrNameLst>
                                          <p:attrName>style.visibility</p:attrName>
                                        </p:attrNameLst>
                                      </p:cBhvr>
                                      <p:to>
                                        <p:strVal val="visible"/>
                                      </p:to>
                                    </p:set>
                                    <p:animEffect transition="in" filter="fade">
                                      <p:cBhvr>
                                        <p:cTn id="110" dur="1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p:bldP spid="96" grpId="0"/>
      <p:bldP spid="97" grpId="0"/>
      <p:bldP spid="98" grpId="0"/>
      <p:bldP spid="101" grpId="0" animBg="1"/>
      <p:bldP spid="110" grpId="0" animBg="1"/>
      <p:bldP spid="42" grpId="0" animBg="1"/>
      <p:bldP spid="44" grpId="0" animBg="1"/>
      <p:bldP spid="45" grpId="0" animBg="1"/>
      <p:bldP spid="46" grpId="0" animBg="1"/>
      <p:bldP spid="47" grpId="0" animBg="1"/>
      <p:bldP spid="47" grpId="1" animBg="1"/>
      <p:bldP spid="48" grpId="0" animBg="1"/>
      <p:bldP spid="49" grpId="0" animBg="1"/>
      <p:bldP spid="49" grpId="1" animBg="1"/>
      <p:bldP spid="50" grpId="0" animBg="1"/>
      <p:bldP spid="50" grpId="1" animBg="1"/>
      <p:bldP spid="35" grpId="0" animBg="1"/>
      <p:bldP spid="40" grpId="0"/>
      <p:bldP spid="51"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142294" y="1510653"/>
            <a:ext cx="6249146" cy="4064760"/>
          </a:xfrm>
        </p:spPr>
        <p:txBody>
          <a:bodyPr/>
          <a:lstStyle/>
          <a:p>
            <a:pPr algn="l"/>
            <a:r>
              <a:rPr lang="de-DE" dirty="0" smtClean="0">
                <a:solidFill>
                  <a:srgbClr val="000000"/>
                </a:solidFill>
              </a:rPr>
              <a:t>Wie wir die Transformation meistern können. </a:t>
            </a:r>
            <a:br>
              <a:rPr lang="de-DE" dirty="0" smtClean="0">
                <a:solidFill>
                  <a:srgbClr val="000000"/>
                </a:solidFill>
              </a:rPr>
            </a:br>
            <a:r>
              <a:rPr lang="de-DE" dirty="0" smtClean="0">
                <a:solidFill>
                  <a:srgbClr val="000000"/>
                </a:solidFill>
              </a:rPr>
              <a:t/>
            </a:r>
            <a:br>
              <a:rPr lang="de-DE" dirty="0" smtClean="0">
                <a:solidFill>
                  <a:srgbClr val="000000"/>
                </a:solidFill>
              </a:rPr>
            </a:br>
            <a:r>
              <a:rPr lang="de-DE" dirty="0" smtClean="0">
                <a:solidFill>
                  <a:srgbClr val="000000"/>
                </a:solidFill>
              </a:rPr>
              <a:t>Und wie wir mit der wachsenden Komplexität der natürlichen Systeme und vom Menschen gemachten Systeme umgehen können. </a:t>
            </a:r>
            <a:br>
              <a:rPr lang="de-DE" dirty="0" smtClean="0">
                <a:solidFill>
                  <a:srgbClr val="000000"/>
                </a:solidFill>
              </a:rPr>
            </a:br>
            <a:r>
              <a:rPr lang="de-DE" dirty="0" smtClean="0">
                <a:solidFill>
                  <a:srgbClr val="000000"/>
                </a:solidFill>
              </a:rPr>
              <a:t/>
            </a:r>
            <a:br>
              <a:rPr lang="de-DE" dirty="0" smtClean="0">
                <a:solidFill>
                  <a:srgbClr val="000000"/>
                </a:solidFill>
              </a:rPr>
            </a:br>
            <a:r>
              <a:rPr lang="de-DE" dirty="0" smtClean="0">
                <a:solidFill>
                  <a:srgbClr val="000000"/>
                </a:solidFill>
              </a:rPr>
              <a:t>Und wie wir diese Komplexität sogar nützen können. </a:t>
            </a:r>
            <a:br>
              <a:rPr lang="de-DE" dirty="0" smtClean="0">
                <a:solidFill>
                  <a:srgbClr val="000000"/>
                </a:solidFill>
              </a:rPr>
            </a:br>
            <a:r>
              <a:rPr lang="de-DE" dirty="0">
                <a:solidFill>
                  <a:srgbClr val="000000"/>
                </a:solidFill>
              </a:rPr>
              <a:t/>
            </a:r>
            <a:br>
              <a:rPr lang="de-DE" dirty="0">
                <a:solidFill>
                  <a:srgbClr val="000000"/>
                </a:solidFill>
              </a:rPr>
            </a:br>
            <a:r>
              <a:rPr lang="de-DE" dirty="0" smtClean="0">
                <a:solidFill>
                  <a:srgbClr val="000000"/>
                </a:solidFill>
              </a:rPr>
              <a:t>Dargelegt an ein paar Beispielen ...   </a:t>
            </a:r>
            <a:br>
              <a:rPr lang="de-DE" dirty="0" smtClean="0">
                <a:solidFill>
                  <a:srgbClr val="000000"/>
                </a:solidFill>
              </a:rPr>
            </a:br>
            <a:r>
              <a:rPr lang="de-DE" dirty="0">
                <a:solidFill>
                  <a:srgbClr val="000000"/>
                </a:solidFill>
              </a:rPr>
              <a:t/>
            </a:r>
            <a:br>
              <a:rPr lang="de-DE" dirty="0">
                <a:solidFill>
                  <a:srgbClr val="000000"/>
                </a:solidFill>
              </a:rPr>
            </a:br>
            <a:endParaRPr lang="de-CH" dirty="0"/>
          </a:p>
        </p:txBody>
      </p:sp>
      <p:sp>
        <p:nvSpPr>
          <p:cNvPr id="3" name="Inhaltsplatzhalter 2"/>
          <p:cNvSpPr>
            <a:spLocks noGrp="1"/>
          </p:cNvSpPr>
          <p:nvPr>
            <p:ph sz="quarter" idx="13"/>
          </p:nvPr>
        </p:nvSpPr>
        <p:spPr>
          <a:xfrm>
            <a:off x="615669" y="544022"/>
            <a:ext cx="8628068" cy="605047"/>
          </a:xfrm>
        </p:spPr>
        <p:txBody>
          <a:bodyPr/>
          <a:lstStyle/>
          <a:p>
            <a:pPr marL="993556" defTabSz="633058">
              <a:spcAft>
                <a:spcPts val="0"/>
              </a:spcAft>
            </a:pPr>
            <a:endParaRPr lang="de-DE" sz="1108" b="1" dirty="0">
              <a:solidFill>
                <a:srgbClr val="000000"/>
              </a:solidFill>
            </a:endParaRPr>
          </a:p>
          <a:p>
            <a:pPr marL="993556" defTabSz="633058">
              <a:lnSpc>
                <a:spcPct val="150000"/>
              </a:lnSpc>
              <a:spcAft>
                <a:spcPts val="0"/>
              </a:spcAft>
            </a:pPr>
            <a:endParaRPr lang="de-DE" b="1" dirty="0" smtClean="0">
              <a:solidFill>
                <a:srgbClr val="000000"/>
              </a:solidFill>
              <a:latin typeface="Arial" panose="020B0604020202020204" pitchFamily="34" charset="0"/>
              <a:cs typeface="Arial" panose="020B0604020202020204" pitchFamily="34" charset="0"/>
            </a:endParaRPr>
          </a:p>
          <a:p>
            <a:pPr marL="993556" defTabSz="633058">
              <a:spcAft>
                <a:spcPts val="0"/>
              </a:spcAft>
            </a:pPr>
            <a:endParaRPr lang="de-DE" sz="1292" b="1" dirty="0">
              <a:solidFill>
                <a:srgbClr val="000000"/>
              </a:solidFill>
            </a:endParaRPr>
          </a:p>
          <a:p>
            <a:pPr marL="993556" defTabSz="633058">
              <a:spcAft>
                <a:spcPts val="0"/>
              </a:spcAft>
            </a:pPr>
            <a:endParaRPr lang="de-DE" sz="831" b="1" dirty="0">
              <a:solidFill>
                <a:srgbClr val="000000"/>
              </a:solidFill>
            </a:endParaRPr>
          </a:p>
          <a:p>
            <a:pPr marL="993556" defTabSz="633058">
              <a:lnSpc>
                <a:spcPct val="150000"/>
              </a:lnSpc>
              <a:spcAft>
                <a:spcPts val="0"/>
              </a:spcAft>
            </a:pPr>
            <a:r>
              <a:rPr lang="de-DE" sz="1292" b="1" dirty="0" smtClean="0">
                <a:solidFill>
                  <a:srgbClr val="000000"/>
                </a:solidFill>
              </a:rPr>
              <a:t>                                     </a:t>
            </a:r>
            <a:endParaRPr lang="de-DE" sz="1292" b="1" dirty="0">
              <a:solidFill>
                <a:srgbClr val="000000"/>
              </a:solidFill>
            </a:endParaRPr>
          </a:p>
        </p:txBody>
      </p:sp>
    </p:spTree>
    <p:extLst>
      <p:ext uri="{BB962C8B-B14F-4D97-AF65-F5344CB8AC3E}">
        <p14:creationId xmlns:p14="http://schemas.microsoft.com/office/powerpoint/2010/main" val="2317304053"/>
      </p:ext>
    </p:extLst>
  </p:cSld>
  <p:clrMapOvr>
    <a:masterClrMapping/>
  </p:clrMapOvr>
  <p:transition spd="slow"/>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z="1800" dirty="0" smtClean="0"/>
              <a:t>Systemdiagnose „</a:t>
            </a:r>
            <a:r>
              <a:rPr lang="de-DE" dirty="0"/>
              <a:t>SMART </a:t>
            </a:r>
            <a:r>
              <a:rPr lang="de-DE" dirty="0" smtClean="0"/>
              <a:t>Klima</a:t>
            </a:r>
            <a:r>
              <a:rPr lang="de-DE" sz="1800" dirty="0" smtClean="0"/>
              <a:t>“ </a:t>
            </a:r>
            <a:br>
              <a:rPr lang="de-DE" sz="1800" dirty="0" smtClean="0"/>
            </a:br>
            <a:r>
              <a:rPr lang="de-DE" sz="1600" b="0" dirty="0" smtClean="0"/>
              <a:t>Die Faktoren</a:t>
            </a:r>
            <a:r>
              <a:rPr lang="de-DE" sz="1600" b="0" dirty="0" smtClean="0">
                <a:solidFill>
                  <a:srgbClr val="FF0000"/>
                </a:solidFill>
              </a:rPr>
              <a:t> </a:t>
            </a:r>
            <a:r>
              <a:rPr lang="de-DE" sz="1600" b="0" dirty="0" smtClean="0"/>
              <a:t>für die Hochleistungsorganisation - und wie sie zusammenhängen</a:t>
            </a:r>
            <a:endParaRPr lang="de-DE" sz="1600" b="0" dirty="0"/>
          </a:p>
        </p:txBody>
      </p:sp>
      <p:sp>
        <p:nvSpPr>
          <p:cNvPr id="30" name="Rechteck 15"/>
          <p:cNvSpPr/>
          <p:nvPr/>
        </p:nvSpPr>
        <p:spPr>
          <a:xfrm>
            <a:off x="4226473" y="4361869"/>
            <a:ext cx="1772778" cy="507831"/>
          </a:xfrm>
          <a:prstGeom prst="rect">
            <a:avLst/>
          </a:prstGeom>
        </p:spPr>
        <p:txBody>
          <a:bodyPr wrap="square" lIns="0" tIns="0" rIns="0" bIns="0">
            <a:spAutoFit/>
          </a:bodyPr>
          <a:lstStyle>
            <a:defPPr>
              <a:defRPr lang="de-DE"/>
            </a:defPPr>
            <a:lvl1pPr algn="l" rtl="0" eaLnBrk="0" fontAlgn="base" hangingPunct="0">
              <a:spcBef>
                <a:spcPct val="0"/>
              </a:spcBef>
              <a:spcAft>
                <a:spcPct val="20000"/>
              </a:spcAft>
              <a:defRPr sz="1600" kern="1200">
                <a:solidFill>
                  <a:schemeClr val="tx1"/>
                </a:solidFill>
                <a:latin typeface="Arial" charset="0"/>
                <a:ea typeface="+mn-ea"/>
                <a:cs typeface="+mn-cs"/>
              </a:defRPr>
            </a:lvl1pPr>
            <a:lvl2pPr marL="457200" algn="l" rtl="0" eaLnBrk="0" fontAlgn="base" hangingPunct="0">
              <a:spcBef>
                <a:spcPct val="0"/>
              </a:spcBef>
              <a:spcAft>
                <a:spcPct val="20000"/>
              </a:spcAft>
              <a:defRPr sz="1600" kern="1200">
                <a:solidFill>
                  <a:schemeClr val="tx1"/>
                </a:solidFill>
                <a:latin typeface="Arial" charset="0"/>
                <a:ea typeface="+mn-ea"/>
                <a:cs typeface="+mn-cs"/>
              </a:defRPr>
            </a:lvl2pPr>
            <a:lvl3pPr marL="914400" algn="l" rtl="0" eaLnBrk="0" fontAlgn="base" hangingPunct="0">
              <a:spcBef>
                <a:spcPct val="0"/>
              </a:spcBef>
              <a:spcAft>
                <a:spcPct val="20000"/>
              </a:spcAft>
              <a:defRPr sz="1600" kern="1200">
                <a:solidFill>
                  <a:schemeClr val="tx1"/>
                </a:solidFill>
                <a:latin typeface="Arial" charset="0"/>
                <a:ea typeface="+mn-ea"/>
                <a:cs typeface="+mn-cs"/>
              </a:defRPr>
            </a:lvl3pPr>
            <a:lvl4pPr marL="1371600" algn="l" rtl="0" eaLnBrk="0" fontAlgn="base" hangingPunct="0">
              <a:spcBef>
                <a:spcPct val="0"/>
              </a:spcBef>
              <a:spcAft>
                <a:spcPct val="20000"/>
              </a:spcAft>
              <a:defRPr sz="1600" kern="1200">
                <a:solidFill>
                  <a:schemeClr val="tx1"/>
                </a:solidFill>
                <a:latin typeface="Arial" charset="0"/>
                <a:ea typeface="+mn-ea"/>
                <a:cs typeface="+mn-cs"/>
              </a:defRPr>
            </a:lvl4pPr>
            <a:lvl5pPr marL="1828800" algn="l" rtl="0" eaLnBrk="0" fontAlgn="base" hangingPunct="0">
              <a:spcBef>
                <a:spcPct val="0"/>
              </a:spcBef>
              <a:spcAft>
                <a:spcPct val="2000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marL="182563" indent="-182563">
              <a:tabLst>
                <a:tab pos="182563" algn="l"/>
              </a:tabLst>
            </a:pPr>
            <a:r>
              <a:rPr lang="de-DE" sz="1100" dirty="0" smtClean="0">
                <a:solidFill>
                  <a:srgbClr val="000000"/>
                </a:solidFill>
                <a:latin typeface="Arial" panose="020B0604020202020204" pitchFamily="34" charset="0"/>
                <a:cs typeface="Arial" panose="020B0604020202020204" pitchFamily="34" charset="0"/>
              </a:rPr>
              <a:t>2. 	Wie sind diese Faktoren</a:t>
            </a:r>
            <a:br>
              <a:rPr lang="de-DE" sz="1100" dirty="0" smtClean="0">
                <a:solidFill>
                  <a:srgbClr val="000000"/>
                </a:solidFill>
                <a:latin typeface="Arial" panose="020B0604020202020204" pitchFamily="34" charset="0"/>
                <a:cs typeface="Arial" panose="020B0604020202020204" pitchFamily="34" charset="0"/>
              </a:rPr>
            </a:br>
            <a:r>
              <a:rPr lang="de-DE" sz="1100" dirty="0" smtClean="0">
                <a:solidFill>
                  <a:srgbClr val="000000"/>
                </a:solidFill>
                <a:latin typeface="Arial" panose="020B0604020202020204" pitchFamily="34" charset="0"/>
                <a:cs typeface="Arial" panose="020B0604020202020204" pitchFamily="34" charset="0"/>
              </a:rPr>
              <a:t>dynamisch miteinander </a:t>
            </a:r>
            <a:r>
              <a:rPr lang="de-DE" sz="1100" b="1" dirty="0" smtClean="0">
                <a:solidFill>
                  <a:srgbClr val="000000"/>
                </a:solidFill>
                <a:latin typeface="Arial" panose="020B0604020202020204" pitchFamily="34" charset="0"/>
                <a:cs typeface="Arial" panose="020B0604020202020204" pitchFamily="34" charset="0"/>
              </a:rPr>
              <a:t>verbunden</a:t>
            </a:r>
            <a:r>
              <a:rPr lang="de-DE" sz="1100" dirty="0" smtClean="0">
                <a:solidFill>
                  <a:srgbClr val="000000"/>
                </a:solidFill>
                <a:latin typeface="Arial" panose="020B0604020202020204" pitchFamily="34" charset="0"/>
                <a:cs typeface="Arial" panose="020B0604020202020204" pitchFamily="34" charset="0"/>
              </a:rPr>
              <a:t>? </a:t>
            </a:r>
            <a:endParaRPr lang="de-DE" sz="1100" dirty="0">
              <a:solidFill>
                <a:srgbClr val="000000"/>
              </a:solidFill>
              <a:latin typeface="Arial" panose="020B0604020202020204" pitchFamily="34" charset="0"/>
              <a:cs typeface="Arial" panose="020B0604020202020204" pitchFamily="34" charset="0"/>
            </a:endParaRPr>
          </a:p>
        </p:txBody>
      </p:sp>
      <p:sp>
        <p:nvSpPr>
          <p:cNvPr id="31" name="Rechteck 16"/>
          <p:cNvSpPr/>
          <p:nvPr/>
        </p:nvSpPr>
        <p:spPr>
          <a:xfrm>
            <a:off x="1075611" y="3807533"/>
            <a:ext cx="2090316" cy="338554"/>
          </a:xfrm>
          <a:prstGeom prst="rect">
            <a:avLst/>
          </a:prstGeom>
        </p:spPr>
        <p:txBody>
          <a:bodyPr wrap="none" lIns="0" tIns="0" rIns="0" bIns="0">
            <a:spAutoFit/>
          </a:bodyPr>
          <a:lstStyle>
            <a:defPPr>
              <a:defRPr lang="de-DE"/>
            </a:defPPr>
            <a:lvl1pPr algn="l" rtl="0" eaLnBrk="0" fontAlgn="base" hangingPunct="0">
              <a:spcBef>
                <a:spcPct val="0"/>
              </a:spcBef>
              <a:spcAft>
                <a:spcPct val="20000"/>
              </a:spcAft>
              <a:defRPr sz="1600" kern="1200">
                <a:solidFill>
                  <a:schemeClr val="tx1"/>
                </a:solidFill>
                <a:latin typeface="Arial" charset="0"/>
                <a:ea typeface="+mn-ea"/>
                <a:cs typeface="+mn-cs"/>
              </a:defRPr>
            </a:lvl1pPr>
            <a:lvl2pPr marL="457200" algn="l" rtl="0" eaLnBrk="0" fontAlgn="base" hangingPunct="0">
              <a:spcBef>
                <a:spcPct val="0"/>
              </a:spcBef>
              <a:spcAft>
                <a:spcPct val="20000"/>
              </a:spcAft>
              <a:defRPr sz="1600" kern="1200">
                <a:solidFill>
                  <a:schemeClr val="tx1"/>
                </a:solidFill>
                <a:latin typeface="Arial" charset="0"/>
                <a:ea typeface="+mn-ea"/>
                <a:cs typeface="+mn-cs"/>
              </a:defRPr>
            </a:lvl2pPr>
            <a:lvl3pPr marL="914400" algn="l" rtl="0" eaLnBrk="0" fontAlgn="base" hangingPunct="0">
              <a:spcBef>
                <a:spcPct val="0"/>
              </a:spcBef>
              <a:spcAft>
                <a:spcPct val="20000"/>
              </a:spcAft>
              <a:defRPr sz="1600" kern="1200">
                <a:solidFill>
                  <a:schemeClr val="tx1"/>
                </a:solidFill>
                <a:latin typeface="Arial" charset="0"/>
                <a:ea typeface="+mn-ea"/>
                <a:cs typeface="+mn-cs"/>
              </a:defRPr>
            </a:lvl3pPr>
            <a:lvl4pPr marL="1371600" algn="l" rtl="0" eaLnBrk="0" fontAlgn="base" hangingPunct="0">
              <a:spcBef>
                <a:spcPct val="0"/>
              </a:spcBef>
              <a:spcAft>
                <a:spcPct val="20000"/>
              </a:spcAft>
              <a:defRPr sz="1600" kern="1200">
                <a:solidFill>
                  <a:schemeClr val="tx1"/>
                </a:solidFill>
                <a:latin typeface="Arial" charset="0"/>
                <a:ea typeface="+mn-ea"/>
                <a:cs typeface="+mn-cs"/>
              </a:defRPr>
            </a:lvl4pPr>
            <a:lvl5pPr marL="1828800" algn="l" rtl="0" eaLnBrk="0" fontAlgn="base" hangingPunct="0">
              <a:spcBef>
                <a:spcPct val="0"/>
              </a:spcBef>
              <a:spcAft>
                <a:spcPct val="2000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marL="177800" indent="-177800"/>
            <a:r>
              <a:rPr lang="de-DE" sz="1100" dirty="0" smtClean="0">
                <a:solidFill>
                  <a:srgbClr val="000000"/>
                </a:solidFill>
                <a:latin typeface="Arial" panose="020B0604020202020204" pitchFamily="34" charset="0"/>
                <a:cs typeface="Arial" panose="020B0604020202020204" pitchFamily="34" charset="0"/>
              </a:rPr>
              <a:t>1</a:t>
            </a:r>
            <a:r>
              <a:rPr lang="de-DE" sz="1100" dirty="0" smtClean="0">
                <a:latin typeface="Arial" panose="020B0604020202020204" pitchFamily="34" charset="0"/>
                <a:cs typeface="Arial" panose="020B0604020202020204" pitchFamily="34" charset="0"/>
              </a:rPr>
              <a:t>. 	Was sind </a:t>
            </a:r>
            <a:r>
              <a:rPr lang="de-DE" sz="1100" b="1" dirty="0" smtClean="0">
                <a:latin typeface="Arial" panose="020B0604020202020204" pitchFamily="34" charset="0"/>
                <a:cs typeface="Arial" panose="020B0604020202020204" pitchFamily="34" charset="0"/>
              </a:rPr>
              <a:t>Faktoren </a:t>
            </a:r>
            <a:r>
              <a:rPr lang="de-DE" sz="1100" dirty="0" smtClean="0">
                <a:latin typeface="Arial" panose="020B0604020202020204" pitchFamily="34" charset="0"/>
                <a:cs typeface="Arial" panose="020B0604020202020204" pitchFamily="34" charset="0"/>
              </a:rPr>
              <a:t>im System</a:t>
            </a:r>
            <a:br>
              <a:rPr lang="de-DE" sz="1100" dirty="0" smtClean="0">
                <a:latin typeface="Arial" panose="020B0604020202020204" pitchFamily="34" charset="0"/>
                <a:cs typeface="Arial" panose="020B0604020202020204" pitchFamily="34" charset="0"/>
              </a:rPr>
            </a:br>
            <a:r>
              <a:rPr lang="de-DE" sz="1100" dirty="0" err="1" smtClean="0">
                <a:latin typeface="Arial" panose="020B0604020202020204" pitchFamily="34" charset="0"/>
                <a:cs typeface="Arial" panose="020B0604020202020204" pitchFamily="34" charset="0"/>
              </a:rPr>
              <a:t>SMARTilience</a:t>
            </a:r>
            <a:r>
              <a:rPr lang="de-DE" sz="1100" dirty="0" smtClean="0">
                <a:solidFill>
                  <a:srgbClr val="000000"/>
                </a:solidFill>
                <a:latin typeface="Arial" panose="020B0604020202020204" pitchFamily="34" charset="0"/>
                <a:cs typeface="Arial" panose="020B0604020202020204" pitchFamily="34" charset="0"/>
              </a:rPr>
              <a:t>?</a:t>
            </a:r>
            <a:endParaRPr lang="de-DE" sz="1100" dirty="0">
              <a:solidFill>
                <a:srgbClr val="000000"/>
              </a:solidFill>
              <a:latin typeface="Arial" panose="020B0604020202020204" pitchFamily="34" charset="0"/>
              <a:cs typeface="Arial" panose="020B0604020202020204" pitchFamily="34" charset="0"/>
            </a:endParaRPr>
          </a:p>
        </p:txBody>
      </p:sp>
      <p:sp>
        <p:nvSpPr>
          <p:cNvPr id="32" name="Rechteck 17"/>
          <p:cNvSpPr/>
          <p:nvPr/>
        </p:nvSpPr>
        <p:spPr>
          <a:xfrm>
            <a:off x="2334708" y="3180191"/>
            <a:ext cx="5310749" cy="169277"/>
          </a:xfrm>
          <a:prstGeom prst="rect">
            <a:avLst/>
          </a:prstGeom>
        </p:spPr>
        <p:txBody>
          <a:bodyPr wrap="none" lIns="0" tIns="0" rIns="0" bIns="0">
            <a:spAutoFit/>
          </a:bodyPr>
          <a:lstStyle>
            <a:defPPr>
              <a:defRPr lang="de-DE"/>
            </a:defPPr>
            <a:lvl1pPr algn="l" rtl="0" eaLnBrk="0" fontAlgn="base" hangingPunct="0">
              <a:spcBef>
                <a:spcPct val="0"/>
              </a:spcBef>
              <a:spcAft>
                <a:spcPct val="20000"/>
              </a:spcAft>
              <a:defRPr sz="1600" kern="1200">
                <a:solidFill>
                  <a:schemeClr val="tx1"/>
                </a:solidFill>
                <a:latin typeface="Arial" charset="0"/>
                <a:ea typeface="+mn-ea"/>
                <a:cs typeface="+mn-cs"/>
              </a:defRPr>
            </a:lvl1pPr>
            <a:lvl2pPr marL="457200" algn="l" rtl="0" eaLnBrk="0" fontAlgn="base" hangingPunct="0">
              <a:spcBef>
                <a:spcPct val="0"/>
              </a:spcBef>
              <a:spcAft>
                <a:spcPct val="20000"/>
              </a:spcAft>
              <a:defRPr sz="1600" kern="1200">
                <a:solidFill>
                  <a:schemeClr val="tx1"/>
                </a:solidFill>
                <a:latin typeface="Arial" charset="0"/>
                <a:ea typeface="+mn-ea"/>
                <a:cs typeface="+mn-cs"/>
              </a:defRPr>
            </a:lvl2pPr>
            <a:lvl3pPr marL="914400" algn="l" rtl="0" eaLnBrk="0" fontAlgn="base" hangingPunct="0">
              <a:spcBef>
                <a:spcPct val="0"/>
              </a:spcBef>
              <a:spcAft>
                <a:spcPct val="20000"/>
              </a:spcAft>
              <a:defRPr sz="1600" kern="1200">
                <a:solidFill>
                  <a:schemeClr val="tx1"/>
                </a:solidFill>
                <a:latin typeface="Arial" charset="0"/>
                <a:ea typeface="+mn-ea"/>
                <a:cs typeface="+mn-cs"/>
              </a:defRPr>
            </a:lvl3pPr>
            <a:lvl4pPr marL="1371600" algn="l" rtl="0" eaLnBrk="0" fontAlgn="base" hangingPunct="0">
              <a:spcBef>
                <a:spcPct val="0"/>
              </a:spcBef>
              <a:spcAft>
                <a:spcPct val="20000"/>
              </a:spcAft>
              <a:defRPr sz="1600" kern="1200">
                <a:solidFill>
                  <a:schemeClr val="tx1"/>
                </a:solidFill>
                <a:latin typeface="Arial" charset="0"/>
                <a:ea typeface="+mn-ea"/>
                <a:cs typeface="+mn-cs"/>
              </a:defRPr>
            </a:lvl4pPr>
            <a:lvl5pPr marL="1828800" algn="l" rtl="0" eaLnBrk="0" fontAlgn="base" hangingPunct="0">
              <a:spcBef>
                <a:spcPct val="0"/>
              </a:spcBef>
              <a:spcAft>
                <a:spcPct val="2000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r>
              <a:rPr lang="de-DE" sz="1100" b="1" dirty="0" smtClean="0">
                <a:solidFill>
                  <a:srgbClr val="345996"/>
                </a:solidFill>
                <a:latin typeface="Arial" panose="020B0604020202020204" pitchFamily="34" charset="0"/>
                <a:cs typeface="Arial" panose="020B0604020202020204" pitchFamily="34" charset="0"/>
              </a:rPr>
              <a:t>Was sagt uns das für die </a:t>
            </a:r>
            <a:r>
              <a:rPr lang="de-DE" sz="1100" b="1" dirty="0">
                <a:solidFill>
                  <a:srgbClr val="345996"/>
                </a:solidFill>
                <a:latin typeface="Arial" panose="020B0604020202020204" pitchFamily="34" charset="0"/>
                <a:cs typeface="Arial" panose="020B0604020202020204" pitchFamily="34" charset="0"/>
              </a:rPr>
              <a:t>Gestaltung von </a:t>
            </a:r>
            <a:r>
              <a:rPr lang="de-DE" sz="1100" b="1" dirty="0" err="1">
                <a:solidFill>
                  <a:srgbClr val="345996"/>
                </a:solidFill>
                <a:latin typeface="Arial" panose="020B0604020202020204" pitchFamily="34" charset="0"/>
                <a:cs typeface="Arial" panose="020B0604020202020204" pitchFamily="34" charset="0"/>
              </a:rPr>
              <a:t>SMARTilience</a:t>
            </a:r>
            <a:r>
              <a:rPr lang="de-DE" sz="1100" b="1" dirty="0">
                <a:solidFill>
                  <a:srgbClr val="345996"/>
                </a:solidFill>
                <a:latin typeface="Arial" panose="020B0604020202020204" pitchFamily="34" charset="0"/>
                <a:cs typeface="Arial" panose="020B0604020202020204" pitchFamily="34" charset="0"/>
              </a:rPr>
              <a:t> </a:t>
            </a:r>
            <a:r>
              <a:rPr lang="de-DE" sz="1100" b="1" dirty="0" smtClean="0">
                <a:solidFill>
                  <a:srgbClr val="345996"/>
                </a:solidFill>
                <a:latin typeface="Arial" panose="020B0604020202020204" pitchFamily="34" charset="0"/>
                <a:cs typeface="Arial" panose="020B0604020202020204" pitchFamily="34" charset="0"/>
              </a:rPr>
              <a:t>und deren Umsetzung?</a:t>
            </a:r>
            <a:endParaRPr lang="de-DE" sz="1100" b="1" dirty="0">
              <a:solidFill>
                <a:srgbClr val="345996"/>
              </a:solidFill>
              <a:latin typeface="Arial" panose="020B0604020202020204" pitchFamily="34" charset="0"/>
              <a:cs typeface="Arial" panose="020B0604020202020204" pitchFamily="34" charset="0"/>
            </a:endParaRPr>
          </a:p>
        </p:txBody>
      </p:sp>
      <p:sp>
        <p:nvSpPr>
          <p:cNvPr id="58" name="Rechteck 18"/>
          <p:cNvSpPr/>
          <p:nvPr/>
        </p:nvSpPr>
        <p:spPr>
          <a:xfrm>
            <a:off x="6966530" y="3779318"/>
            <a:ext cx="2455707" cy="550290"/>
          </a:xfrm>
          <a:prstGeom prst="rect">
            <a:avLst/>
          </a:prstGeom>
        </p:spPr>
        <p:txBody>
          <a:bodyPr wrap="square" lIns="0" tIns="0" rIns="0" bIns="0">
            <a:noAutofit/>
          </a:bodyPr>
          <a:lstStyle>
            <a:defPPr>
              <a:defRPr lang="de-DE"/>
            </a:defPPr>
            <a:lvl1pPr algn="l" rtl="0" eaLnBrk="0" fontAlgn="base" hangingPunct="0">
              <a:spcBef>
                <a:spcPct val="0"/>
              </a:spcBef>
              <a:spcAft>
                <a:spcPct val="20000"/>
              </a:spcAft>
              <a:defRPr sz="1600" kern="1200">
                <a:solidFill>
                  <a:schemeClr val="tx1"/>
                </a:solidFill>
                <a:latin typeface="Arial" charset="0"/>
                <a:ea typeface="+mn-ea"/>
                <a:cs typeface="+mn-cs"/>
              </a:defRPr>
            </a:lvl1pPr>
            <a:lvl2pPr marL="457200" algn="l" rtl="0" eaLnBrk="0" fontAlgn="base" hangingPunct="0">
              <a:spcBef>
                <a:spcPct val="0"/>
              </a:spcBef>
              <a:spcAft>
                <a:spcPct val="20000"/>
              </a:spcAft>
              <a:defRPr sz="1600" kern="1200">
                <a:solidFill>
                  <a:schemeClr val="tx1"/>
                </a:solidFill>
                <a:latin typeface="Arial" charset="0"/>
                <a:ea typeface="+mn-ea"/>
                <a:cs typeface="+mn-cs"/>
              </a:defRPr>
            </a:lvl2pPr>
            <a:lvl3pPr marL="914400" algn="l" rtl="0" eaLnBrk="0" fontAlgn="base" hangingPunct="0">
              <a:spcBef>
                <a:spcPct val="0"/>
              </a:spcBef>
              <a:spcAft>
                <a:spcPct val="20000"/>
              </a:spcAft>
              <a:defRPr sz="1600" kern="1200">
                <a:solidFill>
                  <a:schemeClr val="tx1"/>
                </a:solidFill>
                <a:latin typeface="Arial" charset="0"/>
                <a:ea typeface="+mn-ea"/>
                <a:cs typeface="+mn-cs"/>
              </a:defRPr>
            </a:lvl3pPr>
            <a:lvl4pPr marL="1371600" algn="l" rtl="0" eaLnBrk="0" fontAlgn="base" hangingPunct="0">
              <a:spcBef>
                <a:spcPct val="0"/>
              </a:spcBef>
              <a:spcAft>
                <a:spcPct val="20000"/>
              </a:spcAft>
              <a:defRPr sz="1600" kern="1200">
                <a:solidFill>
                  <a:schemeClr val="tx1"/>
                </a:solidFill>
                <a:latin typeface="Arial" charset="0"/>
                <a:ea typeface="+mn-ea"/>
                <a:cs typeface="+mn-cs"/>
              </a:defRPr>
            </a:lvl4pPr>
            <a:lvl5pPr marL="1828800" algn="l" rtl="0" eaLnBrk="0" fontAlgn="base" hangingPunct="0">
              <a:spcBef>
                <a:spcPct val="0"/>
              </a:spcBef>
              <a:spcAft>
                <a:spcPct val="2000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marL="180975" indent="-180975">
              <a:tabLst>
                <a:tab pos="180975" algn="l"/>
              </a:tabLst>
            </a:pPr>
            <a:r>
              <a:rPr lang="de-DE" sz="1100" dirty="0" smtClean="0">
                <a:solidFill>
                  <a:srgbClr val="000000"/>
                </a:solidFill>
                <a:latin typeface="Arial" panose="020B0604020202020204" pitchFamily="34" charset="0"/>
                <a:cs typeface="Arial" panose="020B0604020202020204" pitchFamily="34" charset="0"/>
              </a:rPr>
              <a:t>3. 	Welche Faktoren sind die besten </a:t>
            </a:r>
            <a:r>
              <a:rPr lang="de-DE" sz="1100" b="1" dirty="0" smtClean="0">
                <a:solidFill>
                  <a:srgbClr val="000000"/>
                </a:solidFill>
                <a:latin typeface="Arial" panose="020B0604020202020204" pitchFamily="34" charset="0"/>
                <a:cs typeface="Arial" panose="020B0604020202020204" pitchFamily="34" charset="0"/>
              </a:rPr>
              <a:t>Steuerungshebel</a:t>
            </a:r>
            <a:r>
              <a:rPr lang="de-DE" sz="1100" dirty="0" smtClean="0">
                <a:solidFill>
                  <a:srgbClr val="000000"/>
                </a:solidFill>
                <a:latin typeface="Arial" panose="020B0604020202020204" pitchFamily="34" charset="0"/>
                <a:cs typeface="Arial" panose="020B0604020202020204" pitchFamily="34" charset="0"/>
              </a:rPr>
              <a:t>, um das vernetzte System in die gewünschte Richtung zu lenken?</a:t>
            </a:r>
            <a:endParaRPr lang="de-DE" sz="1100" dirty="0">
              <a:solidFill>
                <a:srgbClr val="000000"/>
              </a:solidFill>
              <a:latin typeface="Arial" panose="020B0604020202020204" pitchFamily="34" charset="0"/>
              <a:cs typeface="Arial" panose="020B0604020202020204" pitchFamily="34" charset="0"/>
            </a:endParaRPr>
          </a:p>
        </p:txBody>
      </p:sp>
      <p:sp>
        <p:nvSpPr>
          <p:cNvPr id="59" name="Freihandform 27"/>
          <p:cNvSpPr/>
          <p:nvPr/>
        </p:nvSpPr>
        <p:spPr bwMode="auto">
          <a:xfrm>
            <a:off x="3316224" y="4278525"/>
            <a:ext cx="726303" cy="163899"/>
          </a:xfrm>
          <a:custGeom>
            <a:avLst/>
            <a:gdLst>
              <a:gd name="connsiteX0" fmla="*/ 952500 w 952500"/>
              <a:gd name="connsiteY0" fmla="*/ 0 h 400050"/>
              <a:gd name="connsiteX1" fmla="*/ 0 w 952500"/>
              <a:gd name="connsiteY1" fmla="*/ 400050 h 400050"/>
              <a:gd name="connsiteX0" fmla="*/ 881063 w 881063"/>
              <a:gd name="connsiteY0" fmla="*/ 0 h 366713"/>
              <a:gd name="connsiteX1" fmla="*/ 0 w 881063"/>
              <a:gd name="connsiteY1" fmla="*/ 366713 h 366713"/>
              <a:gd name="connsiteX0" fmla="*/ 881063 w 881063"/>
              <a:gd name="connsiteY0" fmla="*/ 0 h 366713"/>
              <a:gd name="connsiteX1" fmla="*/ 0 w 881063"/>
              <a:gd name="connsiteY1" fmla="*/ 366713 h 366713"/>
              <a:gd name="connsiteX0" fmla="*/ 881063 w 881063"/>
              <a:gd name="connsiteY0" fmla="*/ 0 h 366713"/>
              <a:gd name="connsiteX1" fmla="*/ 0 w 881063"/>
              <a:gd name="connsiteY1" fmla="*/ 366713 h 366713"/>
              <a:gd name="connsiteX0" fmla="*/ 871538 w 871538"/>
              <a:gd name="connsiteY0" fmla="*/ 0 h 357188"/>
              <a:gd name="connsiteX1" fmla="*/ 0 w 871538"/>
              <a:gd name="connsiteY1" fmla="*/ 357188 h 357188"/>
              <a:gd name="connsiteX0" fmla="*/ 893898 w 893898"/>
              <a:gd name="connsiteY0" fmla="*/ 0 h 357188"/>
              <a:gd name="connsiteX1" fmla="*/ 22360 w 893898"/>
              <a:gd name="connsiteY1" fmla="*/ 357188 h 357188"/>
              <a:gd name="connsiteX0" fmla="*/ 871538 w 871538"/>
              <a:gd name="connsiteY0" fmla="*/ 0 h 357188"/>
              <a:gd name="connsiteX1" fmla="*/ 0 w 871538"/>
              <a:gd name="connsiteY1" fmla="*/ 357188 h 357188"/>
              <a:gd name="connsiteX0" fmla="*/ 871538 w 871538"/>
              <a:gd name="connsiteY0" fmla="*/ 0 h 357188"/>
              <a:gd name="connsiteX1" fmla="*/ 0 w 871538"/>
              <a:gd name="connsiteY1" fmla="*/ 357188 h 357188"/>
              <a:gd name="connsiteX0" fmla="*/ 523876 w 523876"/>
              <a:gd name="connsiteY0" fmla="*/ 585786 h 589576"/>
              <a:gd name="connsiteX1" fmla="*/ 0 w 523876"/>
              <a:gd name="connsiteY1" fmla="*/ 23811 h 589576"/>
              <a:gd name="connsiteX0" fmla="*/ 43095 w 1032559"/>
              <a:gd name="connsiteY0" fmla="*/ 0 h 161925"/>
              <a:gd name="connsiteX1" fmla="*/ 1019406 w 1032559"/>
              <a:gd name="connsiteY1" fmla="*/ 161925 h 161925"/>
              <a:gd name="connsiteX0" fmla="*/ 55522 w 1031833"/>
              <a:gd name="connsiteY0" fmla="*/ 0 h 161925"/>
              <a:gd name="connsiteX1" fmla="*/ 1031833 w 1031833"/>
              <a:gd name="connsiteY1" fmla="*/ 161925 h 161925"/>
              <a:gd name="connsiteX0" fmla="*/ 0 w 976311"/>
              <a:gd name="connsiteY0" fmla="*/ 0 h 161925"/>
              <a:gd name="connsiteX1" fmla="*/ 976311 w 976311"/>
              <a:gd name="connsiteY1" fmla="*/ 161925 h 161925"/>
              <a:gd name="connsiteX0" fmla="*/ 0 w 966786"/>
              <a:gd name="connsiteY0" fmla="*/ 0 h 161925"/>
              <a:gd name="connsiteX1" fmla="*/ 966786 w 966786"/>
              <a:gd name="connsiteY1" fmla="*/ 161925 h 161925"/>
              <a:gd name="connsiteX0" fmla="*/ 0 w 966786"/>
              <a:gd name="connsiteY0" fmla="*/ 0 h 161925"/>
              <a:gd name="connsiteX1" fmla="*/ 966786 w 966786"/>
              <a:gd name="connsiteY1" fmla="*/ 161925 h 161925"/>
              <a:gd name="connsiteX0" fmla="*/ 0 w 966786"/>
              <a:gd name="connsiteY0" fmla="*/ 0 h 161925"/>
              <a:gd name="connsiteX1" fmla="*/ 966786 w 966786"/>
              <a:gd name="connsiteY1" fmla="*/ 161925 h 161925"/>
              <a:gd name="connsiteX0" fmla="*/ 0 w 1216817"/>
              <a:gd name="connsiteY0" fmla="*/ 0 h 233362"/>
              <a:gd name="connsiteX1" fmla="*/ 1216817 w 1216817"/>
              <a:gd name="connsiteY1" fmla="*/ 233362 h 233362"/>
              <a:gd name="connsiteX0" fmla="*/ 0 w 1216817"/>
              <a:gd name="connsiteY0" fmla="*/ 0 h 233362"/>
              <a:gd name="connsiteX1" fmla="*/ 1216817 w 1216817"/>
              <a:gd name="connsiteY1" fmla="*/ 233362 h 233362"/>
              <a:gd name="connsiteX0" fmla="*/ 0 w 1216817"/>
              <a:gd name="connsiteY0" fmla="*/ 0 h 233362"/>
              <a:gd name="connsiteX1" fmla="*/ 1216817 w 1216817"/>
              <a:gd name="connsiteY1" fmla="*/ 233362 h 233362"/>
              <a:gd name="connsiteX0" fmla="*/ 0 w 1216817"/>
              <a:gd name="connsiteY0" fmla="*/ 0 h 233362"/>
              <a:gd name="connsiteX1" fmla="*/ 1216817 w 1216817"/>
              <a:gd name="connsiteY1" fmla="*/ 233362 h 233362"/>
            </a:gdLst>
            <a:ahLst/>
            <a:cxnLst>
              <a:cxn ang="0">
                <a:pos x="connsiteX0" y="connsiteY0"/>
              </a:cxn>
              <a:cxn ang="0">
                <a:pos x="connsiteX1" y="connsiteY1"/>
              </a:cxn>
            </a:cxnLst>
            <a:rect l="l" t="t" r="r" b="b"/>
            <a:pathLst>
              <a:path w="1216817" h="233362">
                <a:moveTo>
                  <a:pt x="0" y="0"/>
                </a:moveTo>
                <a:cubicBezTo>
                  <a:pt x="311148" y="141287"/>
                  <a:pt x="967579" y="211136"/>
                  <a:pt x="1216817" y="233362"/>
                </a:cubicBezTo>
              </a:path>
            </a:pathLst>
          </a:custGeom>
          <a:noFill/>
          <a:ln w="9525" cap="rnd" cmpd="sng" algn="ctr">
            <a:solidFill>
              <a:schemeClr val="accent4"/>
            </a:solidFill>
            <a:prstDash val="solid"/>
            <a:round/>
            <a:headEnd type="none" w="sm" len="sm"/>
            <a:tailEnd type="triangle" w="sm" len="sm"/>
          </a:ln>
          <a:effectLst/>
        </p:spPr>
        <p:txBody>
          <a:bodyPr rtlCol="0" anchor="ctr"/>
          <a:lstStyle>
            <a:defPPr>
              <a:defRPr lang="de-DE"/>
            </a:defPPr>
            <a:lvl1pPr algn="l" rtl="0" eaLnBrk="0" fontAlgn="base" hangingPunct="0">
              <a:spcBef>
                <a:spcPct val="0"/>
              </a:spcBef>
              <a:spcAft>
                <a:spcPct val="20000"/>
              </a:spcAft>
              <a:defRPr sz="1600" kern="1200">
                <a:solidFill>
                  <a:schemeClr val="tx1"/>
                </a:solidFill>
                <a:latin typeface="Arial" charset="0"/>
                <a:ea typeface="+mn-ea"/>
                <a:cs typeface="+mn-cs"/>
              </a:defRPr>
            </a:lvl1pPr>
            <a:lvl2pPr marL="457200" algn="l" rtl="0" eaLnBrk="0" fontAlgn="base" hangingPunct="0">
              <a:spcBef>
                <a:spcPct val="0"/>
              </a:spcBef>
              <a:spcAft>
                <a:spcPct val="20000"/>
              </a:spcAft>
              <a:defRPr sz="1600" kern="1200">
                <a:solidFill>
                  <a:schemeClr val="tx1"/>
                </a:solidFill>
                <a:latin typeface="Arial" charset="0"/>
                <a:ea typeface="+mn-ea"/>
                <a:cs typeface="+mn-cs"/>
              </a:defRPr>
            </a:lvl2pPr>
            <a:lvl3pPr marL="914400" algn="l" rtl="0" eaLnBrk="0" fontAlgn="base" hangingPunct="0">
              <a:spcBef>
                <a:spcPct val="0"/>
              </a:spcBef>
              <a:spcAft>
                <a:spcPct val="20000"/>
              </a:spcAft>
              <a:defRPr sz="1600" kern="1200">
                <a:solidFill>
                  <a:schemeClr val="tx1"/>
                </a:solidFill>
                <a:latin typeface="Arial" charset="0"/>
                <a:ea typeface="+mn-ea"/>
                <a:cs typeface="+mn-cs"/>
              </a:defRPr>
            </a:lvl3pPr>
            <a:lvl4pPr marL="1371600" algn="l" rtl="0" eaLnBrk="0" fontAlgn="base" hangingPunct="0">
              <a:spcBef>
                <a:spcPct val="0"/>
              </a:spcBef>
              <a:spcAft>
                <a:spcPct val="20000"/>
              </a:spcAft>
              <a:defRPr sz="1600" kern="1200">
                <a:solidFill>
                  <a:schemeClr val="tx1"/>
                </a:solidFill>
                <a:latin typeface="Arial" charset="0"/>
                <a:ea typeface="+mn-ea"/>
                <a:cs typeface="+mn-cs"/>
              </a:defRPr>
            </a:lvl4pPr>
            <a:lvl5pPr marL="1828800" algn="l" rtl="0" eaLnBrk="0" fontAlgn="base" hangingPunct="0">
              <a:spcBef>
                <a:spcPct val="0"/>
              </a:spcBef>
              <a:spcAft>
                <a:spcPct val="2000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ctr"/>
            <a:endParaRPr lang="de-DE" sz="1100" dirty="0">
              <a:solidFill>
                <a:srgbClr val="000000"/>
              </a:solidFill>
              <a:latin typeface="Arial" panose="020B0604020202020204" pitchFamily="34" charset="0"/>
              <a:cs typeface="Arial" panose="020B0604020202020204" pitchFamily="34" charset="0"/>
            </a:endParaRPr>
          </a:p>
        </p:txBody>
      </p:sp>
      <p:sp>
        <p:nvSpPr>
          <p:cNvPr id="60" name="Freihandform 28"/>
          <p:cNvSpPr/>
          <p:nvPr/>
        </p:nvSpPr>
        <p:spPr bwMode="auto">
          <a:xfrm>
            <a:off x="6008035" y="4194471"/>
            <a:ext cx="887343" cy="217417"/>
          </a:xfrm>
          <a:custGeom>
            <a:avLst/>
            <a:gdLst>
              <a:gd name="connsiteX0" fmla="*/ 952500 w 952500"/>
              <a:gd name="connsiteY0" fmla="*/ 0 h 400050"/>
              <a:gd name="connsiteX1" fmla="*/ 0 w 952500"/>
              <a:gd name="connsiteY1" fmla="*/ 400050 h 400050"/>
              <a:gd name="connsiteX0" fmla="*/ 881063 w 881063"/>
              <a:gd name="connsiteY0" fmla="*/ 0 h 366713"/>
              <a:gd name="connsiteX1" fmla="*/ 0 w 881063"/>
              <a:gd name="connsiteY1" fmla="*/ 366713 h 366713"/>
              <a:gd name="connsiteX0" fmla="*/ 881063 w 881063"/>
              <a:gd name="connsiteY0" fmla="*/ 0 h 366713"/>
              <a:gd name="connsiteX1" fmla="*/ 0 w 881063"/>
              <a:gd name="connsiteY1" fmla="*/ 366713 h 366713"/>
              <a:gd name="connsiteX0" fmla="*/ 881063 w 881063"/>
              <a:gd name="connsiteY0" fmla="*/ 0 h 366713"/>
              <a:gd name="connsiteX1" fmla="*/ 0 w 881063"/>
              <a:gd name="connsiteY1" fmla="*/ 366713 h 366713"/>
              <a:gd name="connsiteX0" fmla="*/ 871538 w 871538"/>
              <a:gd name="connsiteY0" fmla="*/ 0 h 357188"/>
              <a:gd name="connsiteX1" fmla="*/ 0 w 871538"/>
              <a:gd name="connsiteY1" fmla="*/ 357188 h 357188"/>
              <a:gd name="connsiteX0" fmla="*/ 893898 w 893898"/>
              <a:gd name="connsiteY0" fmla="*/ 0 h 357188"/>
              <a:gd name="connsiteX1" fmla="*/ 22360 w 893898"/>
              <a:gd name="connsiteY1" fmla="*/ 357188 h 357188"/>
              <a:gd name="connsiteX0" fmla="*/ 871538 w 871538"/>
              <a:gd name="connsiteY0" fmla="*/ 0 h 357188"/>
              <a:gd name="connsiteX1" fmla="*/ 0 w 871538"/>
              <a:gd name="connsiteY1" fmla="*/ 357188 h 357188"/>
              <a:gd name="connsiteX0" fmla="*/ 871538 w 871538"/>
              <a:gd name="connsiteY0" fmla="*/ 0 h 357188"/>
              <a:gd name="connsiteX1" fmla="*/ 0 w 871538"/>
              <a:gd name="connsiteY1" fmla="*/ 357188 h 357188"/>
              <a:gd name="connsiteX0" fmla="*/ 3762376 w 3762376"/>
              <a:gd name="connsiteY0" fmla="*/ 562614 h 566515"/>
              <a:gd name="connsiteX1" fmla="*/ 0 w 3762376"/>
              <a:gd name="connsiteY1" fmla="*/ 24452 h 566515"/>
              <a:gd name="connsiteX0" fmla="*/ 40407 w 1138541"/>
              <a:gd name="connsiteY0" fmla="*/ 297527 h 303445"/>
              <a:gd name="connsiteX1" fmla="*/ 1126256 w 1138541"/>
              <a:gd name="connsiteY1" fmla="*/ 35590 h 303445"/>
              <a:gd name="connsiteX0" fmla="*/ 50857 w 1136706"/>
              <a:gd name="connsiteY0" fmla="*/ 261937 h 276870"/>
              <a:gd name="connsiteX1" fmla="*/ 1136706 w 1136706"/>
              <a:gd name="connsiteY1" fmla="*/ 0 h 276870"/>
              <a:gd name="connsiteX0" fmla="*/ 51377 w 1122939"/>
              <a:gd name="connsiteY0" fmla="*/ 290512 h 303752"/>
              <a:gd name="connsiteX1" fmla="*/ 1122939 w 1122939"/>
              <a:gd name="connsiteY1" fmla="*/ 0 h 303752"/>
              <a:gd name="connsiteX0" fmla="*/ 0 w 1071562"/>
              <a:gd name="connsiteY0" fmla="*/ 290512 h 290512"/>
              <a:gd name="connsiteX1" fmla="*/ 1071562 w 1071562"/>
              <a:gd name="connsiteY1" fmla="*/ 0 h 290512"/>
              <a:gd name="connsiteX0" fmla="*/ 0 w 1343024"/>
              <a:gd name="connsiteY0" fmla="*/ 323850 h 323850"/>
              <a:gd name="connsiteX1" fmla="*/ 1343024 w 1343024"/>
              <a:gd name="connsiteY1" fmla="*/ 0 h 323850"/>
              <a:gd name="connsiteX0" fmla="*/ 0 w 1343024"/>
              <a:gd name="connsiteY0" fmla="*/ 323850 h 323850"/>
              <a:gd name="connsiteX1" fmla="*/ 1343024 w 1343024"/>
              <a:gd name="connsiteY1" fmla="*/ 0 h 323850"/>
              <a:gd name="connsiteX0" fmla="*/ 0 w 1376361"/>
              <a:gd name="connsiteY0" fmla="*/ 333375 h 333375"/>
              <a:gd name="connsiteX1" fmla="*/ 1376361 w 1376361"/>
              <a:gd name="connsiteY1" fmla="*/ 0 h 333375"/>
              <a:gd name="connsiteX0" fmla="*/ 0 w 1376361"/>
              <a:gd name="connsiteY0" fmla="*/ 333375 h 333375"/>
              <a:gd name="connsiteX1" fmla="*/ 1376361 w 1376361"/>
              <a:gd name="connsiteY1" fmla="*/ 0 h 333375"/>
              <a:gd name="connsiteX0" fmla="*/ 0 w 1390648"/>
              <a:gd name="connsiteY0" fmla="*/ 323850 h 323850"/>
              <a:gd name="connsiteX1" fmla="*/ 1390648 w 1390648"/>
              <a:gd name="connsiteY1" fmla="*/ 0 h 323850"/>
              <a:gd name="connsiteX0" fmla="*/ 0 w 1390648"/>
              <a:gd name="connsiteY0" fmla="*/ 309562 h 309562"/>
              <a:gd name="connsiteX1" fmla="*/ 1390648 w 1390648"/>
              <a:gd name="connsiteY1" fmla="*/ 0 h 309562"/>
              <a:gd name="connsiteX0" fmla="*/ 0 w 1390648"/>
              <a:gd name="connsiteY0" fmla="*/ 309562 h 309562"/>
              <a:gd name="connsiteX1" fmla="*/ 1390648 w 1390648"/>
              <a:gd name="connsiteY1" fmla="*/ 0 h 309562"/>
            </a:gdLst>
            <a:ahLst/>
            <a:cxnLst>
              <a:cxn ang="0">
                <a:pos x="connsiteX0" y="connsiteY0"/>
              </a:cxn>
              <a:cxn ang="0">
                <a:pos x="connsiteX1" y="connsiteY1"/>
              </a:cxn>
            </a:cxnLst>
            <a:rect l="l" t="t" r="r" b="b"/>
            <a:pathLst>
              <a:path w="1390648" h="309562">
                <a:moveTo>
                  <a:pt x="0" y="309562"/>
                </a:moveTo>
                <a:cubicBezTo>
                  <a:pt x="434974" y="274638"/>
                  <a:pt x="1079498" y="153987"/>
                  <a:pt x="1390648" y="0"/>
                </a:cubicBezTo>
              </a:path>
            </a:pathLst>
          </a:custGeom>
          <a:noFill/>
          <a:ln w="9525" cap="rnd" cmpd="sng" algn="ctr">
            <a:solidFill>
              <a:schemeClr val="accent4"/>
            </a:solidFill>
            <a:prstDash val="solid"/>
            <a:round/>
            <a:headEnd type="none" w="sm" len="sm"/>
            <a:tailEnd type="triangle" w="sm" len="sm"/>
          </a:ln>
          <a:effectLst/>
        </p:spPr>
        <p:txBody>
          <a:bodyPr rtlCol="0" anchor="ctr"/>
          <a:lstStyle>
            <a:defPPr>
              <a:defRPr lang="de-DE"/>
            </a:defPPr>
            <a:lvl1pPr algn="l" rtl="0" eaLnBrk="0" fontAlgn="base" hangingPunct="0">
              <a:spcBef>
                <a:spcPct val="0"/>
              </a:spcBef>
              <a:spcAft>
                <a:spcPct val="20000"/>
              </a:spcAft>
              <a:defRPr sz="1600" kern="1200">
                <a:solidFill>
                  <a:schemeClr val="tx1"/>
                </a:solidFill>
                <a:latin typeface="Arial" charset="0"/>
                <a:ea typeface="+mn-ea"/>
                <a:cs typeface="+mn-cs"/>
              </a:defRPr>
            </a:lvl1pPr>
            <a:lvl2pPr marL="457200" algn="l" rtl="0" eaLnBrk="0" fontAlgn="base" hangingPunct="0">
              <a:spcBef>
                <a:spcPct val="0"/>
              </a:spcBef>
              <a:spcAft>
                <a:spcPct val="20000"/>
              </a:spcAft>
              <a:defRPr sz="1600" kern="1200">
                <a:solidFill>
                  <a:schemeClr val="tx1"/>
                </a:solidFill>
                <a:latin typeface="Arial" charset="0"/>
                <a:ea typeface="+mn-ea"/>
                <a:cs typeface="+mn-cs"/>
              </a:defRPr>
            </a:lvl2pPr>
            <a:lvl3pPr marL="914400" algn="l" rtl="0" eaLnBrk="0" fontAlgn="base" hangingPunct="0">
              <a:spcBef>
                <a:spcPct val="0"/>
              </a:spcBef>
              <a:spcAft>
                <a:spcPct val="20000"/>
              </a:spcAft>
              <a:defRPr sz="1600" kern="1200">
                <a:solidFill>
                  <a:schemeClr val="tx1"/>
                </a:solidFill>
                <a:latin typeface="Arial" charset="0"/>
                <a:ea typeface="+mn-ea"/>
                <a:cs typeface="+mn-cs"/>
              </a:defRPr>
            </a:lvl3pPr>
            <a:lvl4pPr marL="1371600" algn="l" rtl="0" eaLnBrk="0" fontAlgn="base" hangingPunct="0">
              <a:spcBef>
                <a:spcPct val="0"/>
              </a:spcBef>
              <a:spcAft>
                <a:spcPct val="20000"/>
              </a:spcAft>
              <a:defRPr sz="1600" kern="1200">
                <a:solidFill>
                  <a:schemeClr val="tx1"/>
                </a:solidFill>
                <a:latin typeface="Arial" charset="0"/>
                <a:ea typeface="+mn-ea"/>
                <a:cs typeface="+mn-cs"/>
              </a:defRPr>
            </a:lvl4pPr>
            <a:lvl5pPr marL="1828800" algn="l" rtl="0" eaLnBrk="0" fontAlgn="base" hangingPunct="0">
              <a:spcBef>
                <a:spcPct val="0"/>
              </a:spcBef>
              <a:spcAft>
                <a:spcPct val="2000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ctr"/>
            <a:endParaRPr lang="de-DE" sz="1100" dirty="0">
              <a:solidFill>
                <a:srgbClr val="000000"/>
              </a:solidFill>
              <a:latin typeface="Arial" panose="020B0604020202020204" pitchFamily="34" charset="0"/>
              <a:cs typeface="Arial" panose="020B0604020202020204" pitchFamily="34" charset="0"/>
            </a:endParaRPr>
          </a:p>
        </p:txBody>
      </p:sp>
      <p:sp>
        <p:nvSpPr>
          <p:cNvPr id="61" name="Freihandform 33"/>
          <p:cNvSpPr/>
          <p:nvPr/>
        </p:nvSpPr>
        <p:spPr bwMode="auto">
          <a:xfrm>
            <a:off x="6046560" y="4254287"/>
            <a:ext cx="882786" cy="217417"/>
          </a:xfrm>
          <a:custGeom>
            <a:avLst/>
            <a:gdLst>
              <a:gd name="connsiteX0" fmla="*/ 952500 w 952500"/>
              <a:gd name="connsiteY0" fmla="*/ 0 h 400050"/>
              <a:gd name="connsiteX1" fmla="*/ 0 w 952500"/>
              <a:gd name="connsiteY1" fmla="*/ 400050 h 400050"/>
              <a:gd name="connsiteX0" fmla="*/ 881063 w 881063"/>
              <a:gd name="connsiteY0" fmla="*/ 0 h 366713"/>
              <a:gd name="connsiteX1" fmla="*/ 0 w 881063"/>
              <a:gd name="connsiteY1" fmla="*/ 366713 h 366713"/>
              <a:gd name="connsiteX0" fmla="*/ 881063 w 881063"/>
              <a:gd name="connsiteY0" fmla="*/ 0 h 366713"/>
              <a:gd name="connsiteX1" fmla="*/ 0 w 881063"/>
              <a:gd name="connsiteY1" fmla="*/ 366713 h 366713"/>
              <a:gd name="connsiteX0" fmla="*/ 881063 w 881063"/>
              <a:gd name="connsiteY0" fmla="*/ 0 h 366713"/>
              <a:gd name="connsiteX1" fmla="*/ 0 w 881063"/>
              <a:gd name="connsiteY1" fmla="*/ 366713 h 366713"/>
              <a:gd name="connsiteX0" fmla="*/ 871538 w 871538"/>
              <a:gd name="connsiteY0" fmla="*/ 0 h 357188"/>
              <a:gd name="connsiteX1" fmla="*/ 0 w 871538"/>
              <a:gd name="connsiteY1" fmla="*/ 357188 h 357188"/>
              <a:gd name="connsiteX0" fmla="*/ 893898 w 893898"/>
              <a:gd name="connsiteY0" fmla="*/ 0 h 357188"/>
              <a:gd name="connsiteX1" fmla="*/ 22360 w 893898"/>
              <a:gd name="connsiteY1" fmla="*/ 357188 h 357188"/>
              <a:gd name="connsiteX0" fmla="*/ 871538 w 871538"/>
              <a:gd name="connsiteY0" fmla="*/ 0 h 357188"/>
              <a:gd name="connsiteX1" fmla="*/ 0 w 871538"/>
              <a:gd name="connsiteY1" fmla="*/ 357188 h 357188"/>
              <a:gd name="connsiteX0" fmla="*/ 871538 w 871538"/>
              <a:gd name="connsiteY0" fmla="*/ 0 h 357188"/>
              <a:gd name="connsiteX1" fmla="*/ 0 w 871538"/>
              <a:gd name="connsiteY1" fmla="*/ 357188 h 357188"/>
              <a:gd name="connsiteX0" fmla="*/ 3762376 w 3762376"/>
              <a:gd name="connsiteY0" fmla="*/ 562614 h 566515"/>
              <a:gd name="connsiteX1" fmla="*/ 0 w 3762376"/>
              <a:gd name="connsiteY1" fmla="*/ 24452 h 566515"/>
              <a:gd name="connsiteX0" fmla="*/ 40407 w 1138541"/>
              <a:gd name="connsiteY0" fmla="*/ 297527 h 303445"/>
              <a:gd name="connsiteX1" fmla="*/ 1126256 w 1138541"/>
              <a:gd name="connsiteY1" fmla="*/ 35590 h 303445"/>
              <a:gd name="connsiteX0" fmla="*/ 50857 w 1136706"/>
              <a:gd name="connsiteY0" fmla="*/ 261937 h 276870"/>
              <a:gd name="connsiteX1" fmla="*/ 1136706 w 1136706"/>
              <a:gd name="connsiteY1" fmla="*/ 0 h 276870"/>
              <a:gd name="connsiteX0" fmla="*/ 51377 w 1122939"/>
              <a:gd name="connsiteY0" fmla="*/ 290512 h 303752"/>
              <a:gd name="connsiteX1" fmla="*/ 1122939 w 1122939"/>
              <a:gd name="connsiteY1" fmla="*/ 0 h 303752"/>
              <a:gd name="connsiteX0" fmla="*/ 0 w 1071562"/>
              <a:gd name="connsiteY0" fmla="*/ 290512 h 290512"/>
              <a:gd name="connsiteX1" fmla="*/ 1071562 w 1071562"/>
              <a:gd name="connsiteY1" fmla="*/ 0 h 290512"/>
              <a:gd name="connsiteX0" fmla="*/ 0 w 1343024"/>
              <a:gd name="connsiteY0" fmla="*/ 323850 h 323850"/>
              <a:gd name="connsiteX1" fmla="*/ 1343024 w 1343024"/>
              <a:gd name="connsiteY1" fmla="*/ 0 h 323850"/>
              <a:gd name="connsiteX0" fmla="*/ 0 w 1343024"/>
              <a:gd name="connsiteY0" fmla="*/ 323850 h 323850"/>
              <a:gd name="connsiteX1" fmla="*/ 1343024 w 1343024"/>
              <a:gd name="connsiteY1" fmla="*/ 0 h 323850"/>
              <a:gd name="connsiteX0" fmla="*/ 0 w 1376361"/>
              <a:gd name="connsiteY0" fmla="*/ 333375 h 333375"/>
              <a:gd name="connsiteX1" fmla="*/ 1376361 w 1376361"/>
              <a:gd name="connsiteY1" fmla="*/ 0 h 333375"/>
              <a:gd name="connsiteX0" fmla="*/ 0 w 1376361"/>
              <a:gd name="connsiteY0" fmla="*/ 333375 h 333375"/>
              <a:gd name="connsiteX1" fmla="*/ 1376361 w 1376361"/>
              <a:gd name="connsiteY1" fmla="*/ 0 h 333375"/>
              <a:gd name="connsiteX0" fmla="*/ 0 w 1390648"/>
              <a:gd name="connsiteY0" fmla="*/ 323850 h 323850"/>
              <a:gd name="connsiteX1" fmla="*/ 1390648 w 1390648"/>
              <a:gd name="connsiteY1" fmla="*/ 0 h 323850"/>
              <a:gd name="connsiteX0" fmla="*/ 0 w 1390648"/>
              <a:gd name="connsiteY0" fmla="*/ 309562 h 309562"/>
              <a:gd name="connsiteX1" fmla="*/ 1390648 w 1390648"/>
              <a:gd name="connsiteY1" fmla="*/ 0 h 309562"/>
              <a:gd name="connsiteX0" fmla="*/ 0 w 1390648"/>
              <a:gd name="connsiteY0" fmla="*/ 309562 h 309562"/>
              <a:gd name="connsiteX1" fmla="*/ 1390648 w 1390648"/>
              <a:gd name="connsiteY1" fmla="*/ 0 h 309562"/>
            </a:gdLst>
            <a:ahLst/>
            <a:cxnLst>
              <a:cxn ang="0">
                <a:pos x="connsiteX0" y="connsiteY0"/>
              </a:cxn>
              <a:cxn ang="0">
                <a:pos x="connsiteX1" y="connsiteY1"/>
              </a:cxn>
            </a:cxnLst>
            <a:rect l="l" t="t" r="r" b="b"/>
            <a:pathLst>
              <a:path w="1390648" h="309562">
                <a:moveTo>
                  <a:pt x="0" y="309562"/>
                </a:moveTo>
                <a:cubicBezTo>
                  <a:pt x="434974" y="274638"/>
                  <a:pt x="1079498" y="153987"/>
                  <a:pt x="1390648" y="0"/>
                </a:cubicBezTo>
              </a:path>
            </a:pathLst>
          </a:custGeom>
          <a:noFill/>
          <a:ln w="9525" cap="rnd" cmpd="sng" algn="ctr">
            <a:solidFill>
              <a:schemeClr val="accent4"/>
            </a:solidFill>
            <a:prstDash val="solid"/>
            <a:round/>
            <a:headEnd type="triangle" w="sm" len="sm"/>
            <a:tailEnd type="none" w="sm" len="sm"/>
          </a:ln>
          <a:effectLst/>
        </p:spPr>
        <p:txBody>
          <a:bodyPr rtlCol="0" anchor="ctr"/>
          <a:lstStyle>
            <a:defPPr>
              <a:defRPr lang="de-DE"/>
            </a:defPPr>
            <a:lvl1pPr algn="l" rtl="0" eaLnBrk="0" fontAlgn="base" hangingPunct="0">
              <a:spcBef>
                <a:spcPct val="0"/>
              </a:spcBef>
              <a:spcAft>
                <a:spcPct val="20000"/>
              </a:spcAft>
              <a:defRPr sz="1600" kern="1200">
                <a:solidFill>
                  <a:schemeClr val="tx1"/>
                </a:solidFill>
                <a:latin typeface="Arial" charset="0"/>
                <a:ea typeface="+mn-ea"/>
                <a:cs typeface="+mn-cs"/>
              </a:defRPr>
            </a:lvl1pPr>
            <a:lvl2pPr marL="457200" algn="l" rtl="0" eaLnBrk="0" fontAlgn="base" hangingPunct="0">
              <a:spcBef>
                <a:spcPct val="0"/>
              </a:spcBef>
              <a:spcAft>
                <a:spcPct val="20000"/>
              </a:spcAft>
              <a:defRPr sz="1600" kern="1200">
                <a:solidFill>
                  <a:schemeClr val="tx1"/>
                </a:solidFill>
                <a:latin typeface="Arial" charset="0"/>
                <a:ea typeface="+mn-ea"/>
                <a:cs typeface="+mn-cs"/>
              </a:defRPr>
            </a:lvl2pPr>
            <a:lvl3pPr marL="914400" algn="l" rtl="0" eaLnBrk="0" fontAlgn="base" hangingPunct="0">
              <a:spcBef>
                <a:spcPct val="0"/>
              </a:spcBef>
              <a:spcAft>
                <a:spcPct val="20000"/>
              </a:spcAft>
              <a:defRPr sz="1600" kern="1200">
                <a:solidFill>
                  <a:schemeClr val="tx1"/>
                </a:solidFill>
                <a:latin typeface="Arial" charset="0"/>
                <a:ea typeface="+mn-ea"/>
                <a:cs typeface="+mn-cs"/>
              </a:defRPr>
            </a:lvl3pPr>
            <a:lvl4pPr marL="1371600" algn="l" rtl="0" eaLnBrk="0" fontAlgn="base" hangingPunct="0">
              <a:spcBef>
                <a:spcPct val="0"/>
              </a:spcBef>
              <a:spcAft>
                <a:spcPct val="20000"/>
              </a:spcAft>
              <a:defRPr sz="1600" kern="1200">
                <a:solidFill>
                  <a:schemeClr val="tx1"/>
                </a:solidFill>
                <a:latin typeface="Arial" charset="0"/>
                <a:ea typeface="+mn-ea"/>
                <a:cs typeface="+mn-cs"/>
              </a:defRPr>
            </a:lvl4pPr>
            <a:lvl5pPr marL="1828800" algn="l" rtl="0" eaLnBrk="0" fontAlgn="base" hangingPunct="0">
              <a:spcBef>
                <a:spcPct val="0"/>
              </a:spcBef>
              <a:spcAft>
                <a:spcPct val="2000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ctr"/>
            <a:endParaRPr lang="de-DE" sz="1100" dirty="0">
              <a:solidFill>
                <a:srgbClr val="000000"/>
              </a:solidFill>
              <a:latin typeface="Arial" panose="020B0604020202020204" pitchFamily="34" charset="0"/>
              <a:cs typeface="Arial" panose="020B0604020202020204" pitchFamily="34" charset="0"/>
            </a:endParaRPr>
          </a:p>
        </p:txBody>
      </p:sp>
      <p:sp>
        <p:nvSpPr>
          <p:cNvPr id="62" name="Freihandform 30"/>
          <p:cNvSpPr/>
          <p:nvPr/>
        </p:nvSpPr>
        <p:spPr bwMode="auto">
          <a:xfrm>
            <a:off x="5017443" y="3556467"/>
            <a:ext cx="367662" cy="689044"/>
          </a:xfrm>
          <a:custGeom>
            <a:avLst/>
            <a:gdLst>
              <a:gd name="connsiteX0" fmla="*/ 952500 w 952500"/>
              <a:gd name="connsiteY0" fmla="*/ 0 h 400050"/>
              <a:gd name="connsiteX1" fmla="*/ 0 w 952500"/>
              <a:gd name="connsiteY1" fmla="*/ 400050 h 400050"/>
              <a:gd name="connsiteX0" fmla="*/ 881063 w 881063"/>
              <a:gd name="connsiteY0" fmla="*/ 0 h 366713"/>
              <a:gd name="connsiteX1" fmla="*/ 0 w 881063"/>
              <a:gd name="connsiteY1" fmla="*/ 366713 h 366713"/>
              <a:gd name="connsiteX0" fmla="*/ 881063 w 881063"/>
              <a:gd name="connsiteY0" fmla="*/ 0 h 366713"/>
              <a:gd name="connsiteX1" fmla="*/ 0 w 881063"/>
              <a:gd name="connsiteY1" fmla="*/ 366713 h 366713"/>
              <a:gd name="connsiteX0" fmla="*/ 881063 w 881063"/>
              <a:gd name="connsiteY0" fmla="*/ 0 h 366713"/>
              <a:gd name="connsiteX1" fmla="*/ 0 w 881063"/>
              <a:gd name="connsiteY1" fmla="*/ 366713 h 366713"/>
              <a:gd name="connsiteX0" fmla="*/ 871538 w 871538"/>
              <a:gd name="connsiteY0" fmla="*/ 0 h 357188"/>
              <a:gd name="connsiteX1" fmla="*/ 0 w 871538"/>
              <a:gd name="connsiteY1" fmla="*/ 357188 h 357188"/>
              <a:gd name="connsiteX0" fmla="*/ 893898 w 893898"/>
              <a:gd name="connsiteY0" fmla="*/ 0 h 357188"/>
              <a:gd name="connsiteX1" fmla="*/ 22360 w 893898"/>
              <a:gd name="connsiteY1" fmla="*/ 357188 h 357188"/>
              <a:gd name="connsiteX0" fmla="*/ 871538 w 871538"/>
              <a:gd name="connsiteY0" fmla="*/ 0 h 357188"/>
              <a:gd name="connsiteX1" fmla="*/ 0 w 871538"/>
              <a:gd name="connsiteY1" fmla="*/ 357188 h 357188"/>
              <a:gd name="connsiteX0" fmla="*/ 871538 w 871538"/>
              <a:gd name="connsiteY0" fmla="*/ 0 h 357188"/>
              <a:gd name="connsiteX1" fmla="*/ 0 w 871538"/>
              <a:gd name="connsiteY1" fmla="*/ 357188 h 357188"/>
              <a:gd name="connsiteX0" fmla="*/ 2414588 w 2414588"/>
              <a:gd name="connsiteY0" fmla="*/ 590423 h 594192"/>
              <a:gd name="connsiteX1" fmla="*/ 0 w 2414588"/>
              <a:gd name="connsiteY1" fmla="*/ 23686 h 594192"/>
              <a:gd name="connsiteX0" fmla="*/ 96860 w 195696"/>
              <a:gd name="connsiteY0" fmla="*/ 997365 h 999890"/>
              <a:gd name="connsiteX1" fmla="*/ 163534 w 195696"/>
              <a:gd name="connsiteY1" fmla="*/ 16290 h 999890"/>
              <a:gd name="connsiteX0" fmla="*/ 65859 w 301637"/>
              <a:gd name="connsiteY0" fmla="*/ 981075 h 985309"/>
              <a:gd name="connsiteX1" fmla="*/ 132533 w 301637"/>
              <a:gd name="connsiteY1" fmla="*/ 0 h 985309"/>
              <a:gd name="connsiteX0" fmla="*/ 0 w 306234"/>
              <a:gd name="connsiteY0" fmla="*/ 981075 h 981075"/>
              <a:gd name="connsiteX1" fmla="*/ 66674 w 306234"/>
              <a:gd name="connsiteY1" fmla="*/ 0 h 981075"/>
              <a:gd name="connsiteX0" fmla="*/ 0 w 185608"/>
              <a:gd name="connsiteY0" fmla="*/ 981075 h 981075"/>
              <a:gd name="connsiteX1" fmla="*/ 66674 w 185608"/>
              <a:gd name="connsiteY1" fmla="*/ 0 h 981075"/>
              <a:gd name="connsiteX0" fmla="*/ 0 w 164452"/>
              <a:gd name="connsiteY0" fmla="*/ 981075 h 981075"/>
              <a:gd name="connsiteX1" fmla="*/ 66674 w 164452"/>
              <a:gd name="connsiteY1" fmla="*/ 0 h 981075"/>
              <a:gd name="connsiteX0" fmla="*/ 0 w 211000"/>
              <a:gd name="connsiteY0" fmla="*/ 981075 h 981075"/>
              <a:gd name="connsiteX1" fmla="*/ 66674 w 211000"/>
              <a:gd name="connsiteY1" fmla="*/ 0 h 981075"/>
              <a:gd name="connsiteX0" fmla="*/ 0 w 223697"/>
              <a:gd name="connsiteY0" fmla="*/ 981075 h 981075"/>
              <a:gd name="connsiteX1" fmla="*/ 66674 w 223697"/>
              <a:gd name="connsiteY1" fmla="*/ 0 h 981075"/>
              <a:gd name="connsiteX0" fmla="*/ 0 w 255575"/>
              <a:gd name="connsiteY0" fmla="*/ 981075 h 981075"/>
              <a:gd name="connsiteX1" fmla="*/ 66674 w 255575"/>
              <a:gd name="connsiteY1" fmla="*/ 0 h 981075"/>
              <a:gd name="connsiteX0" fmla="*/ 0 w 423106"/>
              <a:gd name="connsiteY0" fmla="*/ 981075 h 981075"/>
              <a:gd name="connsiteX1" fmla="*/ 66674 w 423106"/>
              <a:gd name="connsiteY1" fmla="*/ 0 h 981075"/>
              <a:gd name="connsiteX0" fmla="*/ 0 w 495899"/>
              <a:gd name="connsiteY0" fmla="*/ 981075 h 981075"/>
              <a:gd name="connsiteX1" fmla="*/ 66674 w 495899"/>
              <a:gd name="connsiteY1" fmla="*/ 0 h 981075"/>
              <a:gd name="connsiteX0" fmla="*/ 0 w 486530"/>
              <a:gd name="connsiteY0" fmla="*/ 981075 h 981075"/>
              <a:gd name="connsiteX1" fmla="*/ 47624 w 486530"/>
              <a:gd name="connsiteY1" fmla="*/ 0 h 981075"/>
              <a:gd name="connsiteX0" fmla="*/ 0 w 523485"/>
              <a:gd name="connsiteY0" fmla="*/ 981075 h 981075"/>
              <a:gd name="connsiteX1" fmla="*/ 47624 w 523485"/>
              <a:gd name="connsiteY1" fmla="*/ 0 h 981075"/>
            </a:gdLst>
            <a:ahLst/>
            <a:cxnLst>
              <a:cxn ang="0">
                <a:pos x="connsiteX0" y="connsiteY0"/>
              </a:cxn>
              <a:cxn ang="0">
                <a:pos x="connsiteX1" y="connsiteY1"/>
              </a:cxn>
            </a:cxnLst>
            <a:rect l="l" t="t" r="r" b="b"/>
            <a:pathLst>
              <a:path w="523485" h="981075">
                <a:moveTo>
                  <a:pt x="0" y="981075"/>
                </a:moveTo>
                <a:cubicBezTo>
                  <a:pt x="782637" y="727074"/>
                  <a:pt x="593724" y="177797"/>
                  <a:pt x="47624" y="0"/>
                </a:cubicBezTo>
              </a:path>
            </a:pathLst>
          </a:custGeom>
          <a:noFill/>
          <a:ln w="9525" cap="rnd" cmpd="sng" algn="ctr">
            <a:solidFill>
              <a:schemeClr val="accent4"/>
            </a:solidFill>
            <a:prstDash val="solid"/>
            <a:round/>
            <a:headEnd type="none" w="sm" len="sm"/>
            <a:tailEnd type="triangle" w="sm" len="sm"/>
          </a:ln>
          <a:effectLst/>
        </p:spPr>
        <p:txBody>
          <a:bodyPr rtlCol="0" anchor="ctr"/>
          <a:lstStyle>
            <a:defPPr>
              <a:defRPr lang="de-DE"/>
            </a:defPPr>
            <a:lvl1pPr algn="l" rtl="0" eaLnBrk="0" fontAlgn="base" hangingPunct="0">
              <a:spcBef>
                <a:spcPct val="0"/>
              </a:spcBef>
              <a:spcAft>
                <a:spcPct val="20000"/>
              </a:spcAft>
              <a:defRPr sz="1600" kern="1200">
                <a:solidFill>
                  <a:schemeClr val="tx1"/>
                </a:solidFill>
                <a:latin typeface="Arial" charset="0"/>
                <a:ea typeface="+mn-ea"/>
                <a:cs typeface="+mn-cs"/>
              </a:defRPr>
            </a:lvl1pPr>
            <a:lvl2pPr marL="457200" algn="l" rtl="0" eaLnBrk="0" fontAlgn="base" hangingPunct="0">
              <a:spcBef>
                <a:spcPct val="0"/>
              </a:spcBef>
              <a:spcAft>
                <a:spcPct val="20000"/>
              </a:spcAft>
              <a:defRPr sz="1600" kern="1200">
                <a:solidFill>
                  <a:schemeClr val="tx1"/>
                </a:solidFill>
                <a:latin typeface="Arial" charset="0"/>
                <a:ea typeface="+mn-ea"/>
                <a:cs typeface="+mn-cs"/>
              </a:defRPr>
            </a:lvl2pPr>
            <a:lvl3pPr marL="914400" algn="l" rtl="0" eaLnBrk="0" fontAlgn="base" hangingPunct="0">
              <a:spcBef>
                <a:spcPct val="0"/>
              </a:spcBef>
              <a:spcAft>
                <a:spcPct val="20000"/>
              </a:spcAft>
              <a:defRPr sz="1600" kern="1200">
                <a:solidFill>
                  <a:schemeClr val="tx1"/>
                </a:solidFill>
                <a:latin typeface="Arial" charset="0"/>
                <a:ea typeface="+mn-ea"/>
                <a:cs typeface="+mn-cs"/>
              </a:defRPr>
            </a:lvl3pPr>
            <a:lvl4pPr marL="1371600" algn="l" rtl="0" eaLnBrk="0" fontAlgn="base" hangingPunct="0">
              <a:spcBef>
                <a:spcPct val="0"/>
              </a:spcBef>
              <a:spcAft>
                <a:spcPct val="20000"/>
              </a:spcAft>
              <a:defRPr sz="1600" kern="1200">
                <a:solidFill>
                  <a:schemeClr val="tx1"/>
                </a:solidFill>
                <a:latin typeface="Arial" charset="0"/>
                <a:ea typeface="+mn-ea"/>
                <a:cs typeface="+mn-cs"/>
              </a:defRPr>
            </a:lvl4pPr>
            <a:lvl5pPr marL="1828800" algn="l" rtl="0" eaLnBrk="0" fontAlgn="base" hangingPunct="0">
              <a:spcBef>
                <a:spcPct val="0"/>
              </a:spcBef>
              <a:spcAft>
                <a:spcPct val="2000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ctr"/>
            <a:endParaRPr lang="de-DE" sz="1100" dirty="0">
              <a:solidFill>
                <a:srgbClr val="000000"/>
              </a:solidFill>
              <a:latin typeface="Arial" panose="020B0604020202020204" pitchFamily="34" charset="0"/>
              <a:cs typeface="Arial" panose="020B0604020202020204" pitchFamily="34" charset="0"/>
            </a:endParaRPr>
          </a:p>
        </p:txBody>
      </p:sp>
      <p:sp>
        <p:nvSpPr>
          <p:cNvPr id="63" name="Freihandform 35"/>
          <p:cNvSpPr/>
          <p:nvPr/>
        </p:nvSpPr>
        <p:spPr bwMode="auto">
          <a:xfrm>
            <a:off x="5130671" y="3564830"/>
            <a:ext cx="328333" cy="679009"/>
          </a:xfrm>
          <a:custGeom>
            <a:avLst/>
            <a:gdLst>
              <a:gd name="connsiteX0" fmla="*/ 952500 w 952500"/>
              <a:gd name="connsiteY0" fmla="*/ 0 h 400050"/>
              <a:gd name="connsiteX1" fmla="*/ 0 w 952500"/>
              <a:gd name="connsiteY1" fmla="*/ 400050 h 400050"/>
              <a:gd name="connsiteX0" fmla="*/ 881063 w 881063"/>
              <a:gd name="connsiteY0" fmla="*/ 0 h 366713"/>
              <a:gd name="connsiteX1" fmla="*/ 0 w 881063"/>
              <a:gd name="connsiteY1" fmla="*/ 366713 h 366713"/>
              <a:gd name="connsiteX0" fmla="*/ 881063 w 881063"/>
              <a:gd name="connsiteY0" fmla="*/ 0 h 366713"/>
              <a:gd name="connsiteX1" fmla="*/ 0 w 881063"/>
              <a:gd name="connsiteY1" fmla="*/ 366713 h 366713"/>
              <a:gd name="connsiteX0" fmla="*/ 881063 w 881063"/>
              <a:gd name="connsiteY0" fmla="*/ 0 h 366713"/>
              <a:gd name="connsiteX1" fmla="*/ 0 w 881063"/>
              <a:gd name="connsiteY1" fmla="*/ 366713 h 366713"/>
              <a:gd name="connsiteX0" fmla="*/ 871538 w 871538"/>
              <a:gd name="connsiteY0" fmla="*/ 0 h 357188"/>
              <a:gd name="connsiteX1" fmla="*/ 0 w 871538"/>
              <a:gd name="connsiteY1" fmla="*/ 357188 h 357188"/>
              <a:gd name="connsiteX0" fmla="*/ 893898 w 893898"/>
              <a:gd name="connsiteY0" fmla="*/ 0 h 357188"/>
              <a:gd name="connsiteX1" fmla="*/ 22360 w 893898"/>
              <a:gd name="connsiteY1" fmla="*/ 357188 h 357188"/>
              <a:gd name="connsiteX0" fmla="*/ 871538 w 871538"/>
              <a:gd name="connsiteY0" fmla="*/ 0 h 357188"/>
              <a:gd name="connsiteX1" fmla="*/ 0 w 871538"/>
              <a:gd name="connsiteY1" fmla="*/ 357188 h 357188"/>
              <a:gd name="connsiteX0" fmla="*/ 871538 w 871538"/>
              <a:gd name="connsiteY0" fmla="*/ 0 h 357188"/>
              <a:gd name="connsiteX1" fmla="*/ 0 w 871538"/>
              <a:gd name="connsiteY1" fmla="*/ 357188 h 357188"/>
              <a:gd name="connsiteX0" fmla="*/ 2414588 w 2414588"/>
              <a:gd name="connsiteY0" fmla="*/ 590423 h 594192"/>
              <a:gd name="connsiteX1" fmla="*/ 0 w 2414588"/>
              <a:gd name="connsiteY1" fmla="*/ 23686 h 594192"/>
              <a:gd name="connsiteX0" fmla="*/ 96860 w 195696"/>
              <a:gd name="connsiteY0" fmla="*/ 997365 h 999890"/>
              <a:gd name="connsiteX1" fmla="*/ 163534 w 195696"/>
              <a:gd name="connsiteY1" fmla="*/ 16290 h 999890"/>
              <a:gd name="connsiteX0" fmla="*/ 65859 w 301637"/>
              <a:gd name="connsiteY0" fmla="*/ 981075 h 985309"/>
              <a:gd name="connsiteX1" fmla="*/ 132533 w 301637"/>
              <a:gd name="connsiteY1" fmla="*/ 0 h 985309"/>
              <a:gd name="connsiteX0" fmla="*/ 0 w 306234"/>
              <a:gd name="connsiteY0" fmla="*/ 981075 h 981075"/>
              <a:gd name="connsiteX1" fmla="*/ 66674 w 306234"/>
              <a:gd name="connsiteY1" fmla="*/ 0 h 981075"/>
              <a:gd name="connsiteX0" fmla="*/ 0 w 185608"/>
              <a:gd name="connsiteY0" fmla="*/ 981075 h 981075"/>
              <a:gd name="connsiteX1" fmla="*/ 66674 w 185608"/>
              <a:gd name="connsiteY1" fmla="*/ 0 h 981075"/>
              <a:gd name="connsiteX0" fmla="*/ 0 w 164452"/>
              <a:gd name="connsiteY0" fmla="*/ 981075 h 981075"/>
              <a:gd name="connsiteX1" fmla="*/ 66674 w 164452"/>
              <a:gd name="connsiteY1" fmla="*/ 0 h 981075"/>
              <a:gd name="connsiteX0" fmla="*/ 0 w 211000"/>
              <a:gd name="connsiteY0" fmla="*/ 981075 h 981075"/>
              <a:gd name="connsiteX1" fmla="*/ 66674 w 211000"/>
              <a:gd name="connsiteY1" fmla="*/ 0 h 981075"/>
              <a:gd name="connsiteX0" fmla="*/ 0 w 223697"/>
              <a:gd name="connsiteY0" fmla="*/ 981075 h 981075"/>
              <a:gd name="connsiteX1" fmla="*/ 66674 w 223697"/>
              <a:gd name="connsiteY1" fmla="*/ 0 h 981075"/>
              <a:gd name="connsiteX0" fmla="*/ 0 w 255575"/>
              <a:gd name="connsiteY0" fmla="*/ 981075 h 981075"/>
              <a:gd name="connsiteX1" fmla="*/ 66674 w 255575"/>
              <a:gd name="connsiteY1" fmla="*/ 0 h 981075"/>
              <a:gd name="connsiteX0" fmla="*/ 0 w 423106"/>
              <a:gd name="connsiteY0" fmla="*/ 981075 h 981075"/>
              <a:gd name="connsiteX1" fmla="*/ 66674 w 423106"/>
              <a:gd name="connsiteY1" fmla="*/ 0 h 981075"/>
              <a:gd name="connsiteX0" fmla="*/ 0 w 495899"/>
              <a:gd name="connsiteY0" fmla="*/ 981075 h 981075"/>
              <a:gd name="connsiteX1" fmla="*/ 66674 w 495899"/>
              <a:gd name="connsiteY1" fmla="*/ 0 h 981075"/>
              <a:gd name="connsiteX0" fmla="*/ 0 w 486530"/>
              <a:gd name="connsiteY0" fmla="*/ 981075 h 981075"/>
              <a:gd name="connsiteX1" fmla="*/ 47624 w 486530"/>
              <a:gd name="connsiteY1" fmla="*/ 0 h 981075"/>
              <a:gd name="connsiteX0" fmla="*/ 0 w 523485"/>
              <a:gd name="connsiteY0" fmla="*/ 981075 h 981075"/>
              <a:gd name="connsiteX1" fmla="*/ 47624 w 523485"/>
              <a:gd name="connsiteY1" fmla="*/ 0 h 981075"/>
              <a:gd name="connsiteX0" fmla="*/ 0 w 543737"/>
              <a:gd name="connsiteY0" fmla="*/ 971550 h 971550"/>
              <a:gd name="connsiteX1" fmla="*/ 90487 w 543737"/>
              <a:gd name="connsiteY1" fmla="*/ 0 h 971550"/>
              <a:gd name="connsiteX0" fmla="*/ 0 w 519616"/>
              <a:gd name="connsiteY0" fmla="*/ 971550 h 971550"/>
              <a:gd name="connsiteX1" fmla="*/ 90487 w 519616"/>
              <a:gd name="connsiteY1" fmla="*/ 0 h 971550"/>
              <a:gd name="connsiteX0" fmla="*/ 0 w 502344"/>
              <a:gd name="connsiteY0" fmla="*/ 966787 h 966787"/>
              <a:gd name="connsiteX1" fmla="*/ 52387 w 502344"/>
              <a:gd name="connsiteY1" fmla="*/ 0 h 966787"/>
              <a:gd name="connsiteX0" fmla="*/ 0 w 455332"/>
              <a:gd name="connsiteY0" fmla="*/ 966787 h 966787"/>
              <a:gd name="connsiteX1" fmla="*/ 52387 w 455332"/>
              <a:gd name="connsiteY1" fmla="*/ 0 h 966787"/>
              <a:gd name="connsiteX0" fmla="*/ 0 w 467488"/>
              <a:gd name="connsiteY0" fmla="*/ 966787 h 966787"/>
              <a:gd name="connsiteX1" fmla="*/ 52387 w 467488"/>
              <a:gd name="connsiteY1" fmla="*/ 0 h 966787"/>
            </a:gdLst>
            <a:ahLst/>
            <a:cxnLst>
              <a:cxn ang="0">
                <a:pos x="connsiteX0" y="connsiteY0"/>
              </a:cxn>
              <a:cxn ang="0">
                <a:pos x="connsiteX1" y="connsiteY1"/>
              </a:cxn>
            </a:cxnLst>
            <a:rect l="l" t="t" r="r" b="b"/>
            <a:pathLst>
              <a:path w="467488" h="966787">
                <a:moveTo>
                  <a:pt x="0" y="966787"/>
                </a:moveTo>
                <a:cubicBezTo>
                  <a:pt x="663575" y="727073"/>
                  <a:pt x="565149" y="192084"/>
                  <a:pt x="52387" y="0"/>
                </a:cubicBezTo>
              </a:path>
            </a:pathLst>
          </a:custGeom>
          <a:noFill/>
          <a:ln w="9525" cap="rnd" cmpd="sng" algn="ctr">
            <a:solidFill>
              <a:schemeClr val="accent4"/>
            </a:solidFill>
            <a:prstDash val="solid"/>
            <a:round/>
            <a:headEnd type="triangle" w="sm" len="sm"/>
            <a:tailEnd type="none" w="sm" len="sm"/>
          </a:ln>
          <a:effectLst/>
        </p:spPr>
        <p:txBody>
          <a:bodyPr rtlCol="0" anchor="ctr"/>
          <a:lstStyle>
            <a:defPPr>
              <a:defRPr lang="de-DE"/>
            </a:defPPr>
            <a:lvl1pPr algn="l" rtl="0" eaLnBrk="0" fontAlgn="base" hangingPunct="0">
              <a:spcBef>
                <a:spcPct val="0"/>
              </a:spcBef>
              <a:spcAft>
                <a:spcPct val="20000"/>
              </a:spcAft>
              <a:defRPr sz="1600" kern="1200">
                <a:solidFill>
                  <a:schemeClr val="tx1"/>
                </a:solidFill>
                <a:latin typeface="Arial" charset="0"/>
                <a:ea typeface="+mn-ea"/>
                <a:cs typeface="+mn-cs"/>
              </a:defRPr>
            </a:lvl1pPr>
            <a:lvl2pPr marL="457200" algn="l" rtl="0" eaLnBrk="0" fontAlgn="base" hangingPunct="0">
              <a:spcBef>
                <a:spcPct val="0"/>
              </a:spcBef>
              <a:spcAft>
                <a:spcPct val="20000"/>
              </a:spcAft>
              <a:defRPr sz="1600" kern="1200">
                <a:solidFill>
                  <a:schemeClr val="tx1"/>
                </a:solidFill>
                <a:latin typeface="Arial" charset="0"/>
                <a:ea typeface="+mn-ea"/>
                <a:cs typeface="+mn-cs"/>
              </a:defRPr>
            </a:lvl2pPr>
            <a:lvl3pPr marL="914400" algn="l" rtl="0" eaLnBrk="0" fontAlgn="base" hangingPunct="0">
              <a:spcBef>
                <a:spcPct val="0"/>
              </a:spcBef>
              <a:spcAft>
                <a:spcPct val="20000"/>
              </a:spcAft>
              <a:defRPr sz="1600" kern="1200">
                <a:solidFill>
                  <a:schemeClr val="tx1"/>
                </a:solidFill>
                <a:latin typeface="Arial" charset="0"/>
                <a:ea typeface="+mn-ea"/>
                <a:cs typeface="+mn-cs"/>
              </a:defRPr>
            </a:lvl3pPr>
            <a:lvl4pPr marL="1371600" algn="l" rtl="0" eaLnBrk="0" fontAlgn="base" hangingPunct="0">
              <a:spcBef>
                <a:spcPct val="0"/>
              </a:spcBef>
              <a:spcAft>
                <a:spcPct val="20000"/>
              </a:spcAft>
              <a:defRPr sz="1600" kern="1200">
                <a:solidFill>
                  <a:schemeClr val="tx1"/>
                </a:solidFill>
                <a:latin typeface="Arial" charset="0"/>
                <a:ea typeface="+mn-ea"/>
                <a:cs typeface="+mn-cs"/>
              </a:defRPr>
            </a:lvl4pPr>
            <a:lvl5pPr marL="1828800" algn="l" rtl="0" eaLnBrk="0" fontAlgn="base" hangingPunct="0">
              <a:spcBef>
                <a:spcPct val="0"/>
              </a:spcBef>
              <a:spcAft>
                <a:spcPct val="2000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ctr"/>
            <a:endParaRPr lang="de-DE" sz="1100" dirty="0">
              <a:solidFill>
                <a:srgbClr val="000000"/>
              </a:solidFill>
              <a:latin typeface="Arial" panose="020B0604020202020204" pitchFamily="34" charset="0"/>
              <a:cs typeface="Arial" panose="020B0604020202020204" pitchFamily="34" charset="0"/>
            </a:endParaRPr>
          </a:p>
        </p:txBody>
      </p:sp>
      <p:sp>
        <p:nvSpPr>
          <p:cNvPr id="64" name="Freihandform 23"/>
          <p:cNvSpPr/>
          <p:nvPr/>
        </p:nvSpPr>
        <p:spPr bwMode="auto">
          <a:xfrm>
            <a:off x="3022870" y="3525051"/>
            <a:ext cx="535178" cy="230796"/>
          </a:xfrm>
          <a:custGeom>
            <a:avLst/>
            <a:gdLst>
              <a:gd name="connsiteX0" fmla="*/ 952500 w 952500"/>
              <a:gd name="connsiteY0" fmla="*/ 0 h 400050"/>
              <a:gd name="connsiteX1" fmla="*/ 0 w 952500"/>
              <a:gd name="connsiteY1" fmla="*/ 400050 h 400050"/>
              <a:gd name="connsiteX0" fmla="*/ 881063 w 881063"/>
              <a:gd name="connsiteY0" fmla="*/ 0 h 366713"/>
              <a:gd name="connsiteX1" fmla="*/ 0 w 881063"/>
              <a:gd name="connsiteY1" fmla="*/ 366713 h 366713"/>
              <a:gd name="connsiteX0" fmla="*/ 881063 w 881063"/>
              <a:gd name="connsiteY0" fmla="*/ 0 h 366713"/>
              <a:gd name="connsiteX1" fmla="*/ 0 w 881063"/>
              <a:gd name="connsiteY1" fmla="*/ 366713 h 366713"/>
              <a:gd name="connsiteX0" fmla="*/ 881063 w 881063"/>
              <a:gd name="connsiteY0" fmla="*/ 0 h 366713"/>
              <a:gd name="connsiteX1" fmla="*/ 0 w 881063"/>
              <a:gd name="connsiteY1" fmla="*/ 366713 h 366713"/>
              <a:gd name="connsiteX0" fmla="*/ 871538 w 871538"/>
              <a:gd name="connsiteY0" fmla="*/ 0 h 357188"/>
              <a:gd name="connsiteX1" fmla="*/ 0 w 871538"/>
              <a:gd name="connsiteY1" fmla="*/ 357188 h 357188"/>
              <a:gd name="connsiteX0" fmla="*/ 893898 w 893898"/>
              <a:gd name="connsiteY0" fmla="*/ 0 h 357188"/>
              <a:gd name="connsiteX1" fmla="*/ 22360 w 893898"/>
              <a:gd name="connsiteY1" fmla="*/ 357188 h 357188"/>
              <a:gd name="connsiteX0" fmla="*/ 871538 w 871538"/>
              <a:gd name="connsiteY0" fmla="*/ 0 h 357188"/>
              <a:gd name="connsiteX1" fmla="*/ 0 w 871538"/>
              <a:gd name="connsiteY1" fmla="*/ 357188 h 357188"/>
              <a:gd name="connsiteX0" fmla="*/ 871538 w 871538"/>
              <a:gd name="connsiteY0" fmla="*/ 0 h 357188"/>
              <a:gd name="connsiteX1" fmla="*/ 0 w 871538"/>
              <a:gd name="connsiteY1" fmla="*/ 357188 h 357188"/>
              <a:gd name="connsiteX0" fmla="*/ 762000 w 762000"/>
              <a:gd name="connsiteY0" fmla="*/ 0 h 328613"/>
              <a:gd name="connsiteX1" fmla="*/ 0 w 762000"/>
              <a:gd name="connsiteY1" fmla="*/ 328613 h 328613"/>
              <a:gd name="connsiteX0" fmla="*/ 762000 w 762000"/>
              <a:gd name="connsiteY0" fmla="*/ 0 h 328613"/>
              <a:gd name="connsiteX1" fmla="*/ 0 w 762000"/>
              <a:gd name="connsiteY1" fmla="*/ 328613 h 328613"/>
            </a:gdLst>
            <a:ahLst/>
            <a:cxnLst>
              <a:cxn ang="0">
                <a:pos x="connsiteX0" y="connsiteY0"/>
              </a:cxn>
              <a:cxn ang="0">
                <a:pos x="connsiteX1" y="connsiteY1"/>
              </a:cxn>
            </a:cxnLst>
            <a:rect l="l" t="t" r="r" b="b"/>
            <a:pathLst>
              <a:path w="762000" h="328613">
                <a:moveTo>
                  <a:pt x="762000" y="0"/>
                </a:moveTo>
                <a:cubicBezTo>
                  <a:pt x="454024" y="65088"/>
                  <a:pt x="174625" y="173036"/>
                  <a:pt x="0" y="328613"/>
                </a:cubicBezTo>
              </a:path>
            </a:pathLst>
          </a:custGeom>
          <a:noFill/>
          <a:ln w="9525" cap="rnd" cmpd="sng" algn="ctr">
            <a:solidFill>
              <a:schemeClr val="accent4"/>
            </a:solidFill>
            <a:prstDash val="solid"/>
            <a:round/>
            <a:headEnd type="none" w="sm" len="sm"/>
            <a:tailEnd type="triangle" w="sm" len="sm"/>
          </a:ln>
          <a:effectLst/>
        </p:spPr>
        <p:txBody>
          <a:bodyPr rtlCol="0" anchor="ctr"/>
          <a:lstStyle>
            <a:defPPr>
              <a:defRPr lang="de-DE"/>
            </a:defPPr>
            <a:lvl1pPr algn="l" rtl="0" eaLnBrk="0" fontAlgn="base" hangingPunct="0">
              <a:spcBef>
                <a:spcPct val="0"/>
              </a:spcBef>
              <a:spcAft>
                <a:spcPct val="20000"/>
              </a:spcAft>
              <a:defRPr sz="1600" kern="1200">
                <a:solidFill>
                  <a:schemeClr val="tx1"/>
                </a:solidFill>
                <a:latin typeface="Arial" charset="0"/>
                <a:ea typeface="+mn-ea"/>
                <a:cs typeface="+mn-cs"/>
              </a:defRPr>
            </a:lvl1pPr>
            <a:lvl2pPr marL="457200" algn="l" rtl="0" eaLnBrk="0" fontAlgn="base" hangingPunct="0">
              <a:spcBef>
                <a:spcPct val="0"/>
              </a:spcBef>
              <a:spcAft>
                <a:spcPct val="20000"/>
              </a:spcAft>
              <a:defRPr sz="1600" kern="1200">
                <a:solidFill>
                  <a:schemeClr val="tx1"/>
                </a:solidFill>
                <a:latin typeface="Arial" charset="0"/>
                <a:ea typeface="+mn-ea"/>
                <a:cs typeface="+mn-cs"/>
              </a:defRPr>
            </a:lvl2pPr>
            <a:lvl3pPr marL="914400" algn="l" rtl="0" eaLnBrk="0" fontAlgn="base" hangingPunct="0">
              <a:spcBef>
                <a:spcPct val="0"/>
              </a:spcBef>
              <a:spcAft>
                <a:spcPct val="20000"/>
              </a:spcAft>
              <a:defRPr sz="1600" kern="1200">
                <a:solidFill>
                  <a:schemeClr val="tx1"/>
                </a:solidFill>
                <a:latin typeface="Arial" charset="0"/>
                <a:ea typeface="+mn-ea"/>
                <a:cs typeface="+mn-cs"/>
              </a:defRPr>
            </a:lvl3pPr>
            <a:lvl4pPr marL="1371600" algn="l" rtl="0" eaLnBrk="0" fontAlgn="base" hangingPunct="0">
              <a:spcBef>
                <a:spcPct val="0"/>
              </a:spcBef>
              <a:spcAft>
                <a:spcPct val="20000"/>
              </a:spcAft>
              <a:defRPr sz="1600" kern="1200">
                <a:solidFill>
                  <a:schemeClr val="tx1"/>
                </a:solidFill>
                <a:latin typeface="Arial" charset="0"/>
                <a:ea typeface="+mn-ea"/>
                <a:cs typeface="+mn-cs"/>
              </a:defRPr>
            </a:lvl4pPr>
            <a:lvl5pPr marL="1828800" algn="l" rtl="0" eaLnBrk="0" fontAlgn="base" hangingPunct="0">
              <a:spcBef>
                <a:spcPct val="0"/>
              </a:spcBef>
              <a:spcAft>
                <a:spcPct val="2000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ctr"/>
            <a:endParaRPr lang="de-DE" sz="1100" dirty="0">
              <a:solidFill>
                <a:srgbClr val="000000"/>
              </a:solidFill>
              <a:latin typeface="Arial" panose="020B0604020202020204" pitchFamily="34" charset="0"/>
              <a:cs typeface="Arial" panose="020B0604020202020204" pitchFamily="34" charset="0"/>
            </a:endParaRPr>
          </a:p>
        </p:txBody>
      </p:sp>
      <p:sp>
        <p:nvSpPr>
          <p:cNvPr id="65" name="Freihandform 36"/>
          <p:cNvSpPr/>
          <p:nvPr/>
        </p:nvSpPr>
        <p:spPr bwMode="auto">
          <a:xfrm>
            <a:off x="2992769" y="3487604"/>
            <a:ext cx="535178" cy="230796"/>
          </a:xfrm>
          <a:custGeom>
            <a:avLst/>
            <a:gdLst>
              <a:gd name="connsiteX0" fmla="*/ 952500 w 952500"/>
              <a:gd name="connsiteY0" fmla="*/ 0 h 400050"/>
              <a:gd name="connsiteX1" fmla="*/ 0 w 952500"/>
              <a:gd name="connsiteY1" fmla="*/ 400050 h 400050"/>
              <a:gd name="connsiteX0" fmla="*/ 881063 w 881063"/>
              <a:gd name="connsiteY0" fmla="*/ 0 h 366713"/>
              <a:gd name="connsiteX1" fmla="*/ 0 w 881063"/>
              <a:gd name="connsiteY1" fmla="*/ 366713 h 366713"/>
              <a:gd name="connsiteX0" fmla="*/ 881063 w 881063"/>
              <a:gd name="connsiteY0" fmla="*/ 0 h 366713"/>
              <a:gd name="connsiteX1" fmla="*/ 0 w 881063"/>
              <a:gd name="connsiteY1" fmla="*/ 366713 h 366713"/>
              <a:gd name="connsiteX0" fmla="*/ 881063 w 881063"/>
              <a:gd name="connsiteY0" fmla="*/ 0 h 366713"/>
              <a:gd name="connsiteX1" fmla="*/ 0 w 881063"/>
              <a:gd name="connsiteY1" fmla="*/ 366713 h 366713"/>
              <a:gd name="connsiteX0" fmla="*/ 871538 w 871538"/>
              <a:gd name="connsiteY0" fmla="*/ 0 h 357188"/>
              <a:gd name="connsiteX1" fmla="*/ 0 w 871538"/>
              <a:gd name="connsiteY1" fmla="*/ 357188 h 357188"/>
              <a:gd name="connsiteX0" fmla="*/ 893898 w 893898"/>
              <a:gd name="connsiteY0" fmla="*/ 0 h 357188"/>
              <a:gd name="connsiteX1" fmla="*/ 22360 w 893898"/>
              <a:gd name="connsiteY1" fmla="*/ 357188 h 357188"/>
              <a:gd name="connsiteX0" fmla="*/ 871538 w 871538"/>
              <a:gd name="connsiteY0" fmla="*/ 0 h 357188"/>
              <a:gd name="connsiteX1" fmla="*/ 0 w 871538"/>
              <a:gd name="connsiteY1" fmla="*/ 357188 h 357188"/>
              <a:gd name="connsiteX0" fmla="*/ 871538 w 871538"/>
              <a:gd name="connsiteY0" fmla="*/ 0 h 357188"/>
              <a:gd name="connsiteX1" fmla="*/ 0 w 871538"/>
              <a:gd name="connsiteY1" fmla="*/ 357188 h 357188"/>
              <a:gd name="connsiteX0" fmla="*/ 762000 w 762000"/>
              <a:gd name="connsiteY0" fmla="*/ 0 h 328613"/>
              <a:gd name="connsiteX1" fmla="*/ 0 w 762000"/>
              <a:gd name="connsiteY1" fmla="*/ 328613 h 328613"/>
              <a:gd name="connsiteX0" fmla="*/ 762000 w 762000"/>
              <a:gd name="connsiteY0" fmla="*/ 0 h 328613"/>
              <a:gd name="connsiteX1" fmla="*/ 0 w 762000"/>
              <a:gd name="connsiteY1" fmla="*/ 328613 h 328613"/>
            </a:gdLst>
            <a:ahLst/>
            <a:cxnLst>
              <a:cxn ang="0">
                <a:pos x="connsiteX0" y="connsiteY0"/>
              </a:cxn>
              <a:cxn ang="0">
                <a:pos x="connsiteX1" y="connsiteY1"/>
              </a:cxn>
            </a:cxnLst>
            <a:rect l="l" t="t" r="r" b="b"/>
            <a:pathLst>
              <a:path w="762000" h="328613">
                <a:moveTo>
                  <a:pt x="762000" y="0"/>
                </a:moveTo>
                <a:cubicBezTo>
                  <a:pt x="454024" y="65088"/>
                  <a:pt x="174625" y="173036"/>
                  <a:pt x="0" y="328613"/>
                </a:cubicBezTo>
              </a:path>
            </a:pathLst>
          </a:custGeom>
          <a:noFill/>
          <a:ln w="9525" cap="rnd" cmpd="sng" algn="ctr">
            <a:solidFill>
              <a:schemeClr val="accent4"/>
            </a:solidFill>
            <a:prstDash val="solid"/>
            <a:round/>
            <a:headEnd type="triangle" w="sm" len="sm"/>
            <a:tailEnd type="none" w="sm" len="sm"/>
          </a:ln>
          <a:effectLst/>
        </p:spPr>
        <p:txBody>
          <a:bodyPr rtlCol="0" anchor="ctr"/>
          <a:lstStyle>
            <a:defPPr>
              <a:defRPr lang="de-DE"/>
            </a:defPPr>
            <a:lvl1pPr algn="l" rtl="0" eaLnBrk="0" fontAlgn="base" hangingPunct="0">
              <a:spcBef>
                <a:spcPct val="0"/>
              </a:spcBef>
              <a:spcAft>
                <a:spcPct val="20000"/>
              </a:spcAft>
              <a:defRPr sz="1600" kern="1200">
                <a:solidFill>
                  <a:schemeClr val="tx1"/>
                </a:solidFill>
                <a:latin typeface="Arial" charset="0"/>
                <a:ea typeface="+mn-ea"/>
                <a:cs typeface="+mn-cs"/>
              </a:defRPr>
            </a:lvl1pPr>
            <a:lvl2pPr marL="457200" algn="l" rtl="0" eaLnBrk="0" fontAlgn="base" hangingPunct="0">
              <a:spcBef>
                <a:spcPct val="0"/>
              </a:spcBef>
              <a:spcAft>
                <a:spcPct val="20000"/>
              </a:spcAft>
              <a:defRPr sz="1600" kern="1200">
                <a:solidFill>
                  <a:schemeClr val="tx1"/>
                </a:solidFill>
                <a:latin typeface="Arial" charset="0"/>
                <a:ea typeface="+mn-ea"/>
                <a:cs typeface="+mn-cs"/>
              </a:defRPr>
            </a:lvl2pPr>
            <a:lvl3pPr marL="914400" algn="l" rtl="0" eaLnBrk="0" fontAlgn="base" hangingPunct="0">
              <a:spcBef>
                <a:spcPct val="0"/>
              </a:spcBef>
              <a:spcAft>
                <a:spcPct val="20000"/>
              </a:spcAft>
              <a:defRPr sz="1600" kern="1200">
                <a:solidFill>
                  <a:schemeClr val="tx1"/>
                </a:solidFill>
                <a:latin typeface="Arial" charset="0"/>
                <a:ea typeface="+mn-ea"/>
                <a:cs typeface="+mn-cs"/>
              </a:defRPr>
            </a:lvl3pPr>
            <a:lvl4pPr marL="1371600" algn="l" rtl="0" eaLnBrk="0" fontAlgn="base" hangingPunct="0">
              <a:spcBef>
                <a:spcPct val="0"/>
              </a:spcBef>
              <a:spcAft>
                <a:spcPct val="20000"/>
              </a:spcAft>
              <a:defRPr sz="1600" kern="1200">
                <a:solidFill>
                  <a:schemeClr val="tx1"/>
                </a:solidFill>
                <a:latin typeface="Arial" charset="0"/>
                <a:ea typeface="+mn-ea"/>
                <a:cs typeface="+mn-cs"/>
              </a:defRPr>
            </a:lvl4pPr>
            <a:lvl5pPr marL="1828800" algn="l" rtl="0" eaLnBrk="0" fontAlgn="base" hangingPunct="0">
              <a:spcBef>
                <a:spcPct val="0"/>
              </a:spcBef>
              <a:spcAft>
                <a:spcPct val="2000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ctr"/>
            <a:endParaRPr lang="de-DE" sz="1100" dirty="0">
              <a:solidFill>
                <a:srgbClr val="000000"/>
              </a:solidFill>
              <a:latin typeface="Arial" panose="020B0604020202020204" pitchFamily="34" charset="0"/>
              <a:cs typeface="Arial" panose="020B0604020202020204" pitchFamily="34" charset="0"/>
            </a:endParaRPr>
          </a:p>
        </p:txBody>
      </p:sp>
      <p:sp>
        <p:nvSpPr>
          <p:cNvPr id="66" name="Freihandform 29"/>
          <p:cNvSpPr/>
          <p:nvPr/>
        </p:nvSpPr>
        <p:spPr bwMode="auto">
          <a:xfrm>
            <a:off x="6565360" y="3525949"/>
            <a:ext cx="461592" cy="187313"/>
          </a:xfrm>
          <a:custGeom>
            <a:avLst/>
            <a:gdLst>
              <a:gd name="connsiteX0" fmla="*/ 952500 w 952500"/>
              <a:gd name="connsiteY0" fmla="*/ 0 h 400050"/>
              <a:gd name="connsiteX1" fmla="*/ 0 w 952500"/>
              <a:gd name="connsiteY1" fmla="*/ 400050 h 400050"/>
              <a:gd name="connsiteX0" fmla="*/ 881063 w 881063"/>
              <a:gd name="connsiteY0" fmla="*/ 0 h 366713"/>
              <a:gd name="connsiteX1" fmla="*/ 0 w 881063"/>
              <a:gd name="connsiteY1" fmla="*/ 366713 h 366713"/>
              <a:gd name="connsiteX0" fmla="*/ 881063 w 881063"/>
              <a:gd name="connsiteY0" fmla="*/ 0 h 366713"/>
              <a:gd name="connsiteX1" fmla="*/ 0 w 881063"/>
              <a:gd name="connsiteY1" fmla="*/ 366713 h 366713"/>
              <a:gd name="connsiteX0" fmla="*/ 881063 w 881063"/>
              <a:gd name="connsiteY0" fmla="*/ 0 h 366713"/>
              <a:gd name="connsiteX1" fmla="*/ 0 w 881063"/>
              <a:gd name="connsiteY1" fmla="*/ 366713 h 366713"/>
              <a:gd name="connsiteX0" fmla="*/ 871538 w 871538"/>
              <a:gd name="connsiteY0" fmla="*/ 0 h 357188"/>
              <a:gd name="connsiteX1" fmla="*/ 0 w 871538"/>
              <a:gd name="connsiteY1" fmla="*/ 357188 h 357188"/>
              <a:gd name="connsiteX0" fmla="*/ 893898 w 893898"/>
              <a:gd name="connsiteY0" fmla="*/ 0 h 357188"/>
              <a:gd name="connsiteX1" fmla="*/ 22360 w 893898"/>
              <a:gd name="connsiteY1" fmla="*/ 357188 h 357188"/>
              <a:gd name="connsiteX0" fmla="*/ 871538 w 871538"/>
              <a:gd name="connsiteY0" fmla="*/ 0 h 357188"/>
              <a:gd name="connsiteX1" fmla="*/ 0 w 871538"/>
              <a:gd name="connsiteY1" fmla="*/ 357188 h 357188"/>
              <a:gd name="connsiteX0" fmla="*/ 871538 w 871538"/>
              <a:gd name="connsiteY0" fmla="*/ 0 h 357188"/>
              <a:gd name="connsiteX1" fmla="*/ 0 w 871538"/>
              <a:gd name="connsiteY1" fmla="*/ 357188 h 357188"/>
              <a:gd name="connsiteX0" fmla="*/ 881063 w 881063"/>
              <a:gd name="connsiteY0" fmla="*/ 342557 h 347990"/>
              <a:gd name="connsiteX1" fmla="*/ 0 w 881063"/>
              <a:gd name="connsiteY1" fmla="*/ 32995 h 347990"/>
              <a:gd name="connsiteX0" fmla="*/ 881063 w 881063"/>
              <a:gd name="connsiteY0" fmla="*/ 309562 h 317727"/>
              <a:gd name="connsiteX1" fmla="*/ 0 w 881063"/>
              <a:gd name="connsiteY1" fmla="*/ 0 h 317727"/>
              <a:gd name="connsiteX0" fmla="*/ 866775 w 866775"/>
              <a:gd name="connsiteY0" fmla="*/ 309562 h 317727"/>
              <a:gd name="connsiteX1" fmla="*/ 0 w 866775"/>
              <a:gd name="connsiteY1" fmla="*/ 0 h 317727"/>
              <a:gd name="connsiteX0" fmla="*/ 866775 w 866775"/>
              <a:gd name="connsiteY0" fmla="*/ 309562 h 309562"/>
              <a:gd name="connsiteX1" fmla="*/ 0 w 866775"/>
              <a:gd name="connsiteY1" fmla="*/ 0 h 309562"/>
              <a:gd name="connsiteX0" fmla="*/ 866775 w 866775"/>
              <a:gd name="connsiteY0" fmla="*/ 309562 h 309562"/>
              <a:gd name="connsiteX1" fmla="*/ 0 w 866775"/>
              <a:gd name="connsiteY1" fmla="*/ 0 h 309562"/>
              <a:gd name="connsiteX0" fmla="*/ 657225 w 657225"/>
              <a:gd name="connsiteY0" fmla="*/ 266700 h 266700"/>
              <a:gd name="connsiteX1" fmla="*/ 0 w 657225"/>
              <a:gd name="connsiteY1" fmla="*/ 0 h 266700"/>
              <a:gd name="connsiteX0" fmla="*/ 657225 w 657225"/>
              <a:gd name="connsiteY0" fmla="*/ 266700 h 266700"/>
              <a:gd name="connsiteX1" fmla="*/ 0 w 657225"/>
              <a:gd name="connsiteY1" fmla="*/ 0 h 266700"/>
              <a:gd name="connsiteX0" fmla="*/ 657225 w 657225"/>
              <a:gd name="connsiteY0" fmla="*/ 266700 h 266700"/>
              <a:gd name="connsiteX1" fmla="*/ 0 w 657225"/>
              <a:gd name="connsiteY1" fmla="*/ 0 h 266700"/>
            </a:gdLst>
            <a:ahLst/>
            <a:cxnLst>
              <a:cxn ang="0">
                <a:pos x="connsiteX0" y="connsiteY0"/>
              </a:cxn>
              <a:cxn ang="0">
                <a:pos x="connsiteX1" y="connsiteY1"/>
              </a:cxn>
            </a:cxnLst>
            <a:rect l="l" t="t" r="r" b="b"/>
            <a:pathLst>
              <a:path w="657225" h="266700">
                <a:moveTo>
                  <a:pt x="657225" y="266700"/>
                </a:moveTo>
                <a:cubicBezTo>
                  <a:pt x="563561" y="174625"/>
                  <a:pt x="365124" y="87311"/>
                  <a:pt x="0" y="0"/>
                </a:cubicBezTo>
              </a:path>
            </a:pathLst>
          </a:custGeom>
          <a:noFill/>
          <a:ln w="9525" cap="rnd" cmpd="sng" algn="ctr">
            <a:solidFill>
              <a:schemeClr val="accent4"/>
            </a:solidFill>
            <a:prstDash val="solid"/>
            <a:round/>
            <a:headEnd type="none" w="sm" len="sm"/>
            <a:tailEnd type="triangle" w="sm" len="sm"/>
          </a:ln>
          <a:effectLst/>
        </p:spPr>
        <p:txBody>
          <a:bodyPr rtlCol="0" anchor="ctr"/>
          <a:lstStyle>
            <a:defPPr>
              <a:defRPr lang="de-DE"/>
            </a:defPPr>
            <a:lvl1pPr algn="l" rtl="0" eaLnBrk="0" fontAlgn="base" hangingPunct="0">
              <a:spcBef>
                <a:spcPct val="0"/>
              </a:spcBef>
              <a:spcAft>
                <a:spcPct val="20000"/>
              </a:spcAft>
              <a:defRPr sz="1600" kern="1200">
                <a:solidFill>
                  <a:schemeClr val="tx1"/>
                </a:solidFill>
                <a:latin typeface="Arial" charset="0"/>
                <a:ea typeface="+mn-ea"/>
                <a:cs typeface="+mn-cs"/>
              </a:defRPr>
            </a:lvl1pPr>
            <a:lvl2pPr marL="457200" algn="l" rtl="0" eaLnBrk="0" fontAlgn="base" hangingPunct="0">
              <a:spcBef>
                <a:spcPct val="0"/>
              </a:spcBef>
              <a:spcAft>
                <a:spcPct val="20000"/>
              </a:spcAft>
              <a:defRPr sz="1600" kern="1200">
                <a:solidFill>
                  <a:schemeClr val="tx1"/>
                </a:solidFill>
                <a:latin typeface="Arial" charset="0"/>
                <a:ea typeface="+mn-ea"/>
                <a:cs typeface="+mn-cs"/>
              </a:defRPr>
            </a:lvl2pPr>
            <a:lvl3pPr marL="914400" algn="l" rtl="0" eaLnBrk="0" fontAlgn="base" hangingPunct="0">
              <a:spcBef>
                <a:spcPct val="0"/>
              </a:spcBef>
              <a:spcAft>
                <a:spcPct val="20000"/>
              </a:spcAft>
              <a:defRPr sz="1600" kern="1200">
                <a:solidFill>
                  <a:schemeClr val="tx1"/>
                </a:solidFill>
                <a:latin typeface="Arial" charset="0"/>
                <a:ea typeface="+mn-ea"/>
                <a:cs typeface="+mn-cs"/>
              </a:defRPr>
            </a:lvl3pPr>
            <a:lvl4pPr marL="1371600" algn="l" rtl="0" eaLnBrk="0" fontAlgn="base" hangingPunct="0">
              <a:spcBef>
                <a:spcPct val="0"/>
              </a:spcBef>
              <a:spcAft>
                <a:spcPct val="20000"/>
              </a:spcAft>
              <a:defRPr sz="1600" kern="1200">
                <a:solidFill>
                  <a:schemeClr val="tx1"/>
                </a:solidFill>
                <a:latin typeface="Arial" charset="0"/>
                <a:ea typeface="+mn-ea"/>
                <a:cs typeface="+mn-cs"/>
              </a:defRPr>
            </a:lvl4pPr>
            <a:lvl5pPr marL="1828800" algn="l" rtl="0" eaLnBrk="0" fontAlgn="base" hangingPunct="0">
              <a:spcBef>
                <a:spcPct val="0"/>
              </a:spcBef>
              <a:spcAft>
                <a:spcPct val="2000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ctr"/>
            <a:endParaRPr lang="de-DE" sz="1100" dirty="0">
              <a:solidFill>
                <a:srgbClr val="000000"/>
              </a:solidFill>
              <a:latin typeface="Arial" panose="020B0604020202020204" pitchFamily="34" charset="0"/>
              <a:cs typeface="Arial" panose="020B0604020202020204" pitchFamily="34" charset="0"/>
            </a:endParaRPr>
          </a:p>
        </p:txBody>
      </p:sp>
      <p:sp>
        <p:nvSpPr>
          <p:cNvPr id="67" name="Freihandform 37"/>
          <p:cNvSpPr/>
          <p:nvPr/>
        </p:nvSpPr>
        <p:spPr bwMode="auto">
          <a:xfrm>
            <a:off x="6603618" y="3490949"/>
            <a:ext cx="461592" cy="187313"/>
          </a:xfrm>
          <a:custGeom>
            <a:avLst/>
            <a:gdLst>
              <a:gd name="connsiteX0" fmla="*/ 952500 w 952500"/>
              <a:gd name="connsiteY0" fmla="*/ 0 h 400050"/>
              <a:gd name="connsiteX1" fmla="*/ 0 w 952500"/>
              <a:gd name="connsiteY1" fmla="*/ 400050 h 400050"/>
              <a:gd name="connsiteX0" fmla="*/ 881063 w 881063"/>
              <a:gd name="connsiteY0" fmla="*/ 0 h 366713"/>
              <a:gd name="connsiteX1" fmla="*/ 0 w 881063"/>
              <a:gd name="connsiteY1" fmla="*/ 366713 h 366713"/>
              <a:gd name="connsiteX0" fmla="*/ 881063 w 881063"/>
              <a:gd name="connsiteY0" fmla="*/ 0 h 366713"/>
              <a:gd name="connsiteX1" fmla="*/ 0 w 881063"/>
              <a:gd name="connsiteY1" fmla="*/ 366713 h 366713"/>
              <a:gd name="connsiteX0" fmla="*/ 881063 w 881063"/>
              <a:gd name="connsiteY0" fmla="*/ 0 h 366713"/>
              <a:gd name="connsiteX1" fmla="*/ 0 w 881063"/>
              <a:gd name="connsiteY1" fmla="*/ 366713 h 366713"/>
              <a:gd name="connsiteX0" fmla="*/ 871538 w 871538"/>
              <a:gd name="connsiteY0" fmla="*/ 0 h 357188"/>
              <a:gd name="connsiteX1" fmla="*/ 0 w 871538"/>
              <a:gd name="connsiteY1" fmla="*/ 357188 h 357188"/>
              <a:gd name="connsiteX0" fmla="*/ 893898 w 893898"/>
              <a:gd name="connsiteY0" fmla="*/ 0 h 357188"/>
              <a:gd name="connsiteX1" fmla="*/ 22360 w 893898"/>
              <a:gd name="connsiteY1" fmla="*/ 357188 h 357188"/>
              <a:gd name="connsiteX0" fmla="*/ 871538 w 871538"/>
              <a:gd name="connsiteY0" fmla="*/ 0 h 357188"/>
              <a:gd name="connsiteX1" fmla="*/ 0 w 871538"/>
              <a:gd name="connsiteY1" fmla="*/ 357188 h 357188"/>
              <a:gd name="connsiteX0" fmla="*/ 871538 w 871538"/>
              <a:gd name="connsiteY0" fmla="*/ 0 h 357188"/>
              <a:gd name="connsiteX1" fmla="*/ 0 w 871538"/>
              <a:gd name="connsiteY1" fmla="*/ 357188 h 357188"/>
              <a:gd name="connsiteX0" fmla="*/ 881063 w 881063"/>
              <a:gd name="connsiteY0" fmla="*/ 342557 h 347990"/>
              <a:gd name="connsiteX1" fmla="*/ 0 w 881063"/>
              <a:gd name="connsiteY1" fmla="*/ 32995 h 347990"/>
              <a:gd name="connsiteX0" fmla="*/ 881063 w 881063"/>
              <a:gd name="connsiteY0" fmla="*/ 309562 h 317727"/>
              <a:gd name="connsiteX1" fmla="*/ 0 w 881063"/>
              <a:gd name="connsiteY1" fmla="*/ 0 h 317727"/>
              <a:gd name="connsiteX0" fmla="*/ 866775 w 866775"/>
              <a:gd name="connsiteY0" fmla="*/ 309562 h 317727"/>
              <a:gd name="connsiteX1" fmla="*/ 0 w 866775"/>
              <a:gd name="connsiteY1" fmla="*/ 0 h 317727"/>
              <a:gd name="connsiteX0" fmla="*/ 866775 w 866775"/>
              <a:gd name="connsiteY0" fmla="*/ 309562 h 309562"/>
              <a:gd name="connsiteX1" fmla="*/ 0 w 866775"/>
              <a:gd name="connsiteY1" fmla="*/ 0 h 309562"/>
              <a:gd name="connsiteX0" fmla="*/ 866775 w 866775"/>
              <a:gd name="connsiteY0" fmla="*/ 309562 h 309562"/>
              <a:gd name="connsiteX1" fmla="*/ 0 w 866775"/>
              <a:gd name="connsiteY1" fmla="*/ 0 h 309562"/>
              <a:gd name="connsiteX0" fmla="*/ 657225 w 657225"/>
              <a:gd name="connsiteY0" fmla="*/ 266700 h 266700"/>
              <a:gd name="connsiteX1" fmla="*/ 0 w 657225"/>
              <a:gd name="connsiteY1" fmla="*/ 0 h 266700"/>
              <a:gd name="connsiteX0" fmla="*/ 657225 w 657225"/>
              <a:gd name="connsiteY0" fmla="*/ 266700 h 266700"/>
              <a:gd name="connsiteX1" fmla="*/ 0 w 657225"/>
              <a:gd name="connsiteY1" fmla="*/ 0 h 266700"/>
              <a:gd name="connsiteX0" fmla="*/ 657225 w 657225"/>
              <a:gd name="connsiteY0" fmla="*/ 266700 h 266700"/>
              <a:gd name="connsiteX1" fmla="*/ 0 w 657225"/>
              <a:gd name="connsiteY1" fmla="*/ 0 h 266700"/>
            </a:gdLst>
            <a:ahLst/>
            <a:cxnLst>
              <a:cxn ang="0">
                <a:pos x="connsiteX0" y="connsiteY0"/>
              </a:cxn>
              <a:cxn ang="0">
                <a:pos x="connsiteX1" y="connsiteY1"/>
              </a:cxn>
            </a:cxnLst>
            <a:rect l="l" t="t" r="r" b="b"/>
            <a:pathLst>
              <a:path w="657225" h="266700">
                <a:moveTo>
                  <a:pt x="657225" y="266700"/>
                </a:moveTo>
                <a:cubicBezTo>
                  <a:pt x="563561" y="174625"/>
                  <a:pt x="365124" y="87311"/>
                  <a:pt x="0" y="0"/>
                </a:cubicBezTo>
              </a:path>
            </a:pathLst>
          </a:custGeom>
          <a:noFill/>
          <a:ln w="9525" cap="rnd" cmpd="sng" algn="ctr">
            <a:solidFill>
              <a:schemeClr val="accent4"/>
            </a:solidFill>
            <a:prstDash val="solid"/>
            <a:round/>
            <a:headEnd type="triangle" w="sm" len="sm"/>
            <a:tailEnd type="none" w="sm" len="sm"/>
          </a:ln>
          <a:effectLst/>
        </p:spPr>
        <p:txBody>
          <a:bodyPr rtlCol="0" anchor="ctr"/>
          <a:lstStyle>
            <a:defPPr>
              <a:defRPr lang="de-DE"/>
            </a:defPPr>
            <a:lvl1pPr algn="l" rtl="0" eaLnBrk="0" fontAlgn="base" hangingPunct="0">
              <a:spcBef>
                <a:spcPct val="0"/>
              </a:spcBef>
              <a:spcAft>
                <a:spcPct val="20000"/>
              </a:spcAft>
              <a:defRPr sz="1600" kern="1200">
                <a:solidFill>
                  <a:schemeClr val="tx1"/>
                </a:solidFill>
                <a:latin typeface="Arial" charset="0"/>
                <a:ea typeface="+mn-ea"/>
                <a:cs typeface="+mn-cs"/>
              </a:defRPr>
            </a:lvl1pPr>
            <a:lvl2pPr marL="457200" algn="l" rtl="0" eaLnBrk="0" fontAlgn="base" hangingPunct="0">
              <a:spcBef>
                <a:spcPct val="0"/>
              </a:spcBef>
              <a:spcAft>
                <a:spcPct val="20000"/>
              </a:spcAft>
              <a:defRPr sz="1600" kern="1200">
                <a:solidFill>
                  <a:schemeClr val="tx1"/>
                </a:solidFill>
                <a:latin typeface="Arial" charset="0"/>
                <a:ea typeface="+mn-ea"/>
                <a:cs typeface="+mn-cs"/>
              </a:defRPr>
            </a:lvl2pPr>
            <a:lvl3pPr marL="914400" algn="l" rtl="0" eaLnBrk="0" fontAlgn="base" hangingPunct="0">
              <a:spcBef>
                <a:spcPct val="0"/>
              </a:spcBef>
              <a:spcAft>
                <a:spcPct val="20000"/>
              </a:spcAft>
              <a:defRPr sz="1600" kern="1200">
                <a:solidFill>
                  <a:schemeClr val="tx1"/>
                </a:solidFill>
                <a:latin typeface="Arial" charset="0"/>
                <a:ea typeface="+mn-ea"/>
                <a:cs typeface="+mn-cs"/>
              </a:defRPr>
            </a:lvl3pPr>
            <a:lvl4pPr marL="1371600" algn="l" rtl="0" eaLnBrk="0" fontAlgn="base" hangingPunct="0">
              <a:spcBef>
                <a:spcPct val="0"/>
              </a:spcBef>
              <a:spcAft>
                <a:spcPct val="20000"/>
              </a:spcAft>
              <a:defRPr sz="1600" kern="1200">
                <a:solidFill>
                  <a:schemeClr val="tx1"/>
                </a:solidFill>
                <a:latin typeface="Arial" charset="0"/>
                <a:ea typeface="+mn-ea"/>
                <a:cs typeface="+mn-cs"/>
              </a:defRPr>
            </a:lvl4pPr>
            <a:lvl5pPr marL="1828800" algn="l" rtl="0" eaLnBrk="0" fontAlgn="base" hangingPunct="0">
              <a:spcBef>
                <a:spcPct val="0"/>
              </a:spcBef>
              <a:spcAft>
                <a:spcPct val="2000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ctr"/>
            <a:endParaRPr lang="de-DE" sz="1100" dirty="0">
              <a:solidFill>
                <a:srgbClr val="000000"/>
              </a:solidFill>
              <a:latin typeface="Arial" panose="020B0604020202020204" pitchFamily="34" charset="0"/>
              <a:cs typeface="Arial" panose="020B0604020202020204" pitchFamily="34" charset="0"/>
            </a:endParaRPr>
          </a:p>
        </p:txBody>
      </p:sp>
      <p:sp>
        <p:nvSpPr>
          <p:cNvPr id="68" name="Freihandform 39"/>
          <p:cNvSpPr/>
          <p:nvPr/>
        </p:nvSpPr>
        <p:spPr bwMode="auto">
          <a:xfrm>
            <a:off x="3316224" y="4341113"/>
            <a:ext cx="708937" cy="163899"/>
          </a:xfrm>
          <a:custGeom>
            <a:avLst/>
            <a:gdLst>
              <a:gd name="connsiteX0" fmla="*/ 952500 w 952500"/>
              <a:gd name="connsiteY0" fmla="*/ 0 h 400050"/>
              <a:gd name="connsiteX1" fmla="*/ 0 w 952500"/>
              <a:gd name="connsiteY1" fmla="*/ 400050 h 400050"/>
              <a:gd name="connsiteX0" fmla="*/ 881063 w 881063"/>
              <a:gd name="connsiteY0" fmla="*/ 0 h 366713"/>
              <a:gd name="connsiteX1" fmla="*/ 0 w 881063"/>
              <a:gd name="connsiteY1" fmla="*/ 366713 h 366713"/>
              <a:gd name="connsiteX0" fmla="*/ 881063 w 881063"/>
              <a:gd name="connsiteY0" fmla="*/ 0 h 366713"/>
              <a:gd name="connsiteX1" fmla="*/ 0 w 881063"/>
              <a:gd name="connsiteY1" fmla="*/ 366713 h 366713"/>
              <a:gd name="connsiteX0" fmla="*/ 881063 w 881063"/>
              <a:gd name="connsiteY0" fmla="*/ 0 h 366713"/>
              <a:gd name="connsiteX1" fmla="*/ 0 w 881063"/>
              <a:gd name="connsiteY1" fmla="*/ 366713 h 366713"/>
              <a:gd name="connsiteX0" fmla="*/ 871538 w 871538"/>
              <a:gd name="connsiteY0" fmla="*/ 0 h 357188"/>
              <a:gd name="connsiteX1" fmla="*/ 0 w 871538"/>
              <a:gd name="connsiteY1" fmla="*/ 357188 h 357188"/>
              <a:gd name="connsiteX0" fmla="*/ 893898 w 893898"/>
              <a:gd name="connsiteY0" fmla="*/ 0 h 357188"/>
              <a:gd name="connsiteX1" fmla="*/ 22360 w 893898"/>
              <a:gd name="connsiteY1" fmla="*/ 357188 h 357188"/>
              <a:gd name="connsiteX0" fmla="*/ 871538 w 871538"/>
              <a:gd name="connsiteY0" fmla="*/ 0 h 357188"/>
              <a:gd name="connsiteX1" fmla="*/ 0 w 871538"/>
              <a:gd name="connsiteY1" fmla="*/ 357188 h 357188"/>
              <a:gd name="connsiteX0" fmla="*/ 871538 w 871538"/>
              <a:gd name="connsiteY0" fmla="*/ 0 h 357188"/>
              <a:gd name="connsiteX1" fmla="*/ 0 w 871538"/>
              <a:gd name="connsiteY1" fmla="*/ 357188 h 357188"/>
              <a:gd name="connsiteX0" fmla="*/ 523876 w 523876"/>
              <a:gd name="connsiteY0" fmla="*/ 585786 h 589576"/>
              <a:gd name="connsiteX1" fmla="*/ 0 w 523876"/>
              <a:gd name="connsiteY1" fmla="*/ 23811 h 589576"/>
              <a:gd name="connsiteX0" fmla="*/ 43095 w 1032559"/>
              <a:gd name="connsiteY0" fmla="*/ 0 h 161925"/>
              <a:gd name="connsiteX1" fmla="*/ 1019406 w 1032559"/>
              <a:gd name="connsiteY1" fmla="*/ 161925 h 161925"/>
              <a:gd name="connsiteX0" fmla="*/ 55522 w 1031833"/>
              <a:gd name="connsiteY0" fmla="*/ 0 h 161925"/>
              <a:gd name="connsiteX1" fmla="*/ 1031833 w 1031833"/>
              <a:gd name="connsiteY1" fmla="*/ 161925 h 161925"/>
              <a:gd name="connsiteX0" fmla="*/ 0 w 976311"/>
              <a:gd name="connsiteY0" fmla="*/ 0 h 161925"/>
              <a:gd name="connsiteX1" fmla="*/ 976311 w 976311"/>
              <a:gd name="connsiteY1" fmla="*/ 161925 h 161925"/>
              <a:gd name="connsiteX0" fmla="*/ 0 w 966786"/>
              <a:gd name="connsiteY0" fmla="*/ 0 h 161925"/>
              <a:gd name="connsiteX1" fmla="*/ 966786 w 966786"/>
              <a:gd name="connsiteY1" fmla="*/ 161925 h 161925"/>
              <a:gd name="connsiteX0" fmla="*/ 0 w 966786"/>
              <a:gd name="connsiteY0" fmla="*/ 0 h 161925"/>
              <a:gd name="connsiteX1" fmla="*/ 966786 w 966786"/>
              <a:gd name="connsiteY1" fmla="*/ 161925 h 161925"/>
              <a:gd name="connsiteX0" fmla="*/ 0 w 966786"/>
              <a:gd name="connsiteY0" fmla="*/ 0 h 161925"/>
              <a:gd name="connsiteX1" fmla="*/ 966786 w 966786"/>
              <a:gd name="connsiteY1" fmla="*/ 161925 h 161925"/>
              <a:gd name="connsiteX0" fmla="*/ 0 w 1216817"/>
              <a:gd name="connsiteY0" fmla="*/ 0 h 233362"/>
              <a:gd name="connsiteX1" fmla="*/ 1216817 w 1216817"/>
              <a:gd name="connsiteY1" fmla="*/ 233362 h 233362"/>
              <a:gd name="connsiteX0" fmla="*/ 0 w 1216817"/>
              <a:gd name="connsiteY0" fmla="*/ 0 h 233362"/>
              <a:gd name="connsiteX1" fmla="*/ 1216817 w 1216817"/>
              <a:gd name="connsiteY1" fmla="*/ 233362 h 233362"/>
              <a:gd name="connsiteX0" fmla="*/ 0 w 1216817"/>
              <a:gd name="connsiteY0" fmla="*/ 0 h 233362"/>
              <a:gd name="connsiteX1" fmla="*/ 1216817 w 1216817"/>
              <a:gd name="connsiteY1" fmla="*/ 233362 h 233362"/>
              <a:gd name="connsiteX0" fmla="*/ 0 w 1216817"/>
              <a:gd name="connsiteY0" fmla="*/ 0 h 233362"/>
              <a:gd name="connsiteX1" fmla="*/ 1216817 w 1216817"/>
              <a:gd name="connsiteY1" fmla="*/ 233362 h 233362"/>
            </a:gdLst>
            <a:ahLst/>
            <a:cxnLst>
              <a:cxn ang="0">
                <a:pos x="connsiteX0" y="connsiteY0"/>
              </a:cxn>
              <a:cxn ang="0">
                <a:pos x="connsiteX1" y="connsiteY1"/>
              </a:cxn>
            </a:cxnLst>
            <a:rect l="l" t="t" r="r" b="b"/>
            <a:pathLst>
              <a:path w="1216817" h="233362">
                <a:moveTo>
                  <a:pt x="0" y="0"/>
                </a:moveTo>
                <a:cubicBezTo>
                  <a:pt x="311148" y="141287"/>
                  <a:pt x="967579" y="211136"/>
                  <a:pt x="1216817" y="233362"/>
                </a:cubicBezTo>
              </a:path>
            </a:pathLst>
          </a:custGeom>
          <a:noFill/>
          <a:ln w="9525" cap="rnd" cmpd="sng" algn="ctr">
            <a:solidFill>
              <a:schemeClr val="accent4"/>
            </a:solidFill>
            <a:prstDash val="solid"/>
            <a:round/>
            <a:headEnd type="triangle" w="sm" len="sm"/>
            <a:tailEnd type="none" w="sm" len="sm"/>
          </a:ln>
          <a:effectLst/>
        </p:spPr>
        <p:txBody>
          <a:bodyPr rtlCol="0" anchor="ctr"/>
          <a:lstStyle>
            <a:defPPr>
              <a:defRPr lang="de-DE"/>
            </a:defPPr>
            <a:lvl1pPr algn="l" rtl="0" eaLnBrk="0" fontAlgn="base" hangingPunct="0">
              <a:spcBef>
                <a:spcPct val="0"/>
              </a:spcBef>
              <a:spcAft>
                <a:spcPct val="20000"/>
              </a:spcAft>
              <a:defRPr sz="1600" kern="1200">
                <a:solidFill>
                  <a:schemeClr val="tx1"/>
                </a:solidFill>
                <a:latin typeface="Arial" charset="0"/>
                <a:ea typeface="+mn-ea"/>
                <a:cs typeface="+mn-cs"/>
              </a:defRPr>
            </a:lvl1pPr>
            <a:lvl2pPr marL="457200" algn="l" rtl="0" eaLnBrk="0" fontAlgn="base" hangingPunct="0">
              <a:spcBef>
                <a:spcPct val="0"/>
              </a:spcBef>
              <a:spcAft>
                <a:spcPct val="20000"/>
              </a:spcAft>
              <a:defRPr sz="1600" kern="1200">
                <a:solidFill>
                  <a:schemeClr val="tx1"/>
                </a:solidFill>
                <a:latin typeface="Arial" charset="0"/>
                <a:ea typeface="+mn-ea"/>
                <a:cs typeface="+mn-cs"/>
              </a:defRPr>
            </a:lvl2pPr>
            <a:lvl3pPr marL="914400" algn="l" rtl="0" eaLnBrk="0" fontAlgn="base" hangingPunct="0">
              <a:spcBef>
                <a:spcPct val="0"/>
              </a:spcBef>
              <a:spcAft>
                <a:spcPct val="20000"/>
              </a:spcAft>
              <a:defRPr sz="1600" kern="1200">
                <a:solidFill>
                  <a:schemeClr val="tx1"/>
                </a:solidFill>
                <a:latin typeface="Arial" charset="0"/>
                <a:ea typeface="+mn-ea"/>
                <a:cs typeface="+mn-cs"/>
              </a:defRPr>
            </a:lvl3pPr>
            <a:lvl4pPr marL="1371600" algn="l" rtl="0" eaLnBrk="0" fontAlgn="base" hangingPunct="0">
              <a:spcBef>
                <a:spcPct val="0"/>
              </a:spcBef>
              <a:spcAft>
                <a:spcPct val="20000"/>
              </a:spcAft>
              <a:defRPr sz="1600" kern="1200">
                <a:solidFill>
                  <a:schemeClr val="tx1"/>
                </a:solidFill>
                <a:latin typeface="Arial" charset="0"/>
                <a:ea typeface="+mn-ea"/>
                <a:cs typeface="+mn-cs"/>
              </a:defRPr>
            </a:lvl4pPr>
            <a:lvl5pPr marL="1828800" algn="l" rtl="0" eaLnBrk="0" fontAlgn="base" hangingPunct="0">
              <a:spcBef>
                <a:spcPct val="0"/>
              </a:spcBef>
              <a:spcAft>
                <a:spcPct val="2000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ctr"/>
            <a:endParaRPr lang="de-DE" sz="1100" dirty="0">
              <a:solidFill>
                <a:srgbClr val="000000"/>
              </a:solidFill>
              <a:latin typeface="Arial" panose="020B0604020202020204" pitchFamily="34" charset="0"/>
              <a:cs typeface="Arial" panose="020B0604020202020204" pitchFamily="34" charset="0"/>
            </a:endParaRPr>
          </a:p>
        </p:txBody>
      </p:sp>
      <p:pic>
        <p:nvPicPr>
          <p:cNvPr id="69" name="Grafik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10664" y="5016727"/>
            <a:ext cx="1312994" cy="942054"/>
          </a:xfrm>
          <a:prstGeom prst="roundRect">
            <a:avLst>
              <a:gd name="adj" fmla="val 6006"/>
            </a:avLst>
          </a:prstGeom>
          <a:solidFill>
            <a:schemeClr val="bg1">
              <a:alpha val="60000"/>
            </a:schemeClr>
          </a:solidFill>
          <a:ln w="9525">
            <a:solidFill>
              <a:srgbClr val="345996"/>
            </a:solidFill>
            <a:prstDash val="solid"/>
          </a:ln>
        </p:spPr>
      </p:pic>
      <p:pic>
        <p:nvPicPr>
          <p:cNvPr id="70" name="Grafik 1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50445" y="4283873"/>
            <a:ext cx="1345294" cy="942055"/>
          </a:xfrm>
          <a:prstGeom prst="roundRect">
            <a:avLst>
              <a:gd name="adj" fmla="val 6006"/>
            </a:avLst>
          </a:prstGeom>
          <a:solidFill>
            <a:schemeClr val="bg1">
              <a:alpha val="60000"/>
            </a:schemeClr>
          </a:solidFill>
          <a:ln w="9525">
            <a:solidFill>
              <a:srgbClr val="345996"/>
            </a:solidFill>
            <a:prstDash val="solid"/>
          </a:ln>
        </p:spPr>
      </p:pic>
      <p:sp>
        <p:nvSpPr>
          <p:cNvPr id="72" name="Content Placeholder 2"/>
          <p:cNvSpPr txBox="1">
            <a:spLocks/>
          </p:cNvSpPr>
          <p:nvPr/>
        </p:nvSpPr>
        <p:spPr>
          <a:xfrm>
            <a:off x="1664151" y="1721529"/>
            <a:ext cx="6676260" cy="1001995"/>
          </a:xfrm>
          <a:prstGeom prst="rect">
            <a:avLst/>
          </a:prstGeom>
        </p:spPr>
        <p:txBody>
          <a:bodyPr/>
          <a:lstStyle>
            <a:lvl1pPr marL="0" marR="0" indent="0" algn="l" defTabSz="914400" rtl="0" eaLnBrk="1" fontAlgn="base" latinLnBrk="0" hangingPunct="1">
              <a:lnSpc>
                <a:spcPct val="100000"/>
              </a:lnSpc>
              <a:spcBef>
                <a:spcPct val="0"/>
              </a:spcBef>
              <a:spcAft>
                <a:spcPts val="600"/>
              </a:spcAft>
              <a:buClr>
                <a:srgbClr val="000000"/>
              </a:buClr>
              <a:buSzTx/>
              <a:buFontTx/>
              <a:buNone/>
              <a:tabLst/>
              <a:defRPr sz="1600" b="0">
                <a:solidFill>
                  <a:schemeClr val="tx1"/>
                </a:solidFill>
                <a:latin typeface="+mn-lt"/>
                <a:ea typeface="+mn-ea"/>
                <a:cs typeface="+mn-cs"/>
              </a:defRPr>
            </a:lvl1pPr>
            <a:lvl2pPr marL="216000" marR="0" indent="-216000" algn="l" defTabSz="914400" rtl="0" eaLnBrk="1" fontAlgn="base" latinLnBrk="0" hangingPunct="1">
              <a:lnSpc>
                <a:spcPct val="100000"/>
              </a:lnSpc>
              <a:spcBef>
                <a:spcPct val="0"/>
              </a:spcBef>
              <a:spcAft>
                <a:spcPts val="600"/>
              </a:spcAft>
              <a:buClr>
                <a:srgbClr val="000000"/>
              </a:buClr>
              <a:buSzTx/>
              <a:buFont typeface="+mj-lt"/>
              <a:buAutoNum type="arabicPeriod"/>
              <a:tabLst>
                <a:tab pos="361950" algn="l"/>
              </a:tabLst>
              <a:defRPr sz="1600" b="0">
                <a:solidFill>
                  <a:schemeClr val="tx1"/>
                </a:solidFill>
                <a:latin typeface="+mn-lt"/>
              </a:defRPr>
            </a:lvl2pPr>
            <a:lvl3pPr marL="432000" marR="0" indent="-216000" algn="l" defTabSz="889000" rtl="0" eaLnBrk="1" fontAlgn="base" latinLnBrk="0" hangingPunct="1">
              <a:lnSpc>
                <a:spcPct val="100000"/>
              </a:lnSpc>
              <a:spcBef>
                <a:spcPct val="0"/>
              </a:spcBef>
              <a:spcAft>
                <a:spcPts val="600"/>
              </a:spcAft>
              <a:buClr>
                <a:srgbClr val="000000"/>
              </a:buClr>
              <a:buSzTx/>
              <a:buFont typeface="+mj-lt"/>
              <a:buAutoNum type="alphaLcPeriod"/>
              <a:tabLst/>
              <a:defRPr sz="1600" b="0">
                <a:solidFill>
                  <a:schemeClr val="tx1"/>
                </a:solidFill>
                <a:latin typeface="+mn-lt"/>
              </a:defRPr>
            </a:lvl3pPr>
            <a:lvl4pPr marL="648000" indent="-216000" algn="l" rtl="0" eaLnBrk="1" fontAlgn="base" hangingPunct="1">
              <a:lnSpc>
                <a:spcPct val="100000"/>
              </a:lnSpc>
              <a:spcBef>
                <a:spcPct val="0"/>
              </a:spcBef>
              <a:spcAft>
                <a:spcPts val="600"/>
              </a:spcAft>
              <a:buClr>
                <a:srgbClr val="000000"/>
              </a:buClr>
              <a:buFont typeface="+mj-lt"/>
              <a:buAutoNum type="romanLcPeriod"/>
              <a:defRPr sz="1600" b="0">
                <a:solidFill>
                  <a:schemeClr val="tx1"/>
                </a:solidFill>
                <a:latin typeface="+mn-lt"/>
              </a:defRPr>
            </a:lvl4pPr>
            <a:lvl5pPr marL="1346200" indent="-177800" algn="l" rtl="0" eaLnBrk="1" fontAlgn="base" hangingPunct="1">
              <a:spcBef>
                <a:spcPct val="0"/>
              </a:spcBef>
              <a:spcAft>
                <a:spcPct val="20000"/>
              </a:spcAft>
              <a:buClr>
                <a:schemeClr val="tx1"/>
              </a:buClr>
              <a:buChar char="-"/>
              <a:defRPr sz="1600">
                <a:solidFill>
                  <a:schemeClr val="tx1"/>
                </a:solidFill>
                <a:latin typeface="+mn-lt"/>
              </a:defRPr>
            </a:lvl5pPr>
            <a:lvl6pPr marL="1803400" indent="-177800" algn="l" rtl="0" eaLnBrk="1" fontAlgn="base" hangingPunct="1">
              <a:spcBef>
                <a:spcPct val="0"/>
              </a:spcBef>
              <a:spcAft>
                <a:spcPct val="20000"/>
              </a:spcAft>
              <a:buClr>
                <a:schemeClr val="tx1"/>
              </a:buClr>
              <a:buChar char="-"/>
              <a:defRPr sz="1600">
                <a:solidFill>
                  <a:schemeClr val="tx1"/>
                </a:solidFill>
                <a:latin typeface="+mn-lt"/>
              </a:defRPr>
            </a:lvl6pPr>
            <a:lvl7pPr marL="2260600" indent="-177800" algn="l" rtl="0" eaLnBrk="1" fontAlgn="base" hangingPunct="1">
              <a:spcBef>
                <a:spcPct val="0"/>
              </a:spcBef>
              <a:spcAft>
                <a:spcPct val="20000"/>
              </a:spcAft>
              <a:buClr>
                <a:schemeClr val="tx1"/>
              </a:buClr>
              <a:buChar char="-"/>
              <a:defRPr sz="1600">
                <a:solidFill>
                  <a:schemeClr val="tx1"/>
                </a:solidFill>
                <a:latin typeface="+mn-lt"/>
              </a:defRPr>
            </a:lvl7pPr>
            <a:lvl8pPr marL="2717800" indent="-177800" algn="l" rtl="0" eaLnBrk="1" fontAlgn="base" hangingPunct="1">
              <a:spcBef>
                <a:spcPct val="0"/>
              </a:spcBef>
              <a:spcAft>
                <a:spcPct val="20000"/>
              </a:spcAft>
              <a:buClr>
                <a:schemeClr val="tx1"/>
              </a:buClr>
              <a:buChar char="-"/>
              <a:defRPr sz="1600">
                <a:solidFill>
                  <a:schemeClr val="tx1"/>
                </a:solidFill>
                <a:latin typeface="+mn-lt"/>
              </a:defRPr>
            </a:lvl8pPr>
            <a:lvl9pPr marL="3175000" indent="-177800" algn="l" rtl="0" eaLnBrk="1" fontAlgn="base" hangingPunct="1">
              <a:spcBef>
                <a:spcPct val="0"/>
              </a:spcBef>
              <a:spcAft>
                <a:spcPct val="20000"/>
              </a:spcAft>
              <a:buClr>
                <a:schemeClr val="tx1"/>
              </a:buClr>
              <a:buChar char="-"/>
              <a:defRPr sz="1600">
                <a:solidFill>
                  <a:schemeClr val="tx1"/>
                </a:solidFill>
                <a:latin typeface="+mn-lt"/>
              </a:defRPr>
            </a:lvl9pPr>
          </a:lstStyle>
          <a:p>
            <a:pPr marL="0" lvl="2" indent="0">
              <a:spcAft>
                <a:spcPts val="0"/>
              </a:spcAft>
              <a:buFont typeface="+mj-lt"/>
              <a:buNone/>
            </a:pPr>
            <a:r>
              <a:rPr lang="de-DE" sz="1100" b="1" u="sng" kern="0" dirty="0" smtClean="0">
                <a:solidFill>
                  <a:srgbClr val="000000"/>
                </a:solidFill>
                <a:latin typeface="Arial" panose="020B0604020202020204" pitchFamily="34" charset="0"/>
                <a:cs typeface="Arial" panose="020B0604020202020204" pitchFamily="34" charset="0"/>
              </a:rPr>
              <a:t>Methode und Nutzen</a:t>
            </a:r>
            <a:r>
              <a:rPr lang="de-DE" sz="1100" b="1" kern="0" dirty="0" smtClean="0">
                <a:solidFill>
                  <a:srgbClr val="000000"/>
                </a:solidFill>
                <a:latin typeface="Arial" panose="020B0604020202020204" pitchFamily="34" charset="0"/>
                <a:cs typeface="Arial" panose="020B0604020202020204" pitchFamily="34" charset="0"/>
              </a:rPr>
              <a:t>: </a:t>
            </a:r>
            <a:r>
              <a:rPr lang="de-DE" sz="1100" dirty="0">
                <a:solidFill>
                  <a:srgbClr val="000000"/>
                </a:solidFill>
                <a:latin typeface="Arial" panose="020B0604020202020204" pitchFamily="34" charset="0"/>
                <a:cs typeface="Arial" panose="020B0604020202020204" pitchFamily="34" charset="0"/>
              </a:rPr>
              <a:t>Die Sensitivitätsdiagnose</a:t>
            </a:r>
            <a:r>
              <a:rPr lang="de-DE" sz="1100" baseline="30000" dirty="0">
                <a:solidFill>
                  <a:srgbClr val="000000"/>
                </a:solidFill>
                <a:latin typeface="Arial" panose="020B0604020202020204" pitchFamily="34" charset="0"/>
                <a:cs typeface="Arial" panose="020B0604020202020204" pitchFamily="34" charset="0"/>
              </a:rPr>
              <a:t>®</a:t>
            </a:r>
            <a:r>
              <a:rPr lang="de-DE" sz="1100" dirty="0">
                <a:solidFill>
                  <a:srgbClr val="000000"/>
                </a:solidFill>
                <a:latin typeface="Arial" panose="020B0604020202020204" pitchFamily="34" charset="0"/>
                <a:cs typeface="Arial" panose="020B0604020202020204" pitchFamily="34" charset="0"/>
              </a:rPr>
              <a:t> </a:t>
            </a:r>
            <a:r>
              <a:rPr lang="de-DE" sz="1100" dirty="0" smtClean="0">
                <a:solidFill>
                  <a:srgbClr val="000000"/>
                </a:solidFill>
                <a:latin typeface="Arial" panose="020B0604020202020204" pitchFamily="34" charset="0"/>
                <a:cs typeface="Arial" panose="020B0604020202020204" pitchFamily="34" charset="0"/>
              </a:rPr>
              <a:t>ist </a:t>
            </a:r>
            <a:r>
              <a:rPr lang="de-DE" sz="1100" dirty="0">
                <a:solidFill>
                  <a:srgbClr val="000000"/>
                </a:solidFill>
                <a:latin typeface="Arial" panose="020B0604020202020204" pitchFamily="34" charset="0"/>
                <a:cs typeface="Arial" panose="020B0604020202020204" pitchFamily="34" charset="0"/>
              </a:rPr>
              <a:t>ein effizientes </a:t>
            </a:r>
            <a:r>
              <a:rPr lang="de-DE" sz="1100" dirty="0" smtClean="0">
                <a:solidFill>
                  <a:srgbClr val="000000"/>
                </a:solidFill>
                <a:latin typeface="Arial" panose="020B0604020202020204" pitchFamily="34" charset="0"/>
                <a:cs typeface="Arial" panose="020B0604020202020204" pitchFamily="34" charset="0"/>
              </a:rPr>
              <a:t>Werkzeug</a:t>
            </a:r>
            <a:r>
              <a:rPr lang="de-DE" sz="1100" dirty="0">
                <a:solidFill>
                  <a:srgbClr val="000000"/>
                </a:solidFill>
                <a:latin typeface="Arial" panose="020B0604020202020204" pitchFamily="34" charset="0"/>
                <a:cs typeface="Arial" panose="020B0604020202020204" pitchFamily="34" charset="0"/>
              </a:rPr>
              <a:t>, um die Vernetzung in komplexen Systemen zu finden und zu visualisieren. Mit dem computerbasierten Tool ist es möglich, Erkenntnisse über komplexe Umwelten, Märkte, Innovationen, </a:t>
            </a:r>
            <a:r>
              <a:rPr lang="de-DE" sz="1100" dirty="0" smtClean="0">
                <a:solidFill>
                  <a:srgbClr val="000000"/>
                </a:solidFill>
                <a:latin typeface="Arial" panose="020B0604020202020204" pitchFamily="34" charset="0"/>
                <a:cs typeface="Arial" panose="020B0604020202020204" pitchFamily="34" charset="0"/>
              </a:rPr>
              <a:t>Strategie, Struktur, Organisationskultur </a:t>
            </a:r>
            <a:r>
              <a:rPr lang="de-DE" sz="1100" dirty="0">
                <a:solidFill>
                  <a:srgbClr val="000000"/>
                </a:solidFill>
                <a:latin typeface="Arial" panose="020B0604020202020204" pitchFamily="34" charset="0"/>
                <a:cs typeface="Arial" panose="020B0604020202020204" pitchFamily="34" charset="0"/>
              </a:rPr>
              <a:t>und mehr zu integrieren. </a:t>
            </a:r>
            <a:r>
              <a:rPr lang="de-DE" sz="1100" dirty="0" smtClean="0">
                <a:solidFill>
                  <a:srgbClr val="000000"/>
                </a:solidFill>
                <a:latin typeface="Arial" panose="020B0604020202020204" pitchFamily="34" charset="0"/>
                <a:cs typeface="Arial" panose="020B0604020202020204" pitchFamily="34" charset="0"/>
              </a:rPr>
              <a:t>Die </a:t>
            </a:r>
            <a:r>
              <a:rPr lang="de-DE" sz="1100" dirty="0">
                <a:solidFill>
                  <a:srgbClr val="000000"/>
                </a:solidFill>
                <a:latin typeface="Arial" panose="020B0604020202020204" pitchFamily="34" charset="0"/>
                <a:cs typeface="Arial" panose="020B0604020202020204" pitchFamily="34" charset="0"/>
              </a:rPr>
              <a:t>Diagnose </a:t>
            </a:r>
            <a:r>
              <a:rPr lang="de-DE" sz="1100" b="1" dirty="0">
                <a:solidFill>
                  <a:srgbClr val="000000"/>
                </a:solidFill>
                <a:latin typeface="Arial" panose="020B0604020202020204" pitchFamily="34" charset="0"/>
                <a:cs typeface="Arial" panose="020B0604020202020204" pitchFamily="34" charset="0"/>
              </a:rPr>
              <a:t>enthüllt die leistungsstärksten Steuerungshebel für die Entwicklung des Systems in die gewünschte Richtung mit dem geringstmöglichen </a:t>
            </a:r>
            <a:r>
              <a:rPr lang="de-DE" sz="1100" b="1" dirty="0" smtClean="0">
                <a:solidFill>
                  <a:srgbClr val="000000"/>
                </a:solidFill>
                <a:latin typeface="Arial" panose="020B0604020202020204" pitchFamily="34" charset="0"/>
                <a:cs typeface="Arial" panose="020B0604020202020204" pitchFamily="34" charset="0"/>
              </a:rPr>
              <a:t>Ressourcenaufwand</a:t>
            </a:r>
            <a:r>
              <a:rPr lang="de-DE" sz="1100" dirty="0">
                <a:solidFill>
                  <a:srgbClr val="000000"/>
                </a:solidFill>
                <a:latin typeface="Arial" panose="020B0604020202020204" pitchFamily="34" charset="0"/>
                <a:cs typeface="Arial" panose="020B0604020202020204" pitchFamily="34" charset="0"/>
              </a:rPr>
              <a:t> </a:t>
            </a:r>
            <a:r>
              <a:rPr lang="de-DE" sz="1100" dirty="0" smtClean="0">
                <a:solidFill>
                  <a:srgbClr val="000000"/>
                </a:solidFill>
                <a:latin typeface="Arial" panose="020B0604020202020204" pitchFamily="34" charset="0"/>
                <a:cs typeface="Arial" panose="020B0604020202020204" pitchFamily="34" charset="0"/>
              </a:rPr>
              <a:t>(detailliertere Vorgehensbeschreibung siehe </a:t>
            </a:r>
            <a:r>
              <a:rPr lang="de-DE" sz="1100" dirty="0" smtClean="0">
                <a:solidFill>
                  <a:srgbClr val="00B050"/>
                </a:solidFill>
                <a:latin typeface="Arial" panose="020B0604020202020204" pitchFamily="34" charset="0"/>
                <a:cs typeface="Arial" panose="020B0604020202020204" pitchFamily="34" charset="0"/>
                <a:hlinkClick r:id="" action="ppaction://noaction"/>
              </a:rPr>
              <a:t>hier</a:t>
            </a:r>
            <a:r>
              <a:rPr lang="de-DE" sz="1100" dirty="0" smtClean="0">
                <a:solidFill>
                  <a:srgbClr val="000000"/>
                </a:solidFill>
                <a:latin typeface="Arial" panose="020B0604020202020204" pitchFamily="34" charset="0"/>
                <a:cs typeface="Arial" panose="020B0604020202020204" pitchFamily="34" charset="0"/>
              </a:rPr>
              <a:t>).</a:t>
            </a:r>
            <a:endParaRPr lang="de-DE" sz="1100" b="1" dirty="0">
              <a:solidFill>
                <a:srgbClr val="000000"/>
              </a:solidFill>
              <a:latin typeface="Arial" panose="020B0604020202020204" pitchFamily="34" charset="0"/>
              <a:cs typeface="Arial" panose="020B0604020202020204" pitchFamily="34" charset="0"/>
            </a:endParaRPr>
          </a:p>
        </p:txBody>
      </p:sp>
      <p:pic>
        <p:nvPicPr>
          <p:cNvPr id="23" name="Grafik 2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157679" y="4626168"/>
            <a:ext cx="1312994" cy="942054"/>
          </a:xfrm>
          <a:prstGeom prst="roundRect">
            <a:avLst>
              <a:gd name="adj" fmla="val 6006"/>
            </a:avLst>
          </a:prstGeom>
          <a:solidFill>
            <a:schemeClr val="bg1">
              <a:alpha val="60000"/>
            </a:schemeClr>
          </a:solidFill>
          <a:ln w="9525">
            <a:solidFill>
              <a:srgbClr val="345996"/>
            </a:solidFill>
            <a:prstDash val="solid"/>
          </a:ln>
        </p:spPr>
      </p:pic>
      <p:sp>
        <p:nvSpPr>
          <p:cNvPr id="2" name="Rechteck 1"/>
          <p:cNvSpPr/>
          <p:nvPr/>
        </p:nvSpPr>
        <p:spPr>
          <a:xfrm>
            <a:off x="1075611" y="6282612"/>
            <a:ext cx="8134348" cy="261610"/>
          </a:xfrm>
          <a:prstGeom prst="rect">
            <a:avLst/>
          </a:prstGeom>
        </p:spPr>
        <p:txBody>
          <a:bodyPr wrap="square">
            <a:spAutoFit/>
          </a:bodyPr>
          <a:lstStyle/>
          <a:p>
            <a:r>
              <a:rPr lang="de-DE" sz="1100" dirty="0" smtClean="0">
                <a:latin typeface="Arial" panose="020B0604020202020204" pitchFamily="34" charset="0"/>
                <a:cs typeface="Arial" panose="020B0604020202020204" pitchFamily="34" charset="0"/>
              </a:rPr>
              <a:t>* Basierend auf den Diskussionen und Ergebnissen der Syntegration; Diagnose der systemischen Zusammenhänge durch Malik</a:t>
            </a:r>
            <a:endParaRPr lang="de-DE"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04018195"/>
      </p:ext>
    </p:extLst>
  </p:cSld>
  <p:clrMapOvr>
    <a:masterClrMapping/>
  </p:clrMapOvr>
  <p:transition spd="slow"/>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spcBef>
                <a:spcPts val="1200"/>
              </a:spcBef>
            </a:pPr>
            <a:r>
              <a:rPr lang="de-DE" dirty="0" smtClean="0"/>
              <a:t>38 TeilnehmerInnen diskutieren und gestalten die Zukunft …</a:t>
            </a:r>
            <a:r>
              <a:rPr lang="de-DE" sz="1600" b="0" dirty="0" smtClean="0"/>
              <a:t/>
            </a:r>
            <a:br>
              <a:rPr lang="de-DE" sz="1600" b="0" dirty="0" smtClean="0"/>
            </a:br>
            <a:endParaRPr lang="de-DE" b="0" dirty="0"/>
          </a:p>
        </p:txBody>
      </p:sp>
      <p:sp>
        <p:nvSpPr>
          <p:cNvPr id="4" name="Textplatzhalter 3"/>
          <p:cNvSpPr>
            <a:spLocks noGrp="1"/>
          </p:cNvSpPr>
          <p:nvPr>
            <p:ph type="body" sz="quarter" idx="10"/>
          </p:nvPr>
        </p:nvSpPr>
        <p:spPr>
          <a:xfrm>
            <a:off x="631824" y="6632575"/>
            <a:ext cx="8642351" cy="156518"/>
          </a:xfrm>
        </p:spPr>
        <p:txBody>
          <a:bodyPr>
            <a:normAutofit/>
          </a:bodyPr>
          <a:lstStyle/>
          <a:p>
            <a:r>
              <a:rPr lang="de-DE" dirty="0" smtClean="0"/>
              <a:t>Bild: Tag 3 der Syntegration. Die Liste aller </a:t>
            </a:r>
            <a:r>
              <a:rPr lang="de-DE" dirty="0" err="1" smtClean="0"/>
              <a:t>TeilnehmerInnen</a:t>
            </a:r>
            <a:r>
              <a:rPr lang="de-DE" dirty="0" smtClean="0"/>
              <a:t> finden sie auf der folgenden Seite </a:t>
            </a:r>
            <a:endParaRPr lang="de-DE" dirty="0"/>
          </a:p>
        </p:txBody>
      </p:sp>
      <p:sp>
        <p:nvSpPr>
          <p:cNvPr id="7" name="Textfeld 6"/>
          <p:cNvSpPr txBox="1"/>
          <p:nvPr/>
        </p:nvSpPr>
        <p:spPr>
          <a:xfrm>
            <a:off x="2099184" y="6140904"/>
            <a:ext cx="4982967" cy="288147"/>
          </a:xfrm>
          <a:prstGeom prst="rect">
            <a:avLst/>
          </a:prstGeom>
          <a:ln algn="ctr"/>
        </p:spPr>
        <p:txBody>
          <a:bodyPr wrap="square" lIns="36000" tIns="36000" rIns="36000" bIns="36000" rtlCol="0" anchor="t">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400" b="0"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Mannheim, 18. Juni 2019</a:t>
            </a:r>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l="6805" t="9179" r="4150" b="29795"/>
          <a:stretch/>
        </p:blipFill>
        <p:spPr>
          <a:xfrm>
            <a:off x="394332" y="1306148"/>
            <a:ext cx="9117334" cy="4686356"/>
          </a:xfrm>
          <a:prstGeom prst="roundRect">
            <a:avLst>
              <a:gd name="adj" fmla="val 7451"/>
            </a:avLst>
          </a:prstGeom>
        </p:spPr>
      </p:pic>
      <p:pic>
        <p:nvPicPr>
          <p:cNvPr id="11" name="Grafik 10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716375">
            <a:off x="7758525" y="5210268"/>
            <a:ext cx="1388795" cy="1371600"/>
          </a:xfrm>
          <a:prstGeom prst="rect">
            <a:avLst/>
          </a:prstGeom>
        </p:spPr>
      </p:pic>
    </p:spTree>
    <p:extLst>
      <p:ext uri="{BB962C8B-B14F-4D97-AF65-F5344CB8AC3E}">
        <p14:creationId xmlns:p14="http://schemas.microsoft.com/office/powerpoint/2010/main" val="452773660"/>
      </p:ext>
    </p:extLst>
  </p:cSld>
  <p:clrMapOvr>
    <a:masterClrMapping/>
  </p:clrMapOvr>
  <p:transition spd="slow"/>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31825" y="477378"/>
            <a:ext cx="8642350" cy="898267"/>
          </a:xfrm>
        </p:spPr>
        <p:txBody>
          <a:bodyPr/>
          <a:lstStyle/>
          <a:p>
            <a:pPr>
              <a:spcBef>
                <a:spcPts val="1200"/>
              </a:spcBef>
              <a:spcAft>
                <a:spcPts val="1200"/>
              </a:spcAft>
            </a:pPr>
            <a:r>
              <a:rPr lang="de-DE" sz="1600" dirty="0" smtClean="0"/>
              <a:t>Systemmodell </a:t>
            </a:r>
            <a:r>
              <a:rPr lang="de-DE" sz="1600" dirty="0" err="1" smtClean="0"/>
              <a:t>SMARTilience</a:t>
            </a:r>
            <a:r>
              <a:rPr lang="de-DE" sz="1600" dirty="0" smtClean="0"/>
              <a:t> (Initiative des deutschen Forschungsministeriums)</a:t>
            </a:r>
            <a:br>
              <a:rPr lang="de-DE" sz="1600" dirty="0" smtClean="0"/>
            </a:br>
            <a:r>
              <a:rPr lang="de-DE" sz="1400" b="0" dirty="0"/>
              <a:t>Aus den Diskussionen und Ergebnissen der </a:t>
            </a:r>
            <a:r>
              <a:rPr lang="de-DE" sz="1400" dirty="0" err="1"/>
              <a:t>Syntegration</a:t>
            </a:r>
            <a:r>
              <a:rPr lang="de-DE" sz="1400" dirty="0"/>
              <a:t> </a:t>
            </a:r>
            <a:r>
              <a:rPr lang="de-DE" sz="1400" b="0" dirty="0"/>
              <a:t>wurden 22 wesentliche Faktoren abgeleitet. </a:t>
            </a:r>
            <a:r>
              <a:rPr lang="de-DE" sz="1400" b="0" dirty="0" smtClean="0"/>
              <a:t/>
            </a:r>
            <a:br>
              <a:rPr lang="de-DE" sz="1400" b="0" dirty="0" smtClean="0"/>
            </a:br>
            <a:r>
              <a:rPr lang="de-DE" sz="1400" b="0" dirty="0" smtClean="0"/>
              <a:t>Daran nahmen rund 45 Personen teil und die Städte Mannheim und Halle </a:t>
            </a:r>
            <a:br>
              <a:rPr lang="de-DE" sz="1400" b="0" dirty="0" smtClean="0"/>
            </a:br>
            <a:r>
              <a:rPr lang="de-DE" sz="1400" b="0" dirty="0" smtClean="0"/>
              <a:t/>
            </a:r>
            <a:br>
              <a:rPr lang="de-DE" sz="1400" b="0" dirty="0" smtClean="0"/>
            </a:br>
            <a:r>
              <a:rPr lang="de-DE" sz="1400" b="0" dirty="0" smtClean="0"/>
              <a:t>Die </a:t>
            </a:r>
            <a:r>
              <a:rPr lang="de-DE" sz="1400" b="0" dirty="0" err="1" smtClean="0"/>
              <a:t>Einfluss</a:t>
            </a:r>
            <a:r>
              <a:rPr lang="de-DE" sz="1400" b="0" dirty="0" smtClean="0"/>
              <a:t>-Faktoren für die Verbesserung des Klimas</a:t>
            </a:r>
            <a:endParaRPr lang="de-DE" sz="1400" dirty="0">
              <a:solidFill>
                <a:schemeClr val="bg1">
                  <a:lumMod val="50000"/>
                </a:schemeClr>
              </a:solidFill>
            </a:endParaRPr>
          </a:p>
        </p:txBody>
      </p:sp>
      <p:sp>
        <p:nvSpPr>
          <p:cNvPr id="8" name="Abgerundetes Rechteck 46"/>
          <p:cNvSpPr/>
          <p:nvPr/>
        </p:nvSpPr>
        <p:spPr bwMode="auto">
          <a:xfrm>
            <a:off x="457881" y="2382437"/>
            <a:ext cx="4320000" cy="3920875"/>
          </a:xfrm>
          <a:prstGeom prst="roundRect">
            <a:avLst>
              <a:gd name="adj" fmla="val 3638"/>
            </a:avLst>
          </a:prstGeom>
          <a:gradFill>
            <a:gsLst>
              <a:gs pos="0">
                <a:schemeClr val="accent6">
                  <a:lumMod val="40000"/>
                  <a:lumOff val="60000"/>
                </a:schemeClr>
              </a:gs>
              <a:gs pos="100000">
                <a:schemeClr val="accent6">
                  <a:lumMod val="20000"/>
                  <a:lumOff val="80000"/>
                </a:schemeClr>
              </a:gs>
            </a:gsLst>
            <a:lin ang="16200000" scaled="1"/>
          </a:gradFill>
          <a:ln w="9525" cap="flat" cmpd="sng" algn="ctr">
            <a:noFill/>
            <a:prstDash val="solid"/>
            <a:round/>
            <a:headEnd type="none" w="med" len="med"/>
            <a:tailEnd type="none" w="med" len="med"/>
          </a:ln>
          <a:effectLst/>
        </p:spPr>
        <p:txBody>
          <a:bodyPr vert="horz" wrap="square" lIns="36000" tIns="46800" rIns="36000" bIns="46800" numCol="1" rtlCol="0" anchor="t" anchorCtr="0" compatLnSpc="1">
            <a:prstTxWarp prst="textNoShape">
              <a:avLst/>
            </a:prstTxWarp>
          </a:bodyPr>
          <a:lstStyle/>
          <a:p>
            <a:pPr marL="486900" lvl="0" indent="-342900">
              <a:lnSpc>
                <a:spcPct val="114000"/>
              </a:lnSpc>
              <a:spcAft>
                <a:spcPts val="600"/>
              </a:spcAft>
              <a:buFont typeface="+mj-lt"/>
              <a:buAutoNum type="arabicPeriod"/>
            </a:pPr>
            <a:r>
              <a:rPr lang="de-CH" sz="1200" b="1" dirty="0" smtClean="0">
                <a:latin typeface="Arial" panose="020B0604020202020204" pitchFamily="34" charset="0"/>
                <a:cs typeface="Arial" panose="020B0604020202020204" pitchFamily="34" charset="0"/>
              </a:rPr>
              <a:t>Handlungsdruck</a:t>
            </a:r>
          </a:p>
          <a:p>
            <a:pPr marL="486900" lvl="0" indent="-342900">
              <a:lnSpc>
                <a:spcPct val="114000"/>
              </a:lnSpc>
              <a:spcAft>
                <a:spcPts val="600"/>
              </a:spcAft>
              <a:buFont typeface="+mj-lt"/>
              <a:buAutoNum type="arabicPeriod"/>
            </a:pPr>
            <a:r>
              <a:rPr lang="de-DE" sz="1200" b="1" dirty="0">
                <a:latin typeface="Arial" panose="020B0604020202020204" pitchFamily="34" charset="0"/>
                <a:cs typeface="Arial" panose="020B0604020202020204" pitchFamily="34" charset="0"/>
              </a:rPr>
              <a:t>(</a:t>
            </a:r>
            <a:r>
              <a:rPr lang="de-DE" sz="1200" b="1" dirty="0" smtClean="0">
                <a:latin typeface="Arial" panose="020B0604020202020204" pitchFamily="34" charset="0"/>
                <a:cs typeface="Arial" panose="020B0604020202020204" pitchFamily="34" charset="0"/>
              </a:rPr>
              <a:t>Inter-)</a:t>
            </a:r>
            <a:r>
              <a:rPr lang="de-DE" sz="1200" b="1" dirty="0">
                <a:latin typeface="Arial" panose="020B0604020202020204" pitchFamily="34" charset="0"/>
                <a:cs typeface="Arial" panose="020B0604020202020204" pitchFamily="34" charset="0"/>
              </a:rPr>
              <a:t>nationale </a:t>
            </a:r>
            <a:r>
              <a:rPr lang="de-DE" sz="1200" b="1" dirty="0" smtClean="0">
                <a:latin typeface="Arial" panose="020B0604020202020204" pitchFamily="34" charset="0"/>
                <a:cs typeface="Arial" panose="020B0604020202020204" pitchFamily="34" charset="0"/>
              </a:rPr>
              <a:t>Vorgaben</a:t>
            </a:r>
          </a:p>
          <a:p>
            <a:pPr marL="486900" lvl="0" indent="-342900">
              <a:lnSpc>
                <a:spcPct val="114000"/>
              </a:lnSpc>
              <a:spcAft>
                <a:spcPts val="600"/>
              </a:spcAft>
              <a:buFont typeface="+mj-lt"/>
              <a:buAutoNum type="arabicPeriod"/>
            </a:pPr>
            <a:r>
              <a:rPr lang="de-DE" sz="1200" b="1" dirty="0">
                <a:latin typeface="Arial" panose="020B0604020202020204" pitchFamily="34" charset="0"/>
                <a:cs typeface="Arial" panose="020B0604020202020204" pitchFamily="34" charset="0"/>
              </a:rPr>
              <a:t>Politischer </a:t>
            </a:r>
            <a:r>
              <a:rPr lang="de-DE" sz="1200" b="1" dirty="0" smtClean="0">
                <a:latin typeface="Arial" panose="020B0604020202020204" pitchFamily="34" charset="0"/>
                <a:cs typeface="Arial" panose="020B0604020202020204" pitchFamily="34" charset="0"/>
              </a:rPr>
              <a:t>Wille/</a:t>
            </a:r>
            <a:r>
              <a:rPr lang="de-DE" sz="1200" b="1" dirty="0" err="1" smtClean="0">
                <a:latin typeface="Arial" panose="020B0604020202020204" pitchFamily="34" charset="0"/>
                <a:cs typeface="Arial" panose="020B0604020202020204" pitchFamily="34" charset="0"/>
              </a:rPr>
              <a:t>Commitment</a:t>
            </a:r>
            <a:endParaRPr lang="de-DE" sz="1200" b="1" dirty="0" smtClean="0">
              <a:latin typeface="Arial" panose="020B0604020202020204" pitchFamily="34" charset="0"/>
              <a:cs typeface="Arial" panose="020B0604020202020204" pitchFamily="34" charset="0"/>
            </a:endParaRPr>
          </a:p>
          <a:p>
            <a:pPr marL="486900" lvl="0" indent="-342900">
              <a:lnSpc>
                <a:spcPct val="114000"/>
              </a:lnSpc>
              <a:spcAft>
                <a:spcPts val="600"/>
              </a:spcAft>
              <a:buFont typeface="+mj-lt"/>
              <a:buAutoNum type="arabicPeriod"/>
            </a:pPr>
            <a:r>
              <a:rPr lang="de-DE" sz="1200" b="1" dirty="0" smtClean="0">
                <a:latin typeface="Arial" panose="020B0604020202020204" pitchFamily="34" charset="0"/>
                <a:cs typeface="Arial" panose="020B0604020202020204" pitchFamily="34" charset="0"/>
              </a:rPr>
              <a:t>Nachhaltige Stadtvisionen entwickeln</a:t>
            </a:r>
          </a:p>
          <a:p>
            <a:pPr marL="486900" lvl="0" indent="-342900">
              <a:lnSpc>
                <a:spcPct val="114000"/>
              </a:lnSpc>
              <a:spcAft>
                <a:spcPts val="600"/>
              </a:spcAft>
              <a:buFont typeface="+mj-lt"/>
              <a:buAutoNum type="arabicPeriod"/>
            </a:pPr>
            <a:r>
              <a:rPr lang="de-DE" sz="1200" i="1" dirty="0">
                <a:latin typeface="Arial" panose="020B0604020202020204" pitchFamily="34" charset="0"/>
                <a:cs typeface="Arial" panose="020B0604020202020204" pitchFamily="34" charset="0"/>
              </a:rPr>
              <a:t>Wirksame </a:t>
            </a:r>
            <a:r>
              <a:rPr lang="de-DE" sz="1200" i="1" dirty="0" smtClean="0">
                <a:latin typeface="Arial" panose="020B0604020202020204" pitchFamily="34" charset="0"/>
                <a:cs typeface="Arial" panose="020B0604020202020204" pitchFamily="34" charset="0"/>
              </a:rPr>
              <a:t>Kommunikation</a:t>
            </a:r>
          </a:p>
          <a:p>
            <a:pPr marL="486900" lvl="0" indent="-342900">
              <a:lnSpc>
                <a:spcPct val="114000"/>
              </a:lnSpc>
              <a:spcAft>
                <a:spcPts val="600"/>
              </a:spcAft>
              <a:buFont typeface="+mj-lt"/>
              <a:buAutoNum type="arabicPeriod"/>
            </a:pPr>
            <a:r>
              <a:rPr lang="de-DE" sz="1200" b="1" dirty="0">
                <a:latin typeface="Arial" panose="020B0604020202020204" pitchFamily="34" charset="0"/>
                <a:cs typeface="Arial" panose="020B0604020202020204" pitchFamily="34" charset="0"/>
              </a:rPr>
              <a:t>Verbindlichkeiten </a:t>
            </a:r>
            <a:r>
              <a:rPr lang="de-DE" sz="1200" b="1" dirty="0" smtClean="0">
                <a:latin typeface="Arial" panose="020B0604020202020204" pitchFamily="34" charset="0"/>
                <a:cs typeface="Arial" panose="020B0604020202020204" pitchFamily="34" charset="0"/>
              </a:rPr>
              <a:t>schaffen</a:t>
            </a:r>
          </a:p>
          <a:p>
            <a:pPr marL="486900" lvl="0" indent="-342900">
              <a:lnSpc>
                <a:spcPct val="114000"/>
              </a:lnSpc>
              <a:spcAft>
                <a:spcPts val="600"/>
              </a:spcAft>
              <a:buFont typeface="+mj-lt"/>
              <a:buAutoNum type="arabicPeriod"/>
            </a:pPr>
            <a:r>
              <a:rPr lang="de-DE" sz="1200" b="1" dirty="0" smtClean="0">
                <a:latin typeface="Arial" panose="020B0604020202020204" pitchFamily="34" charset="0"/>
                <a:cs typeface="Arial" panose="020B0604020202020204" pitchFamily="34" charset="0"/>
              </a:rPr>
              <a:t>Wirksame Strukturen und Prozesse der Stadt</a:t>
            </a:r>
          </a:p>
          <a:p>
            <a:pPr marL="486900" lvl="0" indent="-342900">
              <a:lnSpc>
                <a:spcPct val="114000"/>
              </a:lnSpc>
              <a:spcAft>
                <a:spcPts val="600"/>
              </a:spcAft>
              <a:buFont typeface="+mj-lt"/>
              <a:buAutoNum type="arabicPeriod"/>
            </a:pPr>
            <a:r>
              <a:rPr lang="de-DE" sz="1200" b="1" dirty="0" smtClean="0">
                <a:latin typeface="Arial" panose="020B0604020202020204" pitchFamily="34" charset="0"/>
                <a:cs typeface="Arial" panose="020B0604020202020204" pitchFamily="34" charset="0"/>
              </a:rPr>
              <a:t>Kapazitäten und Kompetenzen Verwaltung</a:t>
            </a:r>
          </a:p>
          <a:p>
            <a:pPr marL="486900" lvl="0" indent="-342900">
              <a:lnSpc>
                <a:spcPct val="114000"/>
              </a:lnSpc>
              <a:spcAft>
                <a:spcPts val="600"/>
              </a:spcAft>
              <a:buFont typeface="+mj-lt"/>
              <a:buAutoNum type="arabicPeriod"/>
            </a:pPr>
            <a:r>
              <a:rPr lang="de-DE" sz="1200" b="1" dirty="0">
                <a:latin typeface="Arial" panose="020B0604020202020204" pitchFamily="34" charset="0"/>
                <a:cs typeface="Arial" panose="020B0604020202020204" pitchFamily="34" charset="0"/>
              </a:rPr>
              <a:t>Partizipation </a:t>
            </a:r>
            <a:r>
              <a:rPr lang="de-DE" sz="1200" b="1" dirty="0" smtClean="0">
                <a:latin typeface="Arial" panose="020B0604020202020204" pitchFamily="34" charset="0"/>
                <a:cs typeface="Arial" panose="020B0604020202020204" pitchFamily="34" charset="0"/>
              </a:rPr>
              <a:t>ermöglichen</a:t>
            </a:r>
          </a:p>
          <a:p>
            <a:pPr marL="486900" lvl="0" indent="-342900">
              <a:lnSpc>
                <a:spcPct val="114000"/>
              </a:lnSpc>
              <a:spcAft>
                <a:spcPts val="600"/>
              </a:spcAft>
              <a:buFont typeface="+mj-lt"/>
              <a:buAutoNum type="arabicPeriod"/>
            </a:pPr>
            <a:r>
              <a:rPr lang="de-DE" sz="1200" b="1" dirty="0" smtClean="0">
                <a:latin typeface="Arial" panose="020B0604020202020204" pitchFamily="34" charset="0"/>
                <a:cs typeface="Arial" panose="020B0604020202020204" pitchFamily="34" charset="0"/>
              </a:rPr>
              <a:t>Klimaprojekte / Initiativen</a:t>
            </a:r>
          </a:p>
          <a:p>
            <a:pPr marL="486900" lvl="0" indent="-342900">
              <a:lnSpc>
                <a:spcPct val="114000"/>
              </a:lnSpc>
              <a:spcAft>
                <a:spcPts val="600"/>
              </a:spcAft>
              <a:buFont typeface="+mj-lt"/>
              <a:buAutoNum type="arabicPeriod"/>
            </a:pPr>
            <a:r>
              <a:rPr lang="de-DE" sz="1200" b="1" dirty="0">
                <a:latin typeface="Arial" panose="020B0604020202020204" pitchFamily="34" charset="0"/>
                <a:cs typeface="Arial" panose="020B0604020202020204" pitchFamily="34" charset="0"/>
              </a:rPr>
              <a:t>Image </a:t>
            </a:r>
            <a:r>
              <a:rPr lang="de-DE" sz="1200" b="1" dirty="0" smtClean="0">
                <a:latin typeface="Arial" panose="020B0604020202020204" pitchFamily="34" charset="0"/>
                <a:cs typeface="Arial" panose="020B0604020202020204" pitchFamily="34" charset="0"/>
              </a:rPr>
              <a:t>Unternehmen</a:t>
            </a:r>
          </a:p>
        </p:txBody>
      </p:sp>
      <p:sp>
        <p:nvSpPr>
          <p:cNvPr id="5" name="Abgerundetes Rechteck 46"/>
          <p:cNvSpPr/>
          <p:nvPr/>
        </p:nvSpPr>
        <p:spPr bwMode="auto">
          <a:xfrm>
            <a:off x="5115018" y="2382437"/>
            <a:ext cx="4320000" cy="3920875"/>
          </a:xfrm>
          <a:prstGeom prst="roundRect">
            <a:avLst>
              <a:gd name="adj" fmla="val 3638"/>
            </a:avLst>
          </a:prstGeom>
          <a:gradFill>
            <a:gsLst>
              <a:gs pos="0">
                <a:schemeClr val="accent6">
                  <a:lumMod val="40000"/>
                  <a:lumOff val="60000"/>
                </a:schemeClr>
              </a:gs>
              <a:gs pos="100000">
                <a:schemeClr val="accent6">
                  <a:lumMod val="20000"/>
                  <a:lumOff val="80000"/>
                </a:schemeClr>
              </a:gs>
            </a:gsLst>
            <a:lin ang="16200000" scaled="1"/>
          </a:gradFill>
          <a:ln w="9525" cap="flat" cmpd="sng" algn="ctr">
            <a:noFill/>
            <a:prstDash val="solid"/>
            <a:round/>
            <a:headEnd type="none" w="med" len="med"/>
            <a:tailEnd type="none" w="med" len="med"/>
          </a:ln>
          <a:effectLst/>
        </p:spPr>
        <p:txBody>
          <a:bodyPr vert="horz" wrap="square" lIns="36000" tIns="46800" rIns="36000" bIns="46800" numCol="1" rtlCol="0" anchor="t" anchorCtr="0" compatLnSpc="1">
            <a:prstTxWarp prst="textNoShape">
              <a:avLst/>
            </a:prstTxWarp>
          </a:bodyPr>
          <a:lstStyle/>
          <a:p>
            <a:pPr marL="486900" lvl="0" indent="-342900">
              <a:lnSpc>
                <a:spcPct val="114000"/>
              </a:lnSpc>
              <a:spcAft>
                <a:spcPts val="600"/>
              </a:spcAft>
              <a:buFont typeface="+mj-lt"/>
              <a:buAutoNum type="arabicPeriod" startAt="12"/>
            </a:pPr>
            <a:r>
              <a:rPr lang="de-CH" sz="1200" b="1" dirty="0" smtClean="0">
                <a:latin typeface="Arial" panose="020B0604020202020204" pitchFamily="34" charset="0"/>
                <a:cs typeface="Arial" panose="020B0604020202020204" pitchFamily="34" charset="0"/>
              </a:rPr>
              <a:t>Unternehmensnetzwerke aktivieren</a:t>
            </a:r>
          </a:p>
          <a:p>
            <a:pPr marL="486900" lvl="0" indent="-342900">
              <a:lnSpc>
                <a:spcPct val="114000"/>
              </a:lnSpc>
              <a:spcAft>
                <a:spcPts val="600"/>
              </a:spcAft>
              <a:buFont typeface="+mj-lt"/>
              <a:buAutoNum type="arabicPeriod" startAt="12"/>
            </a:pPr>
            <a:r>
              <a:rPr lang="de-DE" sz="1200" b="1" dirty="0" smtClean="0">
                <a:latin typeface="Arial" panose="020B0604020202020204" pitchFamily="34" charset="0"/>
                <a:cs typeface="Arial" panose="020B0604020202020204" pitchFamily="34" charset="0"/>
              </a:rPr>
              <a:t>Community Building</a:t>
            </a:r>
          </a:p>
          <a:p>
            <a:pPr marL="486900" lvl="0" indent="-342900">
              <a:lnSpc>
                <a:spcPct val="114000"/>
              </a:lnSpc>
              <a:spcAft>
                <a:spcPts val="600"/>
              </a:spcAft>
              <a:buFont typeface="+mj-lt"/>
              <a:buAutoNum type="arabicPeriod" startAt="12"/>
            </a:pPr>
            <a:r>
              <a:rPr lang="de-DE" sz="1200" i="1" dirty="0" smtClean="0">
                <a:latin typeface="Arial" panose="020B0604020202020204" pitchFamily="34" charset="0"/>
                <a:cs typeface="Arial" panose="020B0604020202020204" pitchFamily="34" charset="0"/>
              </a:rPr>
              <a:t>Bildung und Aufklärung </a:t>
            </a:r>
            <a:r>
              <a:rPr lang="de-DE" sz="1200" i="1" dirty="0">
                <a:latin typeface="Arial" panose="020B0604020202020204" pitchFamily="34" charset="0"/>
                <a:cs typeface="Arial" panose="020B0604020202020204" pitchFamily="34" charset="0"/>
              </a:rPr>
              <a:t>fördern </a:t>
            </a:r>
            <a:endParaRPr lang="de-DE" sz="1200" i="1" dirty="0" smtClean="0">
              <a:latin typeface="Arial" panose="020B0604020202020204" pitchFamily="34" charset="0"/>
              <a:cs typeface="Arial" panose="020B0604020202020204" pitchFamily="34" charset="0"/>
            </a:endParaRPr>
          </a:p>
          <a:p>
            <a:pPr marL="486900" lvl="0" indent="-342900">
              <a:lnSpc>
                <a:spcPct val="114000"/>
              </a:lnSpc>
              <a:spcAft>
                <a:spcPts val="600"/>
              </a:spcAft>
              <a:buFont typeface="+mj-lt"/>
              <a:buAutoNum type="arabicPeriod" startAt="12"/>
            </a:pPr>
            <a:r>
              <a:rPr lang="de-DE" sz="1200" b="1" dirty="0" smtClean="0">
                <a:latin typeface="Arial" panose="020B0604020202020204" pitchFamily="34" charset="0"/>
                <a:cs typeface="Arial" panose="020B0604020202020204" pitchFamily="34" charset="0"/>
              </a:rPr>
              <a:t>Klimafolgen </a:t>
            </a:r>
            <a:r>
              <a:rPr lang="de-DE" sz="1200" b="1" dirty="0">
                <a:latin typeface="Arial" panose="020B0604020202020204" pitchFamily="34" charset="0"/>
                <a:cs typeface="Arial" panose="020B0604020202020204" pitchFamily="34" charset="0"/>
              </a:rPr>
              <a:t>auf Lebensqualität</a:t>
            </a:r>
            <a:endParaRPr lang="de-DE" sz="1200" b="1" dirty="0" smtClean="0">
              <a:latin typeface="Arial" panose="020B0604020202020204" pitchFamily="34" charset="0"/>
              <a:cs typeface="Arial" panose="020B0604020202020204" pitchFamily="34" charset="0"/>
            </a:endParaRPr>
          </a:p>
          <a:p>
            <a:pPr marL="485775" lvl="0" indent="-342900">
              <a:lnSpc>
                <a:spcPct val="114000"/>
              </a:lnSpc>
              <a:spcAft>
                <a:spcPts val="600"/>
              </a:spcAft>
              <a:buFont typeface="+mj-lt"/>
              <a:buAutoNum type="arabicPeriod" startAt="12"/>
            </a:pPr>
            <a:r>
              <a:rPr lang="de-DE" sz="1200" b="1" dirty="0" smtClean="0">
                <a:latin typeface="Arial" panose="020B0604020202020204" pitchFamily="34" charset="0"/>
                <a:cs typeface="Arial" panose="020B0604020202020204" pitchFamily="34" charset="0"/>
              </a:rPr>
              <a:t>Bewusstseinsbildung und Veränderungsbereitschaft </a:t>
            </a:r>
          </a:p>
          <a:p>
            <a:pPr marL="486900" lvl="0" indent="-342900">
              <a:lnSpc>
                <a:spcPct val="114000"/>
              </a:lnSpc>
              <a:spcAft>
                <a:spcPts val="600"/>
              </a:spcAft>
              <a:buFont typeface="+mj-lt"/>
              <a:buAutoNum type="arabicPeriod" startAt="12"/>
            </a:pPr>
            <a:r>
              <a:rPr lang="de-DE" sz="1200" b="1" dirty="0" smtClean="0">
                <a:latin typeface="Arial" panose="020B0604020202020204" pitchFamily="34" charset="0"/>
                <a:cs typeface="Arial" panose="020B0604020202020204" pitchFamily="34" charset="0"/>
              </a:rPr>
              <a:t>Vorbildfunktion </a:t>
            </a:r>
            <a:r>
              <a:rPr lang="de-DE" sz="1200" b="1" dirty="0">
                <a:latin typeface="Arial" panose="020B0604020202020204" pitchFamily="34" charset="0"/>
                <a:cs typeface="Arial" panose="020B0604020202020204" pitchFamily="34" charset="0"/>
              </a:rPr>
              <a:t>der </a:t>
            </a:r>
            <a:r>
              <a:rPr lang="de-DE" sz="1200" b="1" dirty="0" smtClean="0">
                <a:latin typeface="Arial" panose="020B0604020202020204" pitchFamily="34" charset="0"/>
                <a:cs typeface="Arial" panose="020B0604020202020204" pitchFamily="34" charset="0"/>
              </a:rPr>
              <a:t>Stadt</a:t>
            </a:r>
          </a:p>
          <a:p>
            <a:pPr marL="486900" lvl="0" indent="-342900">
              <a:lnSpc>
                <a:spcPct val="114000"/>
              </a:lnSpc>
              <a:spcAft>
                <a:spcPts val="600"/>
              </a:spcAft>
              <a:buFont typeface="+mj-lt"/>
              <a:buAutoNum type="arabicPeriod" startAt="12"/>
            </a:pPr>
            <a:r>
              <a:rPr lang="de-DE" sz="1200" b="1" dirty="0" smtClean="0">
                <a:latin typeface="Arial" panose="020B0604020202020204" pitchFamily="34" charset="0"/>
                <a:cs typeface="Arial" panose="020B0604020202020204" pitchFamily="34" charset="0"/>
              </a:rPr>
              <a:t>Finanzierung</a:t>
            </a:r>
          </a:p>
          <a:p>
            <a:pPr marL="486900" lvl="0" indent="-342900">
              <a:lnSpc>
                <a:spcPct val="114000"/>
              </a:lnSpc>
              <a:spcAft>
                <a:spcPts val="600"/>
              </a:spcAft>
              <a:buFont typeface="+mj-lt"/>
              <a:buAutoNum type="arabicPeriod" startAt="12"/>
            </a:pPr>
            <a:r>
              <a:rPr lang="de-DE" sz="1200" b="1" dirty="0" smtClean="0">
                <a:latin typeface="Arial" panose="020B0604020202020204" pitchFamily="34" charset="0"/>
                <a:cs typeface="Arial" panose="020B0604020202020204" pitchFamily="34" charset="0"/>
              </a:rPr>
              <a:t>Gemeinsame/Wirksame Strategie </a:t>
            </a:r>
          </a:p>
          <a:p>
            <a:pPr marL="486900" lvl="0" indent="-342900">
              <a:lnSpc>
                <a:spcPct val="114000"/>
              </a:lnSpc>
              <a:spcAft>
                <a:spcPts val="600"/>
              </a:spcAft>
              <a:buFont typeface="+mj-lt"/>
              <a:buAutoNum type="arabicPeriod" startAt="12"/>
            </a:pPr>
            <a:r>
              <a:rPr lang="de-DE" sz="1200" i="1" dirty="0" smtClean="0">
                <a:latin typeface="Arial" panose="020B0604020202020204" pitchFamily="34" charset="0"/>
                <a:cs typeface="Arial" panose="020B0604020202020204" pitchFamily="34" charset="0"/>
              </a:rPr>
              <a:t>Industrie-Lobby</a:t>
            </a:r>
          </a:p>
          <a:p>
            <a:pPr marL="486900" lvl="0" indent="-342900">
              <a:lnSpc>
                <a:spcPct val="114000"/>
              </a:lnSpc>
              <a:spcAft>
                <a:spcPts val="600"/>
              </a:spcAft>
              <a:buFont typeface="+mj-lt"/>
              <a:buAutoNum type="arabicPeriod" startAt="12"/>
            </a:pPr>
            <a:r>
              <a:rPr lang="de-DE" sz="1200" b="1" dirty="0" smtClean="0">
                <a:latin typeface="Arial" panose="020B0604020202020204" pitchFamily="34" charset="0"/>
                <a:cs typeface="Arial" panose="020B0604020202020204" pitchFamily="34" charset="0"/>
              </a:rPr>
              <a:t>Zielkonflikte</a:t>
            </a:r>
          </a:p>
          <a:p>
            <a:pPr marL="486900" lvl="0" indent="-342900">
              <a:lnSpc>
                <a:spcPct val="114000"/>
              </a:lnSpc>
              <a:spcAft>
                <a:spcPts val="600"/>
              </a:spcAft>
              <a:buFont typeface="+mj-lt"/>
              <a:buAutoNum type="arabicPeriod" startAt="12"/>
            </a:pPr>
            <a:r>
              <a:rPr lang="de-DE" sz="1200" b="1" dirty="0" smtClean="0">
                <a:latin typeface="Arial" panose="020B0604020202020204" pitchFamily="34" charset="0"/>
                <a:cs typeface="Arial" panose="020B0604020202020204" pitchFamily="34" charset="0"/>
              </a:rPr>
              <a:t>Wirtschaftlichkeit </a:t>
            </a:r>
            <a:r>
              <a:rPr lang="de-DE" sz="1200" b="1" dirty="0" err="1">
                <a:latin typeface="Arial" panose="020B0604020202020204" pitchFamily="34" charset="0"/>
                <a:cs typeface="Arial" panose="020B0604020202020204" pitchFamily="34" charset="0"/>
              </a:rPr>
              <a:t>Massnahmen</a:t>
            </a:r>
            <a:endParaRPr lang="de-DE" sz="1200" b="1" dirty="0" smtClean="0">
              <a:latin typeface="Arial" panose="020B0604020202020204" pitchFamily="34" charset="0"/>
              <a:cs typeface="Arial" panose="020B0604020202020204" pitchFamily="34" charset="0"/>
            </a:endParaRPr>
          </a:p>
        </p:txBody>
      </p:sp>
      <p:sp>
        <p:nvSpPr>
          <p:cNvPr id="6" name="Textfeld 5"/>
          <p:cNvSpPr txBox="1"/>
          <p:nvPr/>
        </p:nvSpPr>
        <p:spPr>
          <a:xfrm>
            <a:off x="7439354" y="6383995"/>
            <a:ext cx="1667123" cy="138499"/>
          </a:xfrm>
          <a:prstGeom prst="rect">
            <a:avLst/>
          </a:prstGeom>
          <a:ln algn="ctr"/>
        </p:spPr>
        <p:txBody>
          <a:bodyPr wrap="none" lIns="0" tIns="0" rIns="0" bIns="0" rtlCol="0" anchor="t">
            <a:spAutoFit/>
          </a:bodyPr>
          <a:lstStyle/>
          <a:p>
            <a:pPr eaLnBrk="1" hangingPunct="1">
              <a:spcAft>
                <a:spcPct val="0"/>
              </a:spcAft>
            </a:pPr>
            <a:r>
              <a:rPr kumimoji="0" lang="de-DE" sz="900" i="0" u="none" strike="noStrike" kern="0" cap="none" spc="0" normalizeH="0" baseline="0" noProof="0" dirty="0" smtClean="0">
                <a:ln>
                  <a:noFill/>
                </a:ln>
                <a:solidFill>
                  <a:schemeClr val="tx1"/>
                </a:solidFill>
                <a:effectLst/>
                <a:uLnTx/>
                <a:uFillTx/>
                <a:latin typeface="Arial" panose="020B0604020202020204" pitchFamily="34" charset="0"/>
                <a:ea typeface="+mj-ea"/>
                <a:cs typeface="Arial" panose="020B0604020202020204" pitchFamily="34" charset="0"/>
              </a:rPr>
              <a:t>Beschreibung der Faktoren: </a:t>
            </a:r>
            <a:r>
              <a:rPr lang="de-DE" sz="900" kern="0" dirty="0">
                <a:latin typeface="Arial" panose="020B0604020202020204" pitchFamily="34" charset="0"/>
                <a:cs typeface="Arial" panose="020B0604020202020204" pitchFamily="34" charset="0"/>
                <a:hlinkClick r:id="" action="ppaction://noaction"/>
              </a:rPr>
              <a:t>Link</a:t>
            </a:r>
            <a:endParaRPr lang="de-DE" sz="900" kern="0" dirty="0">
              <a:latin typeface="Arial" panose="020B0604020202020204" pitchFamily="34" charset="0"/>
              <a:cs typeface="Arial" panose="020B0604020202020204" pitchFamily="34" charset="0"/>
            </a:endParaRPr>
          </a:p>
        </p:txBody>
      </p:sp>
      <p:sp>
        <p:nvSpPr>
          <p:cNvPr id="3" name="Rechteck 2"/>
          <p:cNvSpPr/>
          <p:nvPr/>
        </p:nvSpPr>
        <p:spPr>
          <a:xfrm>
            <a:off x="107577" y="1509984"/>
            <a:ext cx="9690846" cy="683264"/>
          </a:xfrm>
          <a:prstGeom prst="rect">
            <a:avLst/>
          </a:prstGeom>
        </p:spPr>
        <p:txBody>
          <a:bodyPr wrap="square">
            <a:spAutoFit/>
          </a:bodyPr>
          <a:lstStyle/>
          <a:p>
            <a:pPr algn="ctr"/>
            <a:r>
              <a:rPr lang="de-DE" sz="1200" i="1" dirty="0"/>
              <a:t>Die in der Liste </a:t>
            </a:r>
            <a:r>
              <a:rPr lang="de-DE" sz="1200" i="1" dirty="0" smtClean="0"/>
              <a:t>kursiv markierten </a:t>
            </a:r>
            <a:r>
              <a:rPr lang="de-DE" sz="1200" i="1" dirty="0"/>
              <a:t>Faktoren zeigten in der vollständigen Analyse eine nachgelagerte Rolle. </a:t>
            </a:r>
            <a:r>
              <a:rPr lang="de-DE" sz="1200" i="1" dirty="0" smtClean="0"/>
              <a:t/>
            </a:r>
            <a:br>
              <a:rPr lang="de-DE" sz="1200" i="1" dirty="0" smtClean="0"/>
            </a:br>
            <a:r>
              <a:rPr lang="de-DE" sz="1200" i="1" dirty="0" smtClean="0"/>
              <a:t>Daher </a:t>
            </a:r>
            <a:r>
              <a:rPr lang="de-DE" sz="1200" i="1" dirty="0"/>
              <a:t>wurden sie zur besseren Übersicht in einigen Abbildungen „ausgeblendet“, sind jedoch in den Auswertung weiterhin enthalten. </a:t>
            </a:r>
            <a:endParaRPr lang="de-DE" sz="1200" i="1" dirty="0" smtClean="0"/>
          </a:p>
          <a:p>
            <a:pPr algn="ctr"/>
            <a:r>
              <a:rPr lang="de-DE" sz="1200" b="1" dirty="0" smtClean="0"/>
              <a:t>Auf </a:t>
            </a:r>
            <a:r>
              <a:rPr lang="de-DE" sz="1200" b="1" dirty="0"/>
              <a:t>der folgenden Seite sehen Sie die </a:t>
            </a:r>
            <a:r>
              <a:rPr lang="de-DE" sz="1200" b="1" dirty="0" smtClean="0"/>
              <a:t>hier aufgeführten </a:t>
            </a:r>
            <a:r>
              <a:rPr lang="de-DE" sz="1200" b="1" dirty="0" err="1" smtClean="0"/>
              <a:t>Einfluss</a:t>
            </a:r>
            <a:r>
              <a:rPr lang="de-DE" sz="1200" b="1" dirty="0" smtClean="0"/>
              <a:t>-Faktoren verteilt </a:t>
            </a:r>
            <a:r>
              <a:rPr lang="de-DE" sz="1200" b="1" dirty="0"/>
              <a:t>über die Seite für einen bestimmten </a:t>
            </a:r>
            <a:r>
              <a:rPr lang="de-DE" sz="1200" b="1" dirty="0" smtClean="0"/>
              <a:t>Zweck ...</a:t>
            </a:r>
            <a:endParaRPr lang="de-DE" sz="1200" b="1" dirty="0"/>
          </a:p>
        </p:txBody>
      </p:sp>
    </p:spTree>
    <p:extLst>
      <p:ext uri="{BB962C8B-B14F-4D97-AF65-F5344CB8AC3E}">
        <p14:creationId xmlns:p14="http://schemas.microsoft.com/office/powerpoint/2010/main" val="272372268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8">
                                            <p:txEl>
                                              <p:pRg st="4" end="4"/>
                                            </p:txEl>
                                          </p:spTgt>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5">
                                            <p:txEl>
                                              <p:pRg st="2" end="2"/>
                                            </p:txEl>
                                          </p:spTgt>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5">
                                            <p:txEl>
                                              <p:pRg st="8" end="8"/>
                                            </p:txEl>
                                          </p:spTgt>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3"/>
          <a:stretch>
            <a:fillRect/>
          </a:stretch>
        </p:blipFill>
        <p:spPr>
          <a:xfrm>
            <a:off x="40342" y="1226916"/>
            <a:ext cx="7159111" cy="4773627"/>
          </a:xfrm>
          <a:prstGeom prst="rect">
            <a:avLst/>
          </a:prstGeom>
        </p:spPr>
      </p:pic>
      <p:sp>
        <p:nvSpPr>
          <p:cNvPr id="4" name="Titel 3"/>
          <p:cNvSpPr>
            <a:spLocks noGrp="1"/>
          </p:cNvSpPr>
          <p:nvPr>
            <p:ph type="title"/>
          </p:nvPr>
        </p:nvSpPr>
        <p:spPr/>
        <p:txBody>
          <a:bodyPr/>
          <a:lstStyle/>
          <a:p>
            <a:r>
              <a:rPr lang="de-DE" sz="1600" dirty="0" smtClean="0"/>
              <a:t>19</a:t>
            </a:r>
            <a:r>
              <a:rPr lang="de-DE" sz="1600" dirty="0" smtClean="0">
                <a:solidFill>
                  <a:schemeClr val="accent1"/>
                </a:solidFill>
              </a:rPr>
              <a:t> </a:t>
            </a:r>
            <a:r>
              <a:rPr lang="de-DE" sz="1600" dirty="0" err="1" smtClean="0"/>
              <a:t>Einfluss</a:t>
            </a:r>
            <a:r>
              <a:rPr lang="de-DE" sz="1600" dirty="0" smtClean="0"/>
              <a:t>-Faktoren</a:t>
            </a:r>
            <a:r>
              <a:rPr lang="de-DE" sz="1600" dirty="0" smtClean="0">
                <a:solidFill>
                  <a:srgbClr val="FF0000"/>
                </a:solidFill>
              </a:rPr>
              <a:t> </a:t>
            </a:r>
            <a:r>
              <a:rPr lang="de-DE" sz="1600" dirty="0" smtClean="0"/>
              <a:t>und </a:t>
            </a:r>
            <a:r>
              <a:rPr lang="de-DE" sz="1600" dirty="0"/>
              <a:t>ihre </a:t>
            </a:r>
            <a:r>
              <a:rPr lang="de-DE" sz="1600" dirty="0" smtClean="0"/>
              <a:t>– noch - unsichtbaren </a:t>
            </a:r>
            <a:r>
              <a:rPr lang="de-DE" sz="1600" dirty="0"/>
              <a:t>Regelkreise </a:t>
            </a:r>
            <a:r>
              <a:rPr lang="de-DE" sz="1600" dirty="0" smtClean="0"/>
              <a:t>…</a:t>
            </a:r>
            <a:br>
              <a:rPr lang="de-DE" sz="1600" dirty="0" smtClean="0"/>
            </a:br>
            <a:endParaRPr lang="de-DE" sz="1600" dirty="0"/>
          </a:p>
        </p:txBody>
      </p:sp>
      <p:sp>
        <p:nvSpPr>
          <p:cNvPr id="6" name="Textfeld 35"/>
          <p:cNvSpPr txBox="1"/>
          <p:nvPr/>
        </p:nvSpPr>
        <p:spPr>
          <a:xfrm>
            <a:off x="5307861" y="6124177"/>
            <a:ext cx="1667123" cy="138499"/>
          </a:xfrm>
          <a:prstGeom prst="rect">
            <a:avLst/>
          </a:prstGeom>
          <a:ln algn="ctr"/>
        </p:spPr>
        <p:txBody>
          <a:bodyPr wrap="none" lIns="0" tIns="0" rIns="0" bIns="0" rtlCol="0" anchor="t">
            <a:spAutoFit/>
          </a:bodyPr>
          <a:lstStyle/>
          <a:p>
            <a:pPr eaLnBrk="1" hangingPunct="1">
              <a:spcAft>
                <a:spcPct val="0"/>
              </a:spcAft>
            </a:pPr>
            <a:r>
              <a:rPr kumimoji="0" lang="de-DE" sz="900" i="0" u="none" strike="noStrike" kern="0" cap="none" spc="0" normalizeH="0" baseline="0" noProof="0" dirty="0" smtClean="0">
                <a:ln>
                  <a:noFill/>
                </a:ln>
                <a:solidFill>
                  <a:schemeClr val="tx1"/>
                </a:solidFill>
                <a:effectLst/>
                <a:uLnTx/>
                <a:uFillTx/>
                <a:latin typeface="Arial" panose="020B0604020202020204" pitchFamily="34" charset="0"/>
                <a:ea typeface="+mj-ea"/>
                <a:cs typeface="Arial" panose="020B0604020202020204" pitchFamily="34" charset="0"/>
              </a:rPr>
              <a:t>Beschreibung der Faktoren: </a:t>
            </a:r>
            <a:r>
              <a:rPr lang="de-DE" sz="900" kern="0" dirty="0">
                <a:latin typeface="Arial" panose="020B0604020202020204" pitchFamily="34" charset="0"/>
                <a:cs typeface="Arial" panose="020B0604020202020204" pitchFamily="34" charset="0"/>
                <a:hlinkClick r:id="" action="ppaction://noaction"/>
              </a:rPr>
              <a:t>Link</a:t>
            </a:r>
            <a:endParaRPr lang="de-DE" sz="900" kern="0" dirty="0">
              <a:latin typeface="Arial" panose="020B0604020202020204" pitchFamily="34" charset="0"/>
              <a:cs typeface="Arial" panose="020B0604020202020204" pitchFamily="34" charset="0"/>
            </a:endParaRPr>
          </a:p>
        </p:txBody>
      </p:sp>
      <p:sp>
        <p:nvSpPr>
          <p:cNvPr id="12" name="Rechteck 42"/>
          <p:cNvSpPr/>
          <p:nvPr/>
        </p:nvSpPr>
        <p:spPr>
          <a:xfrm>
            <a:off x="98200" y="6420432"/>
            <a:ext cx="5062813" cy="408060"/>
          </a:xfrm>
          <a:prstGeom prst="rect">
            <a:avLst/>
          </a:prstGeom>
          <a:solidFill>
            <a:schemeClr val="bg1"/>
          </a:solidFill>
          <a:ln>
            <a:noFill/>
          </a:ln>
        </p:spPr>
        <p:txBody>
          <a:bodyPr wrap="square" lIns="45720" tIns="45720" rIns="45720" bIns="45720" anchor="ctr" anchorCtr="1">
            <a:spAutoFit/>
          </a:bodyPr>
          <a:lstStyle/>
          <a:p>
            <a:pPr>
              <a:lnSpc>
                <a:spcPct val="114000"/>
              </a:lnSpc>
              <a:spcAft>
                <a:spcPts val="0"/>
              </a:spcAft>
            </a:pPr>
            <a:r>
              <a:rPr lang="de-DE" sz="900" b="1" dirty="0" smtClean="0">
                <a:solidFill>
                  <a:srgbClr val="000000"/>
                </a:solidFill>
                <a:latin typeface="Arial" panose="020B0604020202020204" pitchFamily="34" charset="0"/>
                <a:cs typeface="Arial" panose="020B0604020202020204" pitchFamily="34" charset="0"/>
              </a:rPr>
              <a:t>Farben gemäss GMM: </a:t>
            </a:r>
            <a:r>
              <a:rPr lang="de-DE" sz="900" b="1" dirty="0" smtClean="0">
                <a:solidFill>
                  <a:srgbClr val="0000FF"/>
                </a:solidFill>
                <a:latin typeface="Arial" panose="020B0604020202020204" pitchFamily="34" charset="0"/>
                <a:cs typeface="Arial" panose="020B0604020202020204" pitchFamily="34" charset="0"/>
              </a:rPr>
              <a:t>Blau = Strategie</a:t>
            </a:r>
            <a:r>
              <a:rPr lang="de-DE" sz="900" b="1" dirty="0" smtClean="0">
                <a:solidFill>
                  <a:srgbClr val="000000"/>
                </a:solidFill>
                <a:latin typeface="Arial" panose="020B0604020202020204" pitchFamily="34" charset="0"/>
                <a:cs typeface="Arial" panose="020B0604020202020204" pitchFamily="34" charset="0"/>
              </a:rPr>
              <a:t>, </a:t>
            </a:r>
            <a:r>
              <a:rPr lang="de-DE" sz="900" b="1" dirty="0">
                <a:solidFill>
                  <a:srgbClr val="D60000"/>
                </a:solidFill>
                <a:latin typeface="Arial" panose="020B0604020202020204" pitchFamily="34" charset="0"/>
                <a:cs typeface="Arial" panose="020B0604020202020204" pitchFamily="34" charset="0"/>
              </a:rPr>
              <a:t>R</a:t>
            </a:r>
            <a:r>
              <a:rPr lang="de-DE" sz="900" b="1" dirty="0" smtClean="0">
                <a:solidFill>
                  <a:srgbClr val="D60000"/>
                </a:solidFill>
                <a:latin typeface="Arial" panose="020B0604020202020204" pitchFamily="34" charset="0"/>
                <a:cs typeface="Arial" panose="020B0604020202020204" pitchFamily="34" charset="0"/>
              </a:rPr>
              <a:t>ot = Führungskräfte</a:t>
            </a:r>
            <a:r>
              <a:rPr lang="de-DE" sz="900" b="1" dirty="0" smtClean="0">
                <a:solidFill>
                  <a:srgbClr val="000000"/>
                </a:solidFill>
                <a:latin typeface="Arial" panose="020B0604020202020204" pitchFamily="34" charset="0"/>
                <a:cs typeface="Arial" panose="020B0604020202020204" pitchFamily="34" charset="0"/>
              </a:rPr>
              <a:t>, </a:t>
            </a:r>
            <a:r>
              <a:rPr lang="de-DE" sz="900" b="1" dirty="0" smtClean="0">
                <a:solidFill>
                  <a:srgbClr val="BD8C03"/>
                </a:solidFill>
                <a:latin typeface="Arial" panose="020B0604020202020204" pitchFamily="34" charset="0"/>
                <a:cs typeface="Arial" panose="020B0604020202020204" pitchFamily="34" charset="0"/>
              </a:rPr>
              <a:t>Gelb = Unternehmenskultur</a:t>
            </a:r>
            <a:r>
              <a:rPr lang="de-DE" sz="900" b="1" dirty="0" smtClean="0">
                <a:solidFill>
                  <a:srgbClr val="000000"/>
                </a:solidFill>
                <a:latin typeface="Arial" panose="020B0604020202020204" pitchFamily="34" charset="0"/>
                <a:cs typeface="Arial" panose="020B0604020202020204" pitchFamily="34" charset="0"/>
              </a:rPr>
              <a:t>, </a:t>
            </a:r>
            <a:r>
              <a:rPr lang="de-DE" sz="900" b="1" dirty="0" smtClean="0">
                <a:solidFill>
                  <a:srgbClr val="23B727"/>
                </a:solidFill>
                <a:latin typeface="Arial" panose="020B0604020202020204" pitchFamily="34" charset="0"/>
                <a:cs typeface="Arial" panose="020B0604020202020204" pitchFamily="34" charset="0"/>
              </a:rPr>
              <a:t>Grün = Struktur</a:t>
            </a:r>
            <a:r>
              <a:rPr lang="de-DE" sz="900" b="1" dirty="0" smtClean="0">
                <a:solidFill>
                  <a:srgbClr val="000000"/>
                </a:solidFill>
                <a:latin typeface="Arial" panose="020B0604020202020204" pitchFamily="34" charset="0"/>
                <a:cs typeface="Arial" panose="020B0604020202020204" pitchFamily="34" charset="0"/>
              </a:rPr>
              <a:t>, </a:t>
            </a:r>
            <a:r>
              <a:rPr lang="de-DE" sz="900" b="1" dirty="0">
                <a:solidFill>
                  <a:srgbClr val="029DD4"/>
                </a:solidFill>
                <a:latin typeface="Arial" panose="020B0604020202020204" pitchFamily="34" charset="0"/>
                <a:cs typeface="Arial" panose="020B0604020202020204" pitchFamily="34" charset="0"/>
              </a:rPr>
              <a:t>Türkis = Corporate </a:t>
            </a:r>
            <a:r>
              <a:rPr lang="de-DE" sz="900" b="1" dirty="0" err="1">
                <a:solidFill>
                  <a:srgbClr val="029DD4"/>
                </a:solidFill>
                <a:latin typeface="Arial" panose="020B0604020202020204" pitchFamily="34" charset="0"/>
                <a:cs typeface="Arial" panose="020B0604020202020204" pitchFamily="34" charset="0"/>
              </a:rPr>
              <a:t>Governance</a:t>
            </a:r>
            <a:r>
              <a:rPr lang="de-DE" sz="900" b="1" dirty="0">
                <a:solidFill>
                  <a:srgbClr val="029DD4"/>
                </a:solidFill>
                <a:latin typeface="Arial" panose="020B0604020202020204" pitchFamily="34" charset="0"/>
                <a:cs typeface="Arial" panose="020B0604020202020204" pitchFamily="34" charset="0"/>
              </a:rPr>
              <a:t> &amp; </a:t>
            </a:r>
            <a:r>
              <a:rPr lang="de-DE" sz="900" b="1" dirty="0" err="1" smtClean="0">
                <a:solidFill>
                  <a:srgbClr val="029DD4"/>
                </a:solidFill>
                <a:latin typeface="Arial" panose="020B0604020202020204" pitchFamily="34" charset="0"/>
                <a:cs typeface="Arial" panose="020B0604020202020204" pitchFamily="34" charset="0"/>
              </a:rPr>
              <a:t>Policy</a:t>
            </a:r>
            <a:r>
              <a:rPr lang="de-DE" sz="900" b="1" dirty="0" smtClean="0">
                <a:latin typeface="Arial" panose="020B0604020202020204" pitchFamily="34" charset="0"/>
                <a:cs typeface="Arial" panose="020B0604020202020204" pitchFamily="34" charset="0"/>
              </a:rPr>
              <a:t>, </a:t>
            </a:r>
            <a:r>
              <a:rPr lang="de-DE" sz="900" b="1" dirty="0" smtClean="0">
                <a:solidFill>
                  <a:srgbClr val="000080"/>
                </a:solidFill>
                <a:latin typeface="Arial" panose="020B0604020202020204" pitchFamily="34" charset="0"/>
                <a:cs typeface="Arial" panose="020B0604020202020204" pitchFamily="34" charset="0"/>
              </a:rPr>
              <a:t>Dunkelblau = Umwelt</a:t>
            </a:r>
            <a:endParaRPr lang="de-DE" sz="900" b="1" dirty="0">
              <a:solidFill>
                <a:srgbClr val="00008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66693161"/>
      </p:ext>
    </p:extLst>
  </p:cSld>
  <p:clrMapOvr>
    <a:masterClrMapping/>
  </p:clrMapOvr>
  <p:transition spd="slow"/>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3"/>
          <a:stretch>
            <a:fillRect/>
          </a:stretch>
        </p:blipFill>
        <p:spPr>
          <a:xfrm>
            <a:off x="27709" y="1219200"/>
            <a:ext cx="7190509" cy="4779818"/>
          </a:xfrm>
          <a:prstGeom prst="rect">
            <a:avLst/>
          </a:prstGeom>
        </p:spPr>
      </p:pic>
      <p:sp>
        <p:nvSpPr>
          <p:cNvPr id="36" name="Textfeld 35"/>
          <p:cNvSpPr txBox="1"/>
          <p:nvPr/>
        </p:nvSpPr>
        <p:spPr>
          <a:xfrm>
            <a:off x="5307861" y="6124177"/>
            <a:ext cx="1667123" cy="138499"/>
          </a:xfrm>
          <a:prstGeom prst="rect">
            <a:avLst/>
          </a:prstGeom>
          <a:ln algn="ctr"/>
        </p:spPr>
        <p:txBody>
          <a:bodyPr wrap="none" lIns="0" tIns="0" rIns="0" bIns="0" rtlCol="0" anchor="t">
            <a:spAutoFit/>
          </a:bodyPr>
          <a:lstStyle/>
          <a:p>
            <a:pPr eaLnBrk="1" hangingPunct="1">
              <a:spcAft>
                <a:spcPct val="0"/>
              </a:spcAft>
            </a:pPr>
            <a:r>
              <a:rPr kumimoji="0" lang="de-DE" sz="900" i="0" u="none" strike="noStrike" kern="0" cap="none" spc="0" normalizeH="0" baseline="0" noProof="0" dirty="0" smtClean="0">
                <a:ln>
                  <a:noFill/>
                </a:ln>
                <a:solidFill>
                  <a:schemeClr val="tx1"/>
                </a:solidFill>
                <a:effectLst/>
                <a:uLnTx/>
                <a:uFillTx/>
                <a:latin typeface="Arial" panose="020B0604020202020204" pitchFamily="34" charset="0"/>
                <a:ea typeface="+mj-ea"/>
                <a:cs typeface="Arial" panose="020B0604020202020204" pitchFamily="34" charset="0"/>
              </a:rPr>
              <a:t>Beschreibung der Faktoren: </a:t>
            </a:r>
            <a:r>
              <a:rPr lang="de-DE" sz="900" kern="0" dirty="0">
                <a:latin typeface="Arial" panose="020B0604020202020204" pitchFamily="34" charset="0"/>
                <a:cs typeface="Arial" panose="020B0604020202020204" pitchFamily="34" charset="0"/>
                <a:hlinkClick r:id="" action="ppaction://noaction"/>
              </a:rPr>
              <a:t>Link</a:t>
            </a:r>
            <a:endParaRPr lang="de-DE" sz="900" kern="0" dirty="0">
              <a:latin typeface="Arial" panose="020B0604020202020204" pitchFamily="34" charset="0"/>
              <a:cs typeface="Arial" panose="020B0604020202020204" pitchFamily="34" charset="0"/>
            </a:endParaRPr>
          </a:p>
        </p:txBody>
      </p:sp>
      <p:sp>
        <p:nvSpPr>
          <p:cNvPr id="2" name="Titel 1"/>
          <p:cNvSpPr>
            <a:spLocks noGrp="1"/>
          </p:cNvSpPr>
          <p:nvPr>
            <p:ph type="title"/>
          </p:nvPr>
        </p:nvSpPr>
        <p:spPr/>
        <p:txBody>
          <a:bodyPr/>
          <a:lstStyle/>
          <a:p>
            <a:r>
              <a:rPr lang="de-DE" sz="1600" dirty="0" smtClean="0"/>
              <a:t>… die erst mit system-kybernetischen Methoden erkennbar sind</a:t>
            </a:r>
            <a:r>
              <a:rPr lang="de-DE" sz="1600" dirty="0"/>
              <a:t/>
            </a:r>
            <a:br>
              <a:rPr lang="de-DE" sz="1600" dirty="0"/>
            </a:br>
            <a:endParaRPr lang="de-DE" sz="1600" dirty="0"/>
          </a:p>
        </p:txBody>
      </p:sp>
      <p:sp>
        <p:nvSpPr>
          <p:cNvPr id="12" name="Abgerundetes Rechteck 1"/>
          <p:cNvSpPr/>
          <p:nvPr/>
        </p:nvSpPr>
        <p:spPr>
          <a:xfrm>
            <a:off x="7274576" y="3528743"/>
            <a:ext cx="2361549" cy="2683214"/>
          </a:xfrm>
          <a:prstGeom prst="roundRect">
            <a:avLst>
              <a:gd name="adj" fmla="val 4981"/>
            </a:avLst>
          </a:prstGeom>
          <a:gradFill>
            <a:gsLst>
              <a:gs pos="0">
                <a:schemeClr val="bg2">
                  <a:lumMod val="40000"/>
                  <a:lumOff val="60000"/>
                </a:schemeClr>
              </a:gs>
              <a:gs pos="100000">
                <a:schemeClr val="bg2">
                  <a:lumMod val="40000"/>
                  <a:lumOff val="60000"/>
                </a:schemeClr>
              </a:gs>
            </a:gsLst>
            <a:lin ang="5400000" scaled="1"/>
          </a:gradFill>
          <a:effectLst>
            <a:outerShdw blurRad="63500" dist="12700" dir="5400000" algn="t" rotWithShape="0">
              <a:prstClr val="black">
                <a:alpha val="23000"/>
              </a:prstClr>
            </a:outerShdw>
          </a:effectLst>
        </p:spPr>
        <p:txBody>
          <a:bodyPr wrap="square" lIns="0" rIns="72000">
            <a:noAutofit/>
          </a:bodyPr>
          <a:lstStyle/>
          <a:p>
            <a:pPr marL="261938" lvl="1" indent="-174625" defTabSz="964783">
              <a:spcAft>
                <a:spcPts val="600"/>
              </a:spcAft>
            </a:pPr>
            <a:r>
              <a:rPr lang="de-DE" sz="1100" b="1" dirty="0" smtClean="0">
                <a:solidFill>
                  <a:srgbClr val="000000"/>
                </a:solidFill>
                <a:latin typeface="Arial" panose="020B0604020202020204" pitchFamily="34" charset="0"/>
                <a:cs typeface="Arial" panose="020B0604020202020204" pitchFamily="34" charset="0"/>
              </a:rPr>
              <a:t>Interpretation:</a:t>
            </a:r>
          </a:p>
          <a:p>
            <a:pPr marL="88900" lvl="1" defTabSz="964783">
              <a:spcAft>
                <a:spcPts val="600"/>
              </a:spcAft>
            </a:pPr>
            <a:r>
              <a:rPr lang="de-DE" sz="1100" dirty="0" smtClean="0">
                <a:latin typeface="Arial" panose="020B0604020202020204" pitchFamily="34" charset="0"/>
                <a:cs typeface="Arial" panose="020B0604020202020204" pitchFamily="34" charset="0"/>
              </a:rPr>
              <a:t>Die sehr große Anzahl verstär-kender Regelkreise und direkter Wirkungen zeigt:</a:t>
            </a:r>
            <a:endParaRPr lang="de-DE" sz="1100" dirty="0">
              <a:latin typeface="Arial" panose="020B0604020202020204" pitchFamily="34" charset="0"/>
              <a:cs typeface="Arial" panose="020B0604020202020204" pitchFamily="34" charset="0"/>
            </a:endParaRPr>
          </a:p>
          <a:p>
            <a:pPr marL="88900" lvl="1" defTabSz="964783">
              <a:spcAft>
                <a:spcPts val="300"/>
              </a:spcAft>
              <a:defRPr/>
            </a:pPr>
            <a:r>
              <a:rPr lang="de-DE" sz="1100" dirty="0" smtClean="0">
                <a:latin typeface="Arial" panose="020B0604020202020204" pitchFamily="34" charset="0"/>
                <a:cs typeface="Arial" panose="020B0604020202020204" pitchFamily="34" charset="0"/>
              </a:rPr>
              <a:t>Es kann eine </a:t>
            </a:r>
            <a:r>
              <a:rPr lang="de-DE" sz="1100" u="sng" dirty="0" smtClean="0">
                <a:latin typeface="Arial" panose="020B0604020202020204" pitchFamily="34" charset="0"/>
                <a:cs typeface="Arial" panose="020B0604020202020204" pitchFamily="34" charset="0"/>
              </a:rPr>
              <a:t>sich </a:t>
            </a:r>
            <a:r>
              <a:rPr lang="de-DE" sz="1100" u="sng" dirty="0">
                <a:latin typeface="Arial" panose="020B0604020202020204" pitchFamily="34" charset="0"/>
                <a:cs typeface="Arial" panose="020B0604020202020204" pitchFamily="34" charset="0"/>
              </a:rPr>
              <a:t>selbst </a:t>
            </a:r>
            <a:r>
              <a:rPr lang="de-DE" sz="1100" u="sng" dirty="0" err="1" smtClean="0">
                <a:latin typeface="Arial" panose="020B0604020202020204" pitchFamily="34" charset="0"/>
                <a:cs typeface="Arial" panose="020B0604020202020204" pitchFamily="34" charset="0"/>
              </a:rPr>
              <a:t>verstärkendeSystementwicklung</a:t>
            </a:r>
            <a:r>
              <a:rPr lang="de-DE" sz="1100" u="sng" dirty="0" smtClean="0">
                <a:latin typeface="Arial" panose="020B0604020202020204" pitchFamily="34" charset="0"/>
                <a:cs typeface="Arial" panose="020B0604020202020204" pitchFamily="34" charset="0"/>
              </a:rPr>
              <a:t> ausgelöst werden, wenn und nur wenn</a:t>
            </a:r>
            <a:r>
              <a:rPr lang="de-DE" sz="1100" dirty="0">
                <a:latin typeface="Arial" panose="020B0604020202020204" pitchFamily="34" charset="0"/>
                <a:cs typeface="Arial" panose="020B0604020202020204" pitchFamily="34" charset="0"/>
              </a:rPr>
              <a:t> </a:t>
            </a:r>
            <a:r>
              <a:rPr lang="de-DE" sz="1100" u="sng" dirty="0" smtClean="0">
                <a:latin typeface="Arial" panose="020B0604020202020204" pitchFamily="34" charset="0"/>
                <a:cs typeface="Arial" panose="020B0604020202020204" pitchFamily="34" charset="0"/>
              </a:rPr>
              <a:t>an </a:t>
            </a:r>
            <a:r>
              <a:rPr lang="de-DE" sz="1100" u="sng" dirty="0">
                <a:latin typeface="Arial" panose="020B0604020202020204" pitchFamily="34" charset="0"/>
                <a:cs typeface="Arial" panose="020B0604020202020204" pitchFamily="34" charset="0"/>
              </a:rPr>
              <a:t>den richtigen </a:t>
            </a:r>
            <a:r>
              <a:rPr lang="de-DE" sz="1100" u="sng" dirty="0" smtClean="0">
                <a:latin typeface="Arial" panose="020B0604020202020204" pitchFamily="34" charset="0"/>
                <a:cs typeface="Arial" panose="020B0604020202020204" pitchFamily="34" charset="0"/>
              </a:rPr>
              <a:t>Stellen des vernetzten Systems simultan </a:t>
            </a:r>
            <a:r>
              <a:rPr lang="de-DE" sz="1100" u="sng" dirty="0">
                <a:latin typeface="Arial" panose="020B0604020202020204" pitchFamily="34" charset="0"/>
                <a:cs typeface="Arial" panose="020B0604020202020204" pitchFamily="34" charset="0"/>
              </a:rPr>
              <a:t>und </a:t>
            </a:r>
            <a:r>
              <a:rPr lang="de-DE" sz="1100" u="sng" dirty="0" smtClean="0">
                <a:latin typeface="Arial" panose="020B0604020202020204" pitchFamily="34" charset="0"/>
                <a:cs typeface="Arial" panose="020B0604020202020204" pitchFamily="34" charset="0"/>
              </a:rPr>
              <a:t>gut dosiert</a:t>
            </a:r>
            <a:r>
              <a:rPr lang="de-DE" sz="1100" dirty="0" smtClean="0">
                <a:latin typeface="Arial" panose="020B0604020202020204" pitchFamily="34" charset="0"/>
                <a:cs typeface="Arial" panose="020B0604020202020204" pitchFamily="34" charset="0"/>
              </a:rPr>
              <a:t> gearbeitet </a:t>
            </a:r>
            <a:r>
              <a:rPr lang="de-DE" sz="1100" dirty="0">
                <a:latin typeface="Arial" panose="020B0604020202020204" pitchFamily="34" charset="0"/>
                <a:cs typeface="Arial" panose="020B0604020202020204" pitchFamily="34" charset="0"/>
              </a:rPr>
              <a:t>wird.</a:t>
            </a:r>
            <a:endParaRPr lang="de-DE" sz="1100" b="1" dirty="0">
              <a:latin typeface="Arial" panose="020B0604020202020204" pitchFamily="34" charset="0"/>
              <a:cs typeface="Arial" panose="020B0604020202020204" pitchFamily="34" charset="0"/>
            </a:endParaRPr>
          </a:p>
        </p:txBody>
      </p:sp>
      <p:sp>
        <p:nvSpPr>
          <p:cNvPr id="14" name="Abgerundetes Rechteck 1"/>
          <p:cNvSpPr/>
          <p:nvPr/>
        </p:nvSpPr>
        <p:spPr>
          <a:xfrm>
            <a:off x="7274577" y="1211172"/>
            <a:ext cx="2361548" cy="1911709"/>
          </a:xfrm>
          <a:prstGeom prst="roundRect">
            <a:avLst>
              <a:gd name="adj" fmla="val 5432"/>
            </a:avLst>
          </a:prstGeom>
          <a:solidFill>
            <a:schemeClr val="accent1">
              <a:lumMod val="20000"/>
              <a:lumOff val="80000"/>
            </a:schemeClr>
          </a:solidFill>
          <a:effectLst>
            <a:outerShdw blurRad="63500" dist="12700" dir="5400000" algn="t" rotWithShape="0">
              <a:prstClr val="black">
                <a:alpha val="23000"/>
              </a:prstClr>
            </a:outerShdw>
          </a:effectLst>
        </p:spPr>
        <p:txBody>
          <a:bodyPr wrap="square" lIns="0" rIns="0" bIns="72000">
            <a:spAutoFit/>
          </a:bodyPr>
          <a:lstStyle/>
          <a:p>
            <a:pPr marL="449263" lvl="1" indent="-361950" defTabSz="964783">
              <a:spcAft>
                <a:spcPts val="600"/>
              </a:spcAft>
            </a:pPr>
            <a:r>
              <a:rPr lang="de-DE" sz="1100" b="1" dirty="0" smtClean="0">
                <a:solidFill>
                  <a:srgbClr val="000000"/>
                </a:solidFill>
                <a:latin typeface="Arial" panose="020B0604020202020204" pitchFamily="34" charset="0"/>
                <a:cs typeface="Arial" panose="020B0604020202020204" pitchFamily="34" charset="0"/>
              </a:rPr>
              <a:t>Systemdiagnose:</a:t>
            </a:r>
          </a:p>
          <a:p>
            <a:pPr marL="449263" lvl="1" indent="-361950" defTabSz="964783">
              <a:spcAft>
                <a:spcPts val="600"/>
              </a:spcAft>
            </a:pPr>
            <a:r>
              <a:rPr lang="de-DE" sz="1100" b="1" dirty="0" smtClean="0">
                <a:latin typeface="Arial" panose="020B0604020202020204" pitchFamily="34" charset="0"/>
                <a:cs typeface="Arial" panose="020B0604020202020204" pitchFamily="34" charset="0"/>
              </a:rPr>
              <a:t>  19</a:t>
            </a:r>
            <a:r>
              <a:rPr lang="de-DE" sz="1100" dirty="0" smtClean="0">
                <a:solidFill>
                  <a:srgbClr val="000000"/>
                </a:solidFill>
                <a:latin typeface="Arial" panose="020B0604020202020204" pitchFamily="34" charset="0"/>
                <a:cs typeface="Arial" panose="020B0604020202020204" pitchFamily="34" charset="0"/>
              </a:rPr>
              <a:t> 	Faktoren und</a:t>
            </a:r>
          </a:p>
          <a:p>
            <a:pPr marL="449263" lvl="1" indent="-361950" defTabSz="964783">
              <a:spcAft>
                <a:spcPts val="600"/>
              </a:spcAft>
            </a:pPr>
            <a:r>
              <a:rPr lang="de-DE" sz="1100" b="1" dirty="0" smtClean="0">
                <a:latin typeface="Arial" panose="020B0604020202020204" pitchFamily="34" charset="0"/>
                <a:cs typeface="Arial" panose="020B0604020202020204" pitchFamily="34" charset="0"/>
              </a:rPr>
              <a:t>150</a:t>
            </a:r>
            <a:r>
              <a:rPr lang="de-DE" sz="1100" b="1" dirty="0" smtClean="0">
                <a:solidFill>
                  <a:srgbClr val="000000"/>
                </a:solidFill>
                <a:latin typeface="Arial" panose="020B0604020202020204" pitchFamily="34" charset="0"/>
                <a:cs typeface="Arial" panose="020B0604020202020204" pitchFamily="34" charset="0"/>
              </a:rPr>
              <a:t> 	</a:t>
            </a:r>
            <a:r>
              <a:rPr lang="de-DE" sz="1100" dirty="0" smtClean="0">
                <a:solidFill>
                  <a:srgbClr val="000000"/>
                </a:solidFill>
                <a:latin typeface="Arial" panose="020B0604020202020204" pitchFamily="34" charset="0"/>
                <a:cs typeface="Arial" panose="020B0604020202020204" pitchFamily="34" charset="0"/>
              </a:rPr>
              <a:t>Direkte</a:t>
            </a:r>
            <a:r>
              <a:rPr lang="de-DE" sz="1100" b="1" dirty="0" smtClean="0">
                <a:solidFill>
                  <a:srgbClr val="000000"/>
                </a:solidFill>
                <a:latin typeface="Arial" panose="020B0604020202020204" pitchFamily="34" charset="0"/>
                <a:cs typeface="Arial" panose="020B0604020202020204" pitchFamily="34" charset="0"/>
              </a:rPr>
              <a:t> </a:t>
            </a:r>
            <a:r>
              <a:rPr lang="de-DE" sz="1100" dirty="0" smtClean="0">
                <a:solidFill>
                  <a:srgbClr val="000000"/>
                </a:solidFill>
                <a:latin typeface="Arial" panose="020B0604020202020204" pitchFamily="34" charset="0"/>
                <a:cs typeface="Arial" panose="020B0604020202020204" pitchFamily="34" charset="0"/>
              </a:rPr>
              <a:t>Wirkungen. </a:t>
            </a:r>
            <a:br>
              <a:rPr lang="de-DE" sz="1100" dirty="0" smtClean="0">
                <a:solidFill>
                  <a:srgbClr val="000000"/>
                </a:solidFill>
                <a:latin typeface="Arial" panose="020B0604020202020204" pitchFamily="34" charset="0"/>
                <a:cs typeface="Arial" panose="020B0604020202020204" pitchFamily="34" charset="0"/>
              </a:rPr>
            </a:br>
            <a:r>
              <a:rPr lang="de-DE" sz="1100" dirty="0">
                <a:solidFill>
                  <a:srgbClr val="000000"/>
                </a:solidFill>
                <a:latin typeface="Arial" panose="020B0604020202020204" pitchFamily="34" charset="0"/>
                <a:cs typeface="Arial" panose="020B0604020202020204" pitchFamily="34" charset="0"/>
              </a:rPr>
              <a:t>D</a:t>
            </a:r>
            <a:r>
              <a:rPr lang="de-DE" sz="1100" dirty="0" smtClean="0">
                <a:solidFill>
                  <a:srgbClr val="000000"/>
                </a:solidFill>
                <a:latin typeface="Arial" panose="020B0604020202020204" pitchFamily="34" charset="0"/>
                <a:cs typeface="Arial" panose="020B0604020202020204" pitchFamily="34" charset="0"/>
              </a:rPr>
              <a:t>iese bilden</a:t>
            </a:r>
          </a:p>
          <a:p>
            <a:pPr marL="0" lvl="1" defTabSz="964783">
              <a:spcAft>
                <a:spcPts val="600"/>
              </a:spcAft>
            </a:pPr>
            <a:r>
              <a:rPr lang="de-DE" sz="1100" b="1" dirty="0" smtClean="0">
                <a:latin typeface="Arial" panose="020B0604020202020204" pitchFamily="34" charset="0"/>
                <a:cs typeface="Arial" panose="020B0604020202020204" pitchFamily="34" charset="0"/>
              </a:rPr>
              <a:t>5751   </a:t>
            </a:r>
            <a:r>
              <a:rPr lang="de-DE" sz="1100" dirty="0" smtClean="0">
                <a:latin typeface="Arial" panose="020B0604020202020204" pitchFamily="34" charset="0"/>
                <a:cs typeface="Arial" panose="020B0604020202020204" pitchFamily="34" charset="0"/>
              </a:rPr>
              <a:t>Regelkreise, davon</a:t>
            </a:r>
          </a:p>
          <a:p>
            <a:pPr marL="0" lvl="1" defTabSz="964783">
              <a:spcAft>
                <a:spcPts val="600"/>
              </a:spcAft>
            </a:pPr>
            <a:r>
              <a:rPr lang="de-DE" sz="1100" b="1" dirty="0" smtClean="0">
                <a:latin typeface="Arial" panose="020B0604020202020204" pitchFamily="34" charset="0"/>
                <a:cs typeface="Arial" panose="020B0604020202020204" pitchFamily="34" charset="0"/>
              </a:rPr>
              <a:t>5096   </a:t>
            </a:r>
            <a:r>
              <a:rPr lang="de-DE" sz="1100" dirty="0" smtClean="0">
                <a:latin typeface="Arial" panose="020B0604020202020204" pitchFamily="34" charset="0"/>
                <a:cs typeface="Arial" panose="020B0604020202020204" pitchFamily="34" charset="0"/>
              </a:rPr>
              <a:t>verstärkende Regelkreise</a:t>
            </a:r>
          </a:p>
          <a:p>
            <a:pPr marL="450850" lvl="1" indent="-363538" defTabSz="964783">
              <a:spcAft>
                <a:spcPts val="600"/>
              </a:spcAft>
            </a:pPr>
            <a:r>
              <a:rPr lang="de-DE" sz="1100" b="1" dirty="0" smtClean="0">
                <a:latin typeface="Arial" panose="020B0604020202020204" pitchFamily="34" charset="0"/>
                <a:cs typeface="Arial" panose="020B0604020202020204" pitchFamily="34" charset="0"/>
              </a:rPr>
              <a:t>655 </a:t>
            </a:r>
            <a:r>
              <a:rPr lang="de-DE" sz="1100" dirty="0" smtClean="0">
                <a:latin typeface="Arial" panose="020B0604020202020204" pitchFamily="34" charset="0"/>
                <a:cs typeface="Arial" panose="020B0604020202020204" pitchFamily="34" charset="0"/>
              </a:rPr>
              <a:t>  </a:t>
            </a:r>
            <a:r>
              <a:rPr lang="de-DE" sz="1100" dirty="0" smtClean="0">
                <a:solidFill>
                  <a:srgbClr val="000000"/>
                </a:solidFill>
                <a:latin typeface="Arial" panose="020B0604020202020204" pitchFamily="34" charset="0"/>
                <a:cs typeface="Arial" panose="020B0604020202020204" pitchFamily="34" charset="0"/>
              </a:rPr>
              <a:t>stabilisierende / hemmende Regelkreise</a:t>
            </a:r>
          </a:p>
        </p:txBody>
      </p:sp>
      <p:sp>
        <p:nvSpPr>
          <p:cNvPr id="11" name="Gleichschenkliges Dreieck 10"/>
          <p:cNvSpPr/>
          <p:nvPr/>
        </p:nvSpPr>
        <p:spPr bwMode="auto">
          <a:xfrm rot="9458074">
            <a:off x="4596125" y="1560350"/>
            <a:ext cx="50400" cy="81974"/>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err="1" smtClean="0">
              <a:solidFill>
                <a:schemeClr val="tx1"/>
              </a:solidFill>
              <a:latin typeface="+mj-lt"/>
            </a:endParaRPr>
          </a:p>
        </p:txBody>
      </p:sp>
      <p:cxnSp>
        <p:nvCxnSpPr>
          <p:cNvPr id="16" name="Gerade Verbindung mit Pfeil 8"/>
          <p:cNvCxnSpPr/>
          <p:nvPr/>
        </p:nvCxnSpPr>
        <p:spPr bwMode="auto">
          <a:xfrm>
            <a:off x="5093085" y="6702736"/>
            <a:ext cx="252000" cy="0"/>
          </a:xfrm>
          <a:prstGeom prst="straightConnector1">
            <a:avLst/>
          </a:prstGeom>
          <a:noFill/>
          <a:ln w="9525" cap="rnd" cmpd="sng" algn="ctr">
            <a:solidFill>
              <a:schemeClr val="tx1"/>
            </a:solidFill>
            <a:prstDash val="sysDash"/>
            <a:round/>
            <a:headEnd type="none" w="med" len="med"/>
            <a:tailEnd type="triangle" w="sm" len="med"/>
          </a:ln>
          <a:effectLst/>
        </p:spPr>
      </p:cxnSp>
      <p:cxnSp>
        <p:nvCxnSpPr>
          <p:cNvPr id="17" name="Gerade Verbindung mit Pfeil 41"/>
          <p:cNvCxnSpPr/>
          <p:nvPr/>
        </p:nvCxnSpPr>
        <p:spPr bwMode="auto">
          <a:xfrm>
            <a:off x="5093085" y="6525721"/>
            <a:ext cx="256708" cy="0"/>
          </a:xfrm>
          <a:prstGeom prst="straightConnector1">
            <a:avLst/>
          </a:prstGeom>
          <a:noFill/>
          <a:ln w="9525" cap="rnd" cmpd="sng" algn="ctr">
            <a:solidFill>
              <a:schemeClr val="tx1"/>
            </a:solidFill>
            <a:prstDash val="solid"/>
            <a:round/>
            <a:headEnd type="none" w="med" len="med"/>
            <a:tailEnd type="triangle" w="sm" len="med"/>
          </a:ln>
          <a:effectLst/>
        </p:spPr>
      </p:cxnSp>
      <p:sp>
        <p:nvSpPr>
          <p:cNvPr id="19" name="Rechteck 42"/>
          <p:cNvSpPr/>
          <p:nvPr/>
        </p:nvSpPr>
        <p:spPr>
          <a:xfrm>
            <a:off x="5307861" y="6420432"/>
            <a:ext cx="4201662" cy="408060"/>
          </a:xfrm>
          <a:prstGeom prst="rect">
            <a:avLst/>
          </a:prstGeom>
        </p:spPr>
        <p:txBody>
          <a:bodyPr wrap="square">
            <a:spAutoFit/>
          </a:bodyPr>
          <a:lstStyle/>
          <a:p>
            <a:pPr>
              <a:lnSpc>
                <a:spcPct val="114000"/>
              </a:lnSpc>
              <a:spcAft>
                <a:spcPts val="0"/>
              </a:spcAft>
            </a:pPr>
            <a:r>
              <a:rPr lang="de-DE" sz="900" b="1" dirty="0" smtClean="0">
                <a:solidFill>
                  <a:srgbClr val="000000"/>
                </a:solidFill>
                <a:latin typeface="Arial" panose="020B0604020202020204" pitchFamily="34" charset="0"/>
                <a:cs typeface="Arial" panose="020B0604020202020204" pitchFamily="34" charset="0"/>
              </a:rPr>
              <a:t>Gleichgerichtete Beziehung</a:t>
            </a:r>
            <a:r>
              <a:rPr lang="de-DE" sz="900" dirty="0" smtClean="0">
                <a:solidFill>
                  <a:srgbClr val="000000"/>
                </a:solidFill>
                <a:latin typeface="Arial" panose="020B0604020202020204" pitchFamily="34" charset="0"/>
                <a:cs typeface="Arial" panose="020B0604020202020204" pitchFamily="34" charset="0"/>
              </a:rPr>
              <a:t>: Je mehr, desto mehr / je weniger, desto weniger</a:t>
            </a:r>
            <a:br>
              <a:rPr lang="de-DE" sz="900" dirty="0" smtClean="0">
                <a:solidFill>
                  <a:srgbClr val="000000"/>
                </a:solidFill>
                <a:latin typeface="Arial" panose="020B0604020202020204" pitchFamily="34" charset="0"/>
                <a:cs typeface="Arial" panose="020B0604020202020204" pitchFamily="34" charset="0"/>
              </a:rPr>
            </a:br>
            <a:r>
              <a:rPr lang="de-DE" sz="900" b="1" dirty="0" smtClean="0">
                <a:solidFill>
                  <a:srgbClr val="000000"/>
                </a:solidFill>
                <a:latin typeface="Arial" panose="020B0604020202020204" pitchFamily="34" charset="0"/>
                <a:cs typeface="Arial" panose="020B0604020202020204" pitchFamily="34" charset="0"/>
              </a:rPr>
              <a:t>Gegengerichtete </a:t>
            </a:r>
            <a:r>
              <a:rPr lang="de-DE" sz="900" b="1" dirty="0">
                <a:solidFill>
                  <a:srgbClr val="000000"/>
                </a:solidFill>
                <a:latin typeface="Arial" panose="020B0604020202020204" pitchFamily="34" charset="0"/>
                <a:cs typeface="Arial" panose="020B0604020202020204" pitchFamily="34" charset="0"/>
              </a:rPr>
              <a:t>Beziehung</a:t>
            </a:r>
            <a:r>
              <a:rPr lang="de-DE" sz="900" dirty="0">
                <a:solidFill>
                  <a:srgbClr val="000000"/>
                </a:solidFill>
                <a:latin typeface="Arial" panose="020B0604020202020204" pitchFamily="34" charset="0"/>
                <a:cs typeface="Arial" panose="020B0604020202020204" pitchFamily="34" charset="0"/>
              </a:rPr>
              <a:t>: Je mehr, desto weniger / je weniger, desto </a:t>
            </a:r>
            <a:r>
              <a:rPr lang="de-DE" sz="900" dirty="0" smtClean="0">
                <a:solidFill>
                  <a:srgbClr val="000000"/>
                </a:solidFill>
                <a:latin typeface="Arial" panose="020B0604020202020204" pitchFamily="34" charset="0"/>
                <a:cs typeface="Arial" panose="020B0604020202020204" pitchFamily="34" charset="0"/>
              </a:rPr>
              <a:t>mehr</a:t>
            </a:r>
            <a:endParaRPr lang="de-DE" sz="900" dirty="0">
              <a:solidFill>
                <a:srgbClr val="000000"/>
              </a:solidFill>
              <a:latin typeface="Arial" panose="020B0604020202020204" pitchFamily="34" charset="0"/>
              <a:cs typeface="Arial" panose="020B0604020202020204" pitchFamily="34" charset="0"/>
            </a:endParaRPr>
          </a:p>
        </p:txBody>
      </p:sp>
      <p:sp>
        <p:nvSpPr>
          <p:cNvPr id="20" name="Rechteck 42"/>
          <p:cNvSpPr/>
          <p:nvPr/>
        </p:nvSpPr>
        <p:spPr>
          <a:xfrm>
            <a:off x="98200" y="6420432"/>
            <a:ext cx="5062813" cy="408060"/>
          </a:xfrm>
          <a:prstGeom prst="rect">
            <a:avLst/>
          </a:prstGeom>
          <a:solidFill>
            <a:schemeClr val="bg1"/>
          </a:solidFill>
          <a:ln>
            <a:noFill/>
          </a:ln>
        </p:spPr>
        <p:txBody>
          <a:bodyPr wrap="square" lIns="45720" tIns="45720" rIns="45720" bIns="45720" anchor="ctr" anchorCtr="1">
            <a:spAutoFit/>
          </a:bodyPr>
          <a:lstStyle/>
          <a:p>
            <a:pPr>
              <a:lnSpc>
                <a:spcPct val="114000"/>
              </a:lnSpc>
              <a:spcAft>
                <a:spcPts val="0"/>
              </a:spcAft>
            </a:pPr>
            <a:r>
              <a:rPr lang="de-DE" sz="900" b="1" dirty="0" smtClean="0">
                <a:solidFill>
                  <a:srgbClr val="000000"/>
                </a:solidFill>
                <a:latin typeface="Arial" panose="020B0604020202020204" pitchFamily="34" charset="0"/>
                <a:cs typeface="Arial" panose="020B0604020202020204" pitchFamily="34" charset="0"/>
              </a:rPr>
              <a:t>Farben gemäss GMM: </a:t>
            </a:r>
            <a:r>
              <a:rPr lang="de-DE" sz="900" b="1" dirty="0" smtClean="0">
                <a:solidFill>
                  <a:srgbClr val="0000FF"/>
                </a:solidFill>
                <a:latin typeface="Arial" panose="020B0604020202020204" pitchFamily="34" charset="0"/>
                <a:cs typeface="Arial" panose="020B0604020202020204" pitchFamily="34" charset="0"/>
              </a:rPr>
              <a:t>Blau = Strategie</a:t>
            </a:r>
            <a:r>
              <a:rPr lang="de-DE" sz="900" b="1" dirty="0" smtClean="0">
                <a:solidFill>
                  <a:srgbClr val="000000"/>
                </a:solidFill>
                <a:latin typeface="Arial" panose="020B0604020202020204" pitchFamily="34" charset="0"/>
                <a:cs typeface="Arial" panose="020B0604020202020204" pitchFamily="34" charset="0"/>
              </a:rPr>
              <a:t>, </a:t>
            </a:r>
            <a:r>
              <a:rPr lang="de-DE" sz="900" b="1" dirty="0">
                <a:solidFill>
                  <a:srgbClr val="D60000"/>
                </a:solidFill>
                <a:latin typeface="Arial" panose="020B0604020202020204" pitchFamily="34" charset="0"/>
                <a:cs typeface="Arial" panose="020B0604020202020204" pitchFamily="34" charset="0"/>
              </a:rPr>
              <a:t>R</a:t>
            </a:r>
            <a:r>
              <a:rPr lang="de-DE" sz="900" b="1" dirty="0" smtClean="0">
                <a:solidFill>
                  <a:srgbClr val="D60000"/>
                </a:solidFill>
                <a:latin typeface="Arial" panose="020B0604020202020204" pitchFamily="34" charset="0"/>
                <a:cs typeface="Arial" panose="020B0604020202020204" pitchFamily="34" charset="0"/>
              </a:rPr>
              <a:t>ot = Führungskräfte</a:t>
            </a:r>
            <a:r>
              <a:rPr lang="de-DE" sz="900" b="1" dirty="0" smtClean="0">
                <a:solidFill>
                  <a:srgbClr val="000000"/>
                </a:solidFill>
                <a:latin typeface="Arial" panose="020B0604020202020204" pitchFamily="34" charset="0"/>
                <a:cs typeface="Arial" panose="020B0604020202020204" pitchFamily="34" charset="0"/>
              </a:rPr>
              <a:t>, </a:t>
            </a:r>
            <a:r>
              <a:rPr lang="de-DE" sz="900" b="1" dirty="0" smtClean="0">
                <a:solidFill>
                  <a:srgbClr val="BD8C03"/>
                </a:solidFill>
                <a:latin typeface="Arial" panose="020B0604020202020204" pitchFamily="34" charset="0"/>
                <a:cs typeface="Arial" panose="020B0604020202020204" pitchFamily="34" charset="0"/>
              </a:rPr>
              <a:t>Gelb = Unternehmenskultur</a:t>
            </a:r>
            <a:r>
              <a:rPr lang="de-DE" sz="900" b="1" dirty="0" smtClean="0">
                <a:solidFill>
                  <a:srgbClr val="000000"/>
                </a:solidFill>
                <a:latin typeface="Arial" panose="020B0604020202020204" pitchFamily="34" charset="0"/>
                <a:cs typeface="Arial" panose="020B0604020202020204" pitchFamily="34" charset="0"/>
              </a:rPr>
              <a:t>, </a:t>
            </a:r>
            <a:r>
              <a:rPr lang="de-DE" sz="900" b="1" dirty="0" smtClean="0">
                <a:solidFill>
                  <a:srgbClr val="23B727"/>
                </a:solidFill>
                <a:latin typeface="Arial" panose="020B0604020202020204" pitchFamily="34" charset="0"/>
                <a:cs typeface="Arial" panose="020B0604020202020204" pitchFamily="34" charset="0"/>
              </a:rPr>
              <a:t>Grün = Struktur</a:t>
            </a:r>
            <a:r>
              <a:rPr lang="de-DE" sz="900" b="1" dirty="0" smtClean="0">
                <a:solidFill>
                  <a:srgbClr val="000000"/>
                </a:solidFill>
                <a:latin typeface="Arial" panose="020B0604020202020204" pitchFamily="34" charset="0"/>
                <a:cs typeface="Arial" panose="020B0604020202020204" pitchFamily="34" charset="0"/>
              </a:rPr>
              <a:t>, </a:t>
            </a:r>
            <a:r>
              <a:rPr lang="de-DE" sz="900" b="1" dirty="0">
                <a:solidFill>
                  <a:srgbClr val="029DD4"/>
                </a:solidFill>
                <a:latin typeface="Arial" panose="020B0604020202020204" pitchFamily="34" charset="0"/>
                <a:cs typeface="Arial" panose="020B0604020202020204" pitchFamily="34" charset="0"/>
              </a:rPr>
              <a:t>Türkis = Corporate </a:t>
            </a:r>
            <a:r>
              <a:rPr lang="de-DE" sz="900" b="1" dirty="0" err="1">
                <a:solidFill>
                  <a:srgbClr val="029DD4"/>
                </a:solidFill>
                <a:latin typeface="Arial" panose="020B0604020202020204" pitchFamily="34" charset="0"/>
                <a:cs typeface="Arial" panose="020B0604020202020204" pitchFamily="34" charset="0"/>
              </a:rPr>
              <a:t>Governance</a:t>
            </a:r>
            <a:r>
              <a:rPr lang="de-DE" sz="900" b="1" dirty="0">
                <a:solidFill>
                  <a:srgbClr val="029DD4"/>
                </a:solidFill>
                <a:latin typeface="Arial" panose="020B0604020202020204" pitchFamily="34" charset="0"/>
                <a:cs typeface="Arial" panose="020B0604020202020204" pitchFamily="34" charset="0"/>
              </a:rPr>
              <a:t> &amp; </a:t>
            </a:r>
            <a:r>
              <a:rPr lang="de-DE" sz="900" b="1" dirty="0" err="1" smtClean="0">
                <a:solidFill>
                  <a:srgbClr val="029DD4"/>
                </a:solidFill>
                <a:latin typeface="Arial" panose="020B0604020202020204" pitchFamily="34" charset="0"/>
                <a:cs typeface="Arial" panose="020B0604020202020204" pitchFamily="34" charset="0"/>
              </a:rPr>
              <a:t>Policy</a:t>
            </a:r>
            <a:r>
              <a:rPr lang="de-DE" sz="900" b="1" dirty="0" smtClean="0">
                <a:latin typeface="Arial" panose="020B0604020202020204" pitchFamily="34" charset="0"/>
                <a:cs typeface="Arial" panose="020B0604020202020204" pitchFamily="34" charset="0"/>
              </a:rPr>
              <a:t>, </a:t>
            </a:r>
            <a:r>
              <a:rPr lang="de-DE" sz="900" b="1" dirty="0" smtClean="0">
                <a:solidFill>
                  <a:srgbClr val="000080"/>
                </a:solidFill>
                <a:latin typeface="Arial" panose="020B0604020202020204" pitchFamily="34" charset="0"/>
                <a:cs typeface="Arial" panose="020B0604020202020204" pitchFamily="34" charset="0"/>
              </a:rPr>
              <a:t>Dunkelblau = Umwelt</a:t>
            </a:r>
            <a:endParaRPr lang="de-DE" sz="900" b="1" dirty="0">
              <a:solidFill>
                <a:srgbClr val="00008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47516141"/>
      </p:ext>
    </p:extLst>
  </p:cSld>
  <p:clrMapOvr>
    <a:masterClrMapping/>
  </p:clrMapOvr>
  <mc:AlternateContent xmlns:mc="http://schemas.openxmlformats.org/markup-compatibility/2006" xmlns:p14="http://schemas.microsoft.com/office/powerpoint/2010/main">
    <mc:Choice Requires="p14">
      <p:transition spd="slow" p14:dur="400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4">
                                            <p:txEl>
                                              <p:pRg st="1" end="1"/>
                                            </p:txEl>
                                          </p:spTgt>
                                        </p:tgtEl>
                                        <p:attrNameLst>
                                          <p:attrName>style.visibility</p:attrName>
                                        </p:attrNameLst>
                                      </p:cBhvr>
                                      <p:to>
                                        <p:strVal val="visible"/>
                                      </p:to>
                                    </p:set>
                                    <p:animEffect transition="in" filter="fade">
                                      <p:cBhvr>
                                        <p:cTn id="10" dur="500"/>
                                        <p:tgtEl>
                                          <p:spTgt spid="14">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4">
                                            <p:txEl>
                                              <p:pRg st="2" end="2"/>
                                            </p:txEl>
                                          </p:spTgt>
                                        </p:tgtEl>
                                        <p:attrNameLst>
                                          <p:attrName>style.visibility</p:attrName>
                                        </p:attrNameLst>
                                      </p:cBhvr>
                                      <p:to>
                                        <p:strVal val="visible"/>
                                      </p:to>
                                    </p:set>
                                    <p:animEffect transition="in" filter="fade">
                                      <p:cBhvr>
                                        <p:cTn id="13" dur="500"/>
                                        <p:tgtEl>
                                          <p:spTgt spid="14">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xEl>
                                              <p:pRg st="3" end="3"/>
                                            </p:txEl>
                                          </p:spTgt>
                                        </p:tgtEl>
                                        <p:attrNameLst>
                                          <p:attrName>style.visibility</p:attrName>
                                        </p:attrNameLst>
                                      </p:cBhvr>
                                      <p:to>
                                        <p:strVal val="visible"/>
                                      </p:to>
                                    </p:set>
                                    <p:animEffect transition="in" filter="fade">
                                      <p:cBhvr>
                                        <p:cTn id="16" dur="500"/>
                                        <p:tgtEl>
                                          <p:spTgt spid="14">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4">
                                            <p:txEl>
                                              <p:pRg st="4" end="4"/>
                                            </p:txEl>
                                          </p:spTgt>
                                        </p:tgtEl>
                                        <p:attrNameLst>
                                          <p:attrName>style.visibility</p:attrName>
                                        </p:attrNameLst>
                                      </p:cBhvr>
                                      <p:to>
                                        <p:strVal val="visible"/>
                                      </p:to>
                                    </p:set>
                                    <p:animEffect transition="in" filter="fade">
                                      <p:cBhvr>
                                        <p:cTn id="19" dur="500"/>
                                        <p:tgtEl>
                                          <p:spTgt spid="14">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4">
                                            <p:txEl>
                                              <p:pRg st="5" end="5"/>
                                            </p:txEl>
                                          </p:spTgt>
                                        </p:tgtEl>
                                        <p:attrNameLst>
                                          <p:attrName>style.visibility</p:attrName>
                                        </p:attrNameLst>
                                      </p:cBhvr>
                                      <p:to>
                                        <p:strVal val="visible"/>
                                      </p:to>
                                    </p:set>
                                    <p:animEffect transition="in" filter="fade">
                                      <p:cBhvr>
                                        <p:cTn id="22" dur="500"/>
                                        <p:tgtEl>
                                          <p:spTgt spid="14">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2">
                                            <p:txEl>
                                              <p:pRg st="0" end="0"/>
                                            </p:txEl>
                                          </p:spTgt>
                                        </p:tgtEl>
                                        <p:attrNameLst>
                                          <p:attrName>style.visibility</p:attrName>
                                        </p:attrNameLst>
                                      </p:cBhvr>
                                      <p:to>
                                        <p:strVal val="visible"/>
                                      </p:to>
                                    </p:set>
                                    <p:animEffect transition="in" filter="fade">
                                      <p:cBhvr>
                                        <p:cTn id="27" dur="500"/>
                                        <p:tgtEl>
                                          <p:spTgt spid="12">
                                            <p:txEl>
                                              <p:pRg st="0" end="0"/>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12">
                                            <p:txEl>
                                              <p:pRg st="1" end="1"/>
                                            </p:txEl>
                                          </p:spTgt>
                                        </p:tgtEl>
                                        <p:attrNameLst>
                                          <p:attrName>style.visibility</p:attrName>
                                        </p:attrNameLst>
                                      </p:cBhvr>
                                      <p:to>
                                        <p:strVal val="visible"/>
                                      </p:to>
                                    </p:set>
                                    <p:animEffect transition="in" filter="fade">
                                      <p:cBhvr>
                                        <p:cTn id="30" dur="500"/>
                                        <p:tgtEl>
                                          <p:spTgt spid="12">
                                            <p:txEl>
                                              <p:pRg st="1" end="1"/>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2">
                                            <p:txEl>
                                              <p:pRg st="2" end="2"/>
                                            </p:txEl>
                                          </p:spTgt>
                                        </p:tgtEl>
                                        <p:attrNameLst>
                                          <p:attrName>style.visibility</p:attrName>
                                        </p:attrNameLst>
                                      </p:cBhvr>
                                      <p:to>
                                        <p:strVal val="visible"/>
                                      </p:to>
                                    </p:set>
                                    <p:animEffect transition="in" filter="fade">
                                      <p:cBhvr>
                                        <p:cTn id="33"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6" name="Grafik 155"/>
          <p:cNvPicPr>
            <a:picLocks noChangeAspect="1"/>
          </p:cNvPicPr>
          <p:nvPr/>
        </p:nvPicPr>
        <p:blipFill>
          <a:blip r:embed="rId3"/>
          <a:stretch>
            <a:fillRect/>
          </a:stretch>
        </p:blipFill>
        <p:spPr>
          <a:xfrm>
            <a:off x="27709" y="1219200"/>
            <a:ext cx="7190509" cy="4779818"/>
          </a:xfrm>
          <a:prstGeom prst="rect">
            <a:avLst/>
          </a:prstGeom>
        </p:spPr>
      </p:pic>
      <p:sp>
        <p:nvSpPr>
          <p:cNvPr id="171" name="Titel 1"/>
          <p:cNvSpPr>
            <a:spLocks noGrp="1"/>
          </p:cNvSpPr>
          <p:nvPr>
            <p:ph type="title"/>
          </p:nvPr>
        </p:nvSpPr>
        <p:spPr>
          <a:xfrm>
            <a:off x="532683" y="541862"/>
            <a:ext cx="8642350" cy="479291"/>
          </a:xfrm>
        </p:spPr>
        <p:txBody>
          <a:bodyPr/>
          <a:lstStyle/>
          <a:p>
            <a:r>
              <a:rPr lang="de-DE" sz="1800" dirty="0" smtClean="0"/>
              <a:t>Die zwei stärksten Einflussfaktoren von </a:t>
            </a:r>
            <a:r>
              <a:rPr lang="de-DE" sz="1800" dirty="0" err="1" smtClean="0"/>
              <a:t>SMARTilience</a:t>
            </a:r>
            <a:r>
              <a:rPr lang="de-DE" sz="1800" dirty="0" smtClean="0"/>
              <a:t>, wie sie wirken…</a:t>
            </a:r>
            <a:br>
              <a:rPr lang="de-DE" sz="1800" dirty="0" smtClean="0"/>
            </a:br>
            <a:r>
              <a:rPr lang="de-DE" sz="1800" dirty="0" smtClean="0"/>
              <a:t>Das „Röntgenbild“ für die Rettung des Klimas </a:t>
            </a:r>
            <a:br>
              <a:rPr lang="de-DE" sz="1800" dirty="0" smtClean="0"/>
            </a:br>
            <a:r>
              <a:rPr lang="de-DE" sz="1800" dirty="0" smtClean="0"/>
              <a:t/>
            </a:r>
            <a:br>
              <a:rPr lang="de-DE" sz="1800" dirty="0" smtClean="0"/>
            </a:br>
            <a:endParaRPr lang="de-DE" sz="1800" dirty="0"/>
          </a:p>
        </p:txBody>
      </p:sp>
      <p:sp>
        <p:nvSpPr>
          <p:cNvPr id="77" name="TextBox 21"/>
          <p:cNvSpPr txBox="1"/>
          <p:nvPr/>
        </p:nvSpPr>
        <p:spPr>
          <a:xfrm>
            <a:off x="612877" y="3118149"/>
            <a:ext cx="571179" cy="318924"/>
          </a:xfrm>
          <a:prstGeom prst="rect">
            <a:avLst/>
          </a:prstGeom>
          <a:ln algn="ctr">
            <a:noFill/>
          </a:ln>
        </p:spPr>
        <p:txBody>
          <a:bodyPr wrap="square" lIns="36000" tIns="36000" rIns="36000" bIns="36000" rtlCol="0" anchor="t">
            <a:spAutoFit/>
          </a:bodyPr>
          <a:lstStyle/>
          <a:p>
            <a:pPr marL="0" marR="0" indent="0" algn="l" defTabSz="914400" rtl="0" eaLnBrk="1" fontAlgn="base" latinLnBrk="0" hangingPunct="1">
              <a:lnSpc>
                <a:spcPct val="100000"/>
              </a:lnSpc>
              <a:spcBef>
                <a:spcPct val="0"/>
              </a:spcBef>
              <a:spcAft>
                <a:spcPct val="0"/>
              </a:spcAft>
              <a:buClrTx/>
              <a:buSzTx/>
              <a:buFontTx/>
              <a:buNone/>
              <a:tabLst/>
            </a:pPr>
            <a:r>
              <a:rPr lang="de-DE" b="1" kern="0" dirty="0" smtClean="0">
                <a:solidFill>
                  <a:srgbClr val="029DD4"/>
                </a:solidFill>
                <a:latin typeface="Arial" panose="020B0604020202020204" pitchFamily="34" charset="0"/>
                <a:ea typeface="+mj-ea"/>
                <a:cs typeface="Arial" panose="020B0604020202020204" pitchFamily="34" charset="0"/>
              </a:rPr>
              <a:t>51%</a:t>
            </a:r>
            <a:endParaRPr kumimoji="0" lang="de-DE" b="1" i="0" u="none" strike="noStrike" kern="0" cap="none" spc="0" normalizeH="0" baseline="0" noProof="0" dirty="0" smtClean="0">
              <a:ln>
                <a:noFill/>
              </a:ln>
              <a:solidFill>
                <a:srgbClr val="029DD4"/>
              </a:solidFill>
              <a:effectLst/>
              <a:uLnTx/>
              <a:uFillTx/>
              <a:latin typeface="Arial" panose="020B0604020202020204" pitchFamily="34" charset="0"/>
              <a:ea typeface="+mj-ea"/>
              <a:cs typeface="Arial" panose="020B0604020202020204" pitchFamily="34" charset="0"/>
            </a:endParaRPr>
          </a:p>
        </p:txBody>
      </p:sp>
      <p:sp>
        <p:nvSpPr>
          <p:cNvPr id="78" name="Oval 20"/>
          <p:cNvSpPr/>
          <p:nvPr/>
        </p:nvSpPr>
        <p:spPr bwMode="auto">
          <a:xfrm>
            <a:off x="732483" y="3246905"/>
            <a:ext cx="1416747" cy="629482"/>
          </a:xfrm>
          <a:prstGeom prst="ellipse">
            <a:avLst/>
          </a:prstGeom>
          <a:noFill/>
          <a:ln w="25400" cap="flat" cmpd="sng" algn="ctr">
            <a:solidFill>
              <a:srgbClr val="029DD4"/>
            </a:solid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chemeClr val="bg1"/>
              </a:solidFill>
            </a:endParaRPr>
          </a:p>
        </p:txBody>
      </p:sp>
      <p:sp>
        <p:nvSpPr>
          <p:cNvPr id="85" name="Rechteck 94"/>
          <p:cNvSpPr/>
          <p:nvPr/>
        </p:nvSpPr>
        <p:spPr bwMode="auto">
          <a:xfrm>
            <a:off x="986825" y="3371565"/>
            <a:ext cx="1012692" cy="118197"/>
          </a:xfrm>
          <a:prstGeom prst="rect">
            <a:avLst/>
          </a:prstGeom>
          <a:solidFill>
            <a:srgbClr val="73B5CE">
              <a:alpha val="21000"/>
            </a:srgbClr>
          </a:soli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CH" sz="1200" b="1" dirty="0" smtClean="0">
              <a:solidFill>
                <a:schemeClr val="tx1"/>
              </a:solidFill>
              <a:latin typeface="+mj-lt"/>
            </a:endParaRPr>
          </a:p>
        </p:txBody>
      </p:sp>
      <p:sp>
        <p:nvSpPr>
          <p:cNvPr id="86" name="Oval 20"/>
          <p:cNvSpPr/>
          <p:nvPr/>
        </p:nvSpPr>
        <p:spPr bwMode="auto">
          <a:xfrm>
            <a:off x="4329644" y="1408272"/>
            <a:ext cx="1146729" cy="729201"/>
          </a:xfrm>
          <a:prstGeom prst="ellipse">
            <a:avLst/>
          </a:prstGeom>
          <a:noFill/>
          <a:ln w="25400" cap="flat" cmpd="sng" algn="ctr">
            <a:solidFill>
              <a:srgbClr val="7979FF"/>
            </a:solid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chemeClr val="bg1"/>
              </a:solidFill>
            </a:endParaRPr>
          </a:p>
        </p:txBody>
      </p:sp>
      <p:sp>
        <p:nvSpPr>
          <p:cNvPr id="101" name="Rechteck 156"/>
          <p:cNvSpPr/>
          <p:nvPr/>
        </p:nvSpPr>
        <p:spPr bwMode="auto">
          <a:xfrm>
            <a:off x="4564348" y="1636528"/>
            <a:ext cx="792000" cy="108000"/>
          </a:xfrm>
          <a:prstGeom prst="rect">
            <a:avLst/>
          </a:prstGeom>
          <a:solidFill>
            <a:srgbClr val="0000FF">
              <a:alpha val="21000"/>
            </a:srgbClr>
          </a:soli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CH" sz="1200" b="1" dirty="0" smtClean="0">
              <a:solidFill>
                <a:schemeClr val="tx1"/>
              </a:solidFill>
              <a:latin typeface="+mj-lt"/>
            </a:endParaRPr>
          </a:p>
        </p:txBody>
      </p:sp>
      <p:sp>
        <p:nvSpPr>
          <p:cNvPr id="105" name="Abgerundetes Rechteck 1"/>
          <p:cNvSpPr/>
          <p:nvPr/>
        </p:nvSpPr>
        <p:spPr>
          <a:xfrm>
            <a:off x="7359355" y="3404413"/>
            <a:ext cx="2408400" cy="1109631"/>
          </a:xfrm>
          <a:prstGeom prst="roundRect">
            <a:avLst>
              <a:gd name="adj" fmla="val 3457"/>
            </a:avLst>
          </a:prstGeom>
          <a:solidFill>
            <a:srgbClr val="BDBDFF"/>
          </a:solidFill>
          <a:effectLst>
            <a:outerShdw blurRad="63500" dist="12700" dir="5400000" algn="t" rotWithShape="0">
              <a:prstClr val="black">
                <a:alpha val="23000"/>
              </a:prstClr>
            </a:outerShdw>
          </a:effectLst>
        </p:spPr>
        <p:txBody>
          <a:bodyPr wrap="square" lIns="72000" tIns="36000" rIns="0" bIns="72000">
            <a:noAutofit/>
          </a:bodyPr>
          <a:lstStyle/>
          <a:p>
            <a:pPr marL="0" lvl="1" defTabSz="964783">
              <a:spcAft>
                <a:spcPts val="300"/>
              </a:spcAft>
            </a:pPr>
            <a:r>
              <a:rPr lang="de-DE" sz="1100" b="1" dirty="0" smtClean="0">
                <a:latin typeface="Arial" panose="020B0604020202020204" pitchFamily="34" charset="0"/>
                <a:cs typeface="Arial" panose="020B0604020202020204" pitchFamily="34" charset="0"/>
              </a:rPr>
              <a:t>Klimaprojekte /Initiativen </a:t>
            </a:r>
            <a:r>
              <a:rPr lang="de-DE" sz="1100" dirty="0" smtClean="0">
                <a:latin typeface="Arial" panose="020B0604020202020204" pitchFamily="34" charset="0"/>
                <a:cs typeface="Arial" panose="020B0604020202020204" pitchFamily="34" charset="0"/>
              </a:rPr>
              <a:t>(10) </a:t>
            </a:r>
            <a:r>
              <a:rPr lang="de-DE" sz="1100" dirty="0">
                <a:latin typeface="Arial" panose="020B0604020202020204" pitchFamily="34" charset="0"/>
                <a:cs typeface="Arial" panose="020B0604020202020204" pitchFamily="34" charset="0"/>
              </a:rPr>
              <a:t>ist Teil von </a:t>
            </a:r>
            <a:r>
              <a:rPr lang="de-DE" sz="1100" dirty="0" smtClean="0">
                <a:latin typeface="Arial" panose="020B0604020202020204" pitchFamily="34" charset="0"/>
                <a:cs typeface="Arial" panose="020B0604020202020204" pitchFamily="34" charset="0"/>
              </a:rPr>
              <a:t>2536 </a:t>
            </a:r>
            <a:r>
              <a:rPr lang="de-DE" sz="1100" dirty="0">
                <a:latin typeface="Arial" panose="020B0604020202020204" pitchFamily="34" charset="0"/>
                <a:cs typeface="Arial" panose="020B0604020202020204" pitchFamily="34" charset="0"/>
              </a:rPr>
              <a:t>verstärkenden Regelkreisen (</a:t>
            </a:r>
            <a:r>
              <a:rPr lang="de-DE" sz="1100" dirty="0" smtClean="0">
                <a:latin typeface="Arial" panose="020B0604020202020204" pitchFamily="34" charset="0"/>
                <a:cs typeface="Arial" panose="020B0604020202020204" pitchFamily="34" charset="0"/>
              </a:rPr>
              <a:t>2536 </a:t>
            </a:r>
            <a:r>
              <a:rPr lang="de-DE" sz="1100" dirty="0">
                <a:latin typeface="Arial" panose="020B0604020202020204" pitchFamily="34" charset="0"/>
                <a:cs typeface="Arial" panose="020B0604020202020204" pitchFamily="34" charset="0"/>
              </a:rPr>
              <a:t>von 5096 = </a:t>
            </a:r>
            <a:r>
              <a:rPr lang="de-DE" sz="1100" dirty="0" smtClean="0">
                <a:latin typeface="Arial" panose="020B0604020202020204" pitchFamily="34" charset="0"/>
                <a:cs typeface="Arial" panose="020B0604020202020204" pitchFamily="34" charset="0"/>
              </a:rPr>
              <a:t>50%, zweithöchster </a:t>
            </a:r>
            <a:r>
              <a:rPr lang="de-DE" sz="1100" dirty="0">
                <a:latin typeface="Arial" panose="020B0604020202020204" pitchFamily="34" charset="0"/>
                <a:cs typeface="Arial" panose="020B0604020202020204" pitchFamily="34" charset="0"/>
              </a:rPr>
              <a:t>Wert aller Faktoren).</a:t>
            </a:r>
          </a:p>
        </p:txBody>
      </p:sp>
      <p:sp>
        <p:nvSpPr>
          <p:cNvPr id="106" name="TextBox 21"/>
          <p:cNvSpPr txBox="1"/>
          <p:nvPr/>
        </p:nvSpPr>
        <p:spPr>
          <a:xfrm>
            <a:off x="5355139" y="1406109"/>
            <a:ext cx="571179" cy="318924"/>
          </a:xfrm>
          <a:prstGeom prst="rect">
            <a:avLst/>
          </a:prstGeom>
          <a:ln algn="ctr"/>
        </p:spPr>
        <p:txBody>
          <a:bodyPr wrap="square" lIns="36000" tIns="36000" rIns="36000" bIns="36000" rtlCol="0" anchor="t">
            <a:spAutoFit/>
          </a:bodyPr>
          <a:lstStyle/>
          <a:p>
            <a:pPr marL="0" marR="0" indent="0" algn="l" defTabSz="914400" rtl="0" eaLnBrk="1" fontAlgn="base" latinLnBrk="0" hangingPunct="1">
              <a:lnSpc>
                <a:spcPct val="100000"/>
              </a:lnSpc>
              <a:spcBef>
                <a:spcPct val="0"/>
              </a:spcBef>
              <a:spcAft>
                <a:spcPct val="0"/>
              </a:spcAft>
              <a:buClrTx/>
              <a:buSzTx/>
              <a:buFontTx/>
              <a:buNone/>
              <a:tabLst/>
            </a:pPr>
            <a:r>
              <a:rPr lang="de-DE" b="1" kern="0" dirty="0" smtClean="0">
                <a:solidFill>
                  <a:srgbClr val="7979FF"/>
                </a:solidFill>
                <a:latin typeface="Arial" panose="020B0604020202020204" pitchFamily="34" charset="0"/>
                <a:ea typeface="+mj-ea"/>
                <a:cs typeface="Arial" panose="020B0604020202020204" pitchFamily="34" charset="0"/>
              </a:rPr>
              <a:t>50%</a:t>
            </a:r>
            <a:endParaRPr kumimoji="0" lang="de-DE" b="1" i="0" u="none" strike="noStrike" kern="0" cap="none" spc="0" normalizeH="0" baseline="0" noProof="0" dirty="0" smtClean="0">
              <a:ln>
                <a:noFill/>
              </a:ln>
              <a:solidFill>
                <a:srgbClr val="7979FF"/>
              </a:solidFill>
              <a:effectLst/>
              <a:uLnTx/>
              <a:uFillTx/>
              <a:latin typeface="Arial" panose="020B0604020202020204" pitchFamily="34" charset="0"/>
              <a:ea typeface="+mj-ea"/>
              <a:cs typeface="Arial" panose="020B0604020202020204" pitchFamily="34" charset="0"/>
            </a:endParaRPr>
          </a:p>
        </p:txBody>
      </p:sp>
      <p:grpSp>
        <p:nvGrpSpPr>
          <p:cNvPr id="120" name="Gruppieren 190"/>
          <p:cNvGrpSpPr/>
          <p:nvPr/>
        </p:nvGrpSpPr>
        <p:grpSpPr>
          <a:xfrm rot="10800000" flipV="1">
            <a:off x="5043305" y="1677548"/>
            <a:ext cx="955111" cy="117047"/>
            <a:chOff x="-2278427" y="1921035"/>
            <a:chExt cx="7858875" cy="2716309"/>
          </a:xfrm>
          <a:effectLst>
            <a:glow rad="63500">
              <a:srgbClr val="0000FF">
                <a:alpha val="20000"/>
              </a:srgbClr>
            </a:glow>
          </a:effectLst>
        </p:grpSpPr>
        <p:sp>
          <p:nvSpPr>
            <p:cNvPr id="121" name="Bent Arrow 33"/>
            <p:cNvSpPr/>
            <p:nvPr/>
          </p:nvSpPr>
          <p:spPr bwMode="auto">
            <a:xfrm rot="10800000" flipH="1">
              <a:off x="1594628" y="3254903"/>
              <a:ext cx="3985820" cy="1382441"/>
            </a:xfrm>
            <a:prstGeom prst="bentArrow">
              <a:avLst>
                <a:gd name="adj1" fmla="val 0"/>
                <a:gd name="adj2" fmla="val 0"/>
                <a:gd name="adj3" fmla="val 25000"/>
                <a:gd name="adj4" fmla="val 5340"/>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122" name="Bent Arrow 33"/>
            <p:cNvSpPr/>
            <p:nvPr/>
          </p:nvSpPr>
          <p:spPr bwMode="auto">
            <a:xfrm rot="16200000" flipH="1" flipV="1">
              <a:off x="-71301" y="1588960"/>
              <a:ext cx="1333869" cy="1998019"/>
            </a:xfrm>
            <a:prstGeom prst="bentArrow">
              <a:avLst>
                <a:gd name="adj1" fmla="val 0"/>
                <a:gd name="adj2" fmla="val 0"/>
                <a:gd name="adj3" fmla="val 25000"/>
                <a:gd name="adj4" fmla="val 45474"/>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124" name="Straight Arrow Connector 34"/>
            <p:cNvCxnSpPr/>
            <p:nvPr/>
          </p:nvCxnSpPr>
          <p:spPr bwMode="auto">
            <a:xfrm rot="16200000" flipV="1">
              <a:off x="-1245185" y="887793"/>
              <a:ext cx="0" cy="2066484"/>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grpSp>
      <p:sp>
        <p:nvSpPr>
          <p:cNvPr id="104" name="Abgerundetes Rechteck 1"/>
          <p:cNvSpPr/>
          <p:nvPr/>
        </p:nvSpPr>
        <p:spPr>
          <a:xfrm>
            <a:off x="7359355" y="1272506"/>
            <a:ext cx="2408400" cy="2054311"/>
          </a:xfrm>
          <a:prstGeom prst="roundRect">
            <a:avLst>
              <a:gd name="adj" fmla="val 3256"/>
            </a:avLst>
          </a:prstGeom>
          <a:solidFill>
            <a:srgbClr val="C1EFFF"/>
          </a:solidFill>
          <a:effectLst>
            <a:outerShdw blurRad="63500" dist="12700" dir="5400000" algn="t" rotWithShape="0">
              <a:prstClr val="black">
                <a:alpha val="23000"/>
              </a:prstClr>
            </a:outerShdw>
          </a:effectLst>
        </p:spPr>
        <p:txBody>
          <a:bodyPr wrap="square" lIns="72000" tIns="36000" rIns="0" bIns="72000">
            <a:noAutofit/>
          </a:bodyPr>
          <a:lstStyle/>
          <a:p>
            <a:pPr marL="0" lvl="1" defTabSz="964783">
              <a:spcAft>
                <a:spcPts val="300"/>
              </a:spcAft>
            </a:pPr>
            <a:r>
              <a:rPr lang="de-DE" sz="1100" b="1" dirty="0">
                <a:latin typeface="Arial" panose="020B0604020202020204" pitchFamily="34" charset="0"/>
                <a:cs typeface="Arial" panose="020B0604020202020204" pitchFamily="34" charset="0"/>
              </a:rPr>
              <a:t>Politischer </a:t>
            </a:r>
            <a:r>
              <a:rPr lang="de-DE" sz="1100" b="1" dirty="0" smtClean="0">
                <a:latin typeface="Arial" panose="020B0604020202020204" pitchFamily="34" charset="0"/>
                <a:cs typeface="Arial" panose="020B0604020202020204" pitchFamily="34" charset="0"/>
              </a:rPr>
              <a:t>Wille/</a:t>
            </a:r>
            <a:r>
              <a:rPr lang="de-DE" sz="1100" b="1" dirty="0" err="1" smtClean="0">
                <a:latin typeface="Arial" panose="020B0604020202020204" pitchFamily="34" charset="0"/>
                <a:cs typeface="Arial" panose="020B0604020202020204" pitchFamily="34" charset="0"/>
              </a:rPr>
              <a:t>Commitment</a:t>
            </a:r>
            <a:r>
              <a:rPr lang="de-DE" sz="1100" b="1" dirty="0" smtClean="0">
                <a:latin typeface="Arial" panose="020B0604020202020204" pitchFamily="34" charset="0"/>
                <a:cs typeface="Arial" panose="020B0604020202020204" pitchFamily="34" charset="0"/>
              </a:rPr>
              <a:t> </a:t>
            </a:r>
            <a:r>
              <a:rPr lang="de-DE" sz="1100" dirty="0" smtClean="0">
                <a:latin typeface="Arial" panose="020B0604020202020204" pitchFamily="34" charset="0"/>
                <a:cs typeface="Arial" panose="020B0604020202020204" pitchFamily="34" charset="0"/>
              </a:rPr>
              <a:t>(3) </a:t>
            </a:r>
            <a:r>
              <a:rPr lang="de-DE" sz="1100" dirty="0">
                <a:latin typeface="Arial" panose="020B0604020202020204" pitchFamily="34" charset="0"/>
                <a:cs typeface="Arial" panose="020B0604020202020204" pitchFamily="34" charset="0"/>
              </a:rPr>
              <a:t>ist der wichtigste Faktor für das System. Er ist Teil von 2587 verstärkenden Regelkreisen (2587 von 5096 = 51%, höchster Wert aller Faktoren</a:t>
            </a:r>
            <a:r>
              <a:rPr lang="de-DE" sz="1100" dirty="0" smtClean="0">
                <a:latin typeface="Arial" panose="020B0604020202020204" pitchFamily="34" charset="0"/>
                <a:cs typeface="Arial" panose="020B0604020202020204" pitchFamily="34" charset="0"/>
              </a:rPr>
              <a:t>). Wenn </a:t>
            </a:r>
            <a:r>
              <a:rPr lang="de-DE" sz="1100" dirty="0">
                <a:latin typeface="Arial" panose="020B0604020202020204" pitchFamily="34" charset="0"/>
                <a:cs typeface="Arial" panose="020B0604020202020204" pitchFamily="34" charset="0"/>
              </a:rPr>
              <a:t>dieser Faktor das System blockiert, reduziert sich die Zahl verstärkender Regelkreise auf </a:t>
            </a:r>
            <a:r>
              <a:rPr lang="de-DE" sz="1100" dirty="0" smtClean="0">
                <a:latin typeface="Arial" panose="020B0604020202020204" pitchFamily="34" charset="0"/>
                <a:cs typeface="Arial" panose="020B0604020202020204" pitchFamily="34" charset="0"/>
              </a:rPr>
              <a:t>49% </a:t>
            </a:r>
            <a:r>
              <a:rPr lang="de-DE" sz="1100" dirty="0">
                <a:latin typeface="Arial" panose="020B0604020202020204" pitchFamily="34" charset="0"/>
                <a:cs typeface="Arial" panose="020B0604020202020204" pitchFamily="34" charset="0"/>
              </a:rPr>
              <a:t>(auf insgesamt </a:t>
            </a:r>
            <a:r>
              <a:rPr lang="de-DE" sz="1100" dirty="0" smtClean="0">
                <a:latin typeface="Arial" panose="020B0604020202020204" pitchFamily="34" charset="0"/>
                <a:cs typeface="Arial" panose="020B0604020202020204" pitchFamily="34" charset="0"/>
              </a:rPr>
              <a:t>2509 </a:t>
            </a:r>
            <a:r>
              <a:rPr lang="de-DE" sz="1100" dirty="0">
                <a:latin typeface="Arial" panose="020B0604020202020204" pitchFamily="34" charset="0"/>
                <a:cs typeface="Arial" panose="020B0604020202020204" pitchFamily="34" charset="0"/>
              </a:rPr>
              <a:t>statt </a:t>
            </a:r>
            <a:r>
              <a:rPr lang="de-DE" sz="1100" dirty="0" smtClean="0">
                <a:latin typeface="Arial" panose="020B0604020202020204" pitchFamily="34" charset="0"/>
                <a:cs typeface="Arial" panose="020B0604020202020204" pitchFamily="34" charset="0"/>
              </a:rPr>
              <a:t>5096)! </a:t>
            </a:r>
            <a:endParaRPr lang="de-DE" sz="1100" dirty="0">
              <a:latin typeface="Arial" panose="020B0604020202020204" pitchFamily="34" charset="0"/>
              <a:cs typeface="Arial" panose="020B0604020202020204" pitchFamily="34" charset="0"/>
            </a:endParaRPr>
          </a:p>
        </p:txBody>
      </p:sp>
      <p:grpSp>
        <p:nvGrpSpPr>
          <p:cNvPr id="6" name="Gruppieren 5"/>
          <p:cNvGrpSpPr/>
          <p:nvPr/>
        </p:nvGrpSpPr>
        <p:grpSpPr>
          <a:xfrm>
            <a:off x="1259241" y="3752311"/>
            <a:ext cx="245521" cy="986186"/>
            <a:chOff x="1212461" y="3739433"/>
            <a:chExt cx="245521" cy="986186"/>
          </a:xfrm>
          <a:effectLst>
            <a:glow rad="63500">
              <a:srgbClr val="73B5CE">
                <a:alpha val="20000"/>
              </a:srgbClr>
            </a:glow>
          </a:effectLst>
        </p:grpSpPr>
        <p:grpSp>
          <p:nvGrpSpPr>
            <p:cNvPr id="80" name="Gruppieren 65"/>
            <p:cNvGrpSpPr/>
            <p:nvPr/>
          </p:nvGrpSpPr>
          <p:grpSpPr>
            <a:xfrm>
              <a:off x="1212461" y="4266014"/>
              <a:ext cx="245521" cy="459605"/>
              <a:chOff x="2721419" y="2429582"/>
              <a:chExt cx="726094" cy="3170749"/>
            </a:xfrm>
            <a:effectLst/>
          </p:grpSpPr>
          <p:grpSp>
            <p:nvGrpSpPr>
              <p:cNvPr id="81" name="Gruppieren 66"/>
              <p:cNvGrpSpPr/>
              <p:nvPr/>
            </p:nvGrpSpPr>
            <p:grpSpPr>
              <a:xfrm>
                <a:off x="3046761" y="4430003"/>
                <a:ext cx="400752" cy="1170328"/>
                <a:chOff x="4583910" y="3189614"/>
                <a:chExt cx="117885" cy="1023407"/>
              </a:xfrm>
            </p:grpSpPr>
            <p:cxnSp>
              <p:nvCxnSpPr>
                <p:cNvPr id="83" name="Straight Arrow Connector 34"/>
                <p:cNvCxnSpPr/>
                <p:nvPr/>
              </p:nvCxnSpPr>
              <p:spPr bwMode="auto">
                <a:xfrm rot="10800000" flipH="1" flipV="1">
                  <a:off x="4699522" y="4108968"/>
                  <a:ext cx="0" cy="104053"/>
                </a:xfrm>
                <a:prstGeom prst="straightConnector1">
                  <a:avLst/>
                </a:prstGeom>
                <a:solidFill>
                  <a:schemeClr val="tx2"/>
                </a:solidFill>
                <a:ln w="25400" cap="flat" cmpd="sng" algn="ctr">
                  <a:solidFill>
                    <a:srgbClr val="029DD4"/>
                  </a:solidFill>
                  <a:prstDash val="solid"/>
                  <a:round/>
                  <a:headEnd type="none" w="med" len="med"/>
                  <a:tailEnd type="triangle" w="med" len="lg"/>
                </a:ln>
                <a:effectLst/>
              </p:spPr>
            </p:cxnSp>
            <p:sp>
              <p:nvSpPr>
                <p:cNvPr id="84" name="Bent Arrow 33"/>
                <p:cNvSpPr/>
                <p:nvPr/>
              </p:nvSpPr>
              <p:spPr bwMode="auto">
                <a:xfrm rot="10800000" flipV="1">
                  <a:off x="4583910" y="3189614"/>
                  <a:ext cx="117885" cy="481579"/>
                </a:xfrm>
                <a:prstGeom prst="bentArrow">
                  <a:avLst>
                    <a:gd name="adj1" fmla="val 0"/>
                    <a:gd name="adj2" fmla="val 0"/>
                    <a:gd name="adj3" fmla="val 0"/>
                    <a:gd name="adj4" fmla="val 80206"/>
                  </a:avLst>
                </a:prstGeom>
                <a:solidFill>
                  <a:schemeClr val="tx2"/>
                </a:solid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sp>
            <p:nvSpPr>
              <p:cNvPr id="82" name="Bent Arrow 33"/>
              <p:cNvSpPr/>
              <p:nvPr/>
            </p:nvSpPr>
            <p:spPr bwMode="auto">
              <a:xfrm flipV="1">
                <a:off x="2721419" y="2429582"/>
                <a:ext cx="338694" cy="2000420"/>
              </a:xfrm>
              <a:prstGeom prst="bentArrow">
                <a:avLst>
                  <a:gd name="adj1" fmla="val 0"/>
                  <a:gd name="adj2" fmla="val 0"/>
                  <a:gd name="adj3" fmla="val 0"/>
                  <a:gd name="adj4" fmla="val 73606"/>
                </a:avLst>
              </a:prstGeom>
              <a:solidFill>
                <a:schemeClr val="tx2"/>
              </a:solid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cxnSp>
          <p:nvCxnSpPr>
            <p:cNvPr id="3" name="Gerader Verbinder 2"/>
            <p:cNvCxnSpPr/>
            <p:nvPr/>
          </p:nvCxnSpPr>
          <p:spPr bwMode="auto">
            <a:xfrm>
              <a:off x="1212461" y="3739433"/>
              <a:ext cx="0" cy="401941"/>
            </a:xfrm>
            <a:prstGeom prst="line">
              <a:avLst/>
            </a:prstGeom>
            <a:solidFill>
              <a:schemeClr val="accent1"/>
            </a:solidFill>
            <a:ln w="25400" cap="flat" cmpd="sng" algn="ctr">
              <a:solidFill>
                <a:srgbClr val="029DD4"/>
              </a:solidFill>
              <a:prstDash val="solid"/>
              <a:round/>
              <a:headEnd type="none" w="med" len="med"/>
              <a:tailEnd type="none" w="med" len="med"/>
            </a:ln>
            <a:effectLst/>
          </p:spPr>
        </p:cxnSp>
      </p:grpSp>
      <p:grpSp>
        <p:nvGrpSpPr>
          <p:cNvPr id="7" name="Gruppieren 6"/>
          <p:cNvGrpSpPr/>
          <p:nvPr/>
        </p:nvGrpSpPr>
        <p:grpSpPr>
          <a:xfrm>
            <a:off x="1220891" y="3753726"/>
            <a:ext cx="1573946" cy="1694035"/>
            <a:chOff x="1180550" y="3734409"/>
            <a:chExt cx="1573946" cy="1694035"/>
          </a:xfrm>
          <a:solidFill>
            <a:srgbClr val="029DD4"/>
          </a:solidFill>
          <a:effectLst>
            <a:glow rad="63500">
              <a:srgbClr val="73B5CE">
                <a:alpha val="20000"/>
              </a:srgbClr>
            </a:glow>
          </a:effectLst>
        </p:grpSpPr>
        <p:cxnSp>
          <p:nvCxnSpPr>
            <p:cNvPr id="154" name="Straight Arrow Connector 34"/>
            <p:cNvCxnSpPr/>
            <p:nvPr/>
          </p:nvCxnSpPr>
          <p:spPr bwMode="auto">
            <a:xfrm rot="16200000" flipH="1">
              <a:off x="2643678" y="5317626"/>
              <a:ext cx="0" cy="221636"/>
            </a:xfrm>
            <a:prstGeom prst="straightConnector1">
              <a:avLst/>
            </a:prstGeom>
            <a:grpFill/>
            <a:ln w="25400" cap="rnd" cmpd="sng" algn="ctr">
              <a:solidFill>
                <a:srgbClr val="029DD4"/>
              </a:solidFill>
              <a:prstDash val="solid"/>
              <a:round/>
              <a:headEnd type="none" w="med" len="med"/>
              <a:tailEnd type="triangle" w="med" len="lg"/>
            </a:ln>
            <a:effectLst/>
          </p:spPr>
        </p:cxnSp>
        <p:sp>
          <p:nvSpPr>
            <p:cNvPr id="155" name="Bent Arrow 33"/>
            <p:cNvSpPr/>
            <p:nvPr/>
          </p:nvSpPr>
          <p:spPr bwMode="auto">
            <a:xfrm rot="16200000">
              <a:off x="1281147" y="4163409"/>
              <a:ext cx="1166150" cy="1363912"/>
            </a:xfrm>
            <a:prstGeom prst="bentArrow">
              <a:avLst>
                <a:gd name="adj1" fmla="val 0"/>
                <a:gd name="adj2" fmla="val 0"/>
                <a:gd name="adj3" fmla="val 25000"/>
                <a:gd name="adj4" fmla="val 7969"/>
              </a:avLst>
            </a:prstGeom>
            <a:grp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65" name="Gerader Verbinder 64"/>
            <p:cNvCxnSpPr/>
            <p:nvPr/>
          </p:nvCxnSpPr>
          <p:spPr bwMode="auto">
            <a:xfrm>
              <a:off x="1180550" y="3734409"/>
              <a:ext cx="0" cy="401941"/>
            </a:xfrm>
            <a:prstGeom prst="line">
              <a:avLst/>
            </a:prstGeom>
            <a:grpFill/>
            <a:ln w="25400" cap="flat" cmpd="sng" algn="ctr">
              <a:solidFill>
                <a:srgbClr val="029DD4"/>
              </a:solidFill>
              <a:prstDash val="solid"/>
              <a:round/>
              <a:headEnd type="none" w="med" len="med"/>
              <a:tailEnd type="none" w="med" len="med"/>
            </a:ln>
            <a:effectLst/>
          </p:spPr>
        </p:cxnSp>
      </p:grpSp>
      <p:grpSp>
        <p:nvGrpSpPr>
          <p:cNvPr id="11" name="Gruppieren 10"/>
          <p:cNvGrpSpPr/>
          <p:nvPr/>
        </p:nvGrpSpPr>
        <p:grpSpPr>
          <a:xfrm>
            <a:off x="1300173" y="3747286"/>
            <a:ext cx="3062213" cy="912508"/>
            <a:chOff x="1259832" y="3734408"/>
            <a:chExt cx="3062213" cy="912508"/>
          </a:xfrm>
          <a:effectLst>
            <a:glow rad="63500">
              <a:srgbClr val="73B5CE">
                <a:alpha val="20000"/>
              </a:srgbClr>
            </a:glow>
          </a:effectLst>
        </p:grpSpPr>
        <p:cxnSp>
          <p:nvCxnSpPr>
            <p:cNvPr id="129" name="Straight Arrow Connector 34"/>
            <p:cNvCxnSpPr/>
            <p:nvPr/>
          </p:nvCxnSpPr>
          <p:spPr bwMode="auto">
            <a:xfrm>
              <a:off x="3954710" y="4646916"/>
              <a:ext cx="367335" cy="0"/>
            </a:xfrm>
            <a:prstGeom prst="straightConnector1">
              <a:avLst/>
            </a:prstGeom>
            <a:solidFill>
              <a:schemeClr val="tx2"/>
            </a:solidFill>
            <a:ln w="25400" cap="flat" cmpd="sng" algn="ctr">
              <a:solidFill>
                <a:srgbClr val="029DD4"/>
              </a:solidFill>
              <a:prstDash val="solid"/>
              <a:round/>
              <a:headEnd type="none" w="med" len="med"/>
              <a:tailEnd type="triangle" w="med" len="lg"/>
            </a:ln>
            <a:effectLst/>
          </p:spPr>
        </p:cxnSp>
        <p:sp>
          <p:nvSpPr>
            <p:cNvPr id="130" name="Bent Arrow 33"/>
            <p:cNvSpPr/>
            <p:nvPr/>
          </p:nvSpPr>
          <p:spPr bwMode="auto">
            <a:xfrm rot="5400000" flipH="1" flipV="1">
              <a:off x="1310141" y="4234765"/>
              <a:ext cx="232971" cy="323540"/>
            </a:xfrm>
            <a:prstGeom prst="bentArrow">
              <a:avLst>
                <a:gd name="adj1" fmla="val 0"/>
                <a:gd name="adj2" fmla="val 0"/>
                <a:gd name="adj3" fmla="val 0"/>
                <a:gd name="adj4" fmla="val 31260"/>
              </a:avLst>
            </a:prstGeom>
            <a:solidFill>
              <a:schemeClr val="tx2"/>
            </a:solid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128" name="Bent Arrow 33"/>
            <p:cNvSpPr/>
            <p:nvPr/>
          </p:nvSpPr>
          <p:spPr bwMode="auto">
            <a:xfrm flipH="1">
              <a:off x="1588394" y="4512910"/>
              <a:ext cx="393666" cy="75781"/>
            </a:xfrm>
            <a:prstGeom prst="bentArrow">
              <a:avLst>
                <a:gd name="adj1" fmla="val 0"/>
                <a:gd name="adj2" fmla="val 0"/>
                <a:gd name="adj3" fmla="val 0"/>
                <a:gd name="adj4" fmla="val 68690"/>
              </a:avLst>
            </a:prstGeom>
            <a:solidFill>
              <a:schemeClr val="tx2"/>
            </a:solid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67" name="Bent Arrow 33"/>
            <p:cNvSpPr/>
            <p:nvPr/>
          </p:nvSpPr>
          <p:spPr bwMode="auto">
            <a:xfrm rot="10800000" flipH="1">
              <a:off x="1987010" y="4571134"/>
              <a:ext cx="1959812" cy="75781"/>
            </a:xfrm>
            <a:prstGeom prst="bentArrow">
              <a:avLst>
                <a:gd name="adj1" fmla="val 0"/>
                <a:gd name="adj2" fmla="val 0"/>
                <a:gd name="adj3" fmla="val 0"/>
                <a:gd name="adj4" fmla="val 75960"/>
              </a:avLst>
            </a:prstGeom>
            <a:solidFill>
              <a:schemeClr val="tx2"/>
            </a:solid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71" name="Gerader Verbinder 70"/>
            <p:cNvCxnSpPr/>
            <p:nvPr/>
          </p:nvCxnSpPr>
          <p:spPr bwMode="auto">
            <a:xfrm>
              <a:off x="1259832" y="3734408"/>
              <a:ext cx="0" cy="401941"/>
            </a:xfrm>
            <a:prstGeom prst="line">
              <a:avLst/>
            </a:prstGeom>
            <a:solidFill>
              <a:schemeClr val="accent1"/>
            </a:solidFill>
            <a:ln w="25400" cap="flat" cmpd="sng" algn="ctr">
              <a:solidFill>
                <a:srgbClr val="029DD4"/>
              </a:solidFill>
              <a:prstDash val="solid"/>
              <a:round/>
              <a:headEnd type="none" w="med" len="med"/>
              <a:tailEnd type="none" w="med" len="med"/>
            </a:ln>
            <a:effectLst/>
          </p:spPr>
        </p:cxnSp>
      </p:grpSp>
      <p:grpSp>
        <p:nvGrpSpPr>
          <p:cNvPr id="12" name="Gruppieren 11"/>
          <p:cNvGrpSpPr/>
          <p:nvPr/>
        </p:nvGrpSpPr>
        <p:grpSpPr>
          <a:xfrm>
            <a:off x="1342264" y="3752089"/>
            <a:ext cx="4869559" cy="761179"/>
            <a:chOff x="1301923" y="3739211"/>
            <a:chExt cx="4869559" cy="761179"/>
          </a:xfrm>
          <a:effectLst>
            <a:glow rad="63500">
              <a:srgbClr val="73B5CE">
                <a:alpha val="20000"/>
              </a:srgbClr>
            </a:glow>
          </a:effectLst>
        </p:grpSpPr>
        <p:cxnSp>
          <p:nvCxnSpPr>
            <p:cNvPr id="74" name="Straight Arrow Connector 34"/>
            <p:cNvCxnSpPr/>
            <p:nvPr/>
          </p:nvCxnSpPr>
          <p:spPr bwMode="auto">
            <a:xfrm>
              <a:off x="5667482" y="4500390"/>
              <a:ext cx="504000" cy="0"/>
            </a:xfrm>
            <a:prstGeom prst="straightConnector1">
              <a:avLst/>
            </a:prstGeom>
            <a:solidFill>
              <a:schemeClr val="tx2"/>
            </a:solidFill>
            <a:ln w="25400" cap="flat" cmpd="sng" algn="ctr">
              <a:solidFill>
                <a:srgbClr val="029DD4"/>
              </a:solidFill>
              <a:prstDash val="solid"/>
              <a:round/>
              <a:headEnd type="none" w="med" len="med"/>
              <a:tailEnd type="triangle" w="med" len="lg"/>
            </a:ln>
            <a:effectLst/>
          </p:spPr>
        </p:cxnSp>
        <p:sp>
          <p:nvSpPr>
            <p:cNvPr id="75" name="Bent Arrow 33"/>
            <p:cNvSpPr/>
            <p:nvPr/>
          </p:nvSpPr>
          <p:spPr bwMode="auto">
            <a:xfrm rot="5400000" flipH="1" flipV="1">
              <a:off x="2499822" y="3078206"/>
              <a:ext cx="168715" cy="2554465"/>
            </a:xfrm>
            <a:prstGeom prst="bentArrow">
              <a:avLst>
                <a:gd name="adj1" fmla="val 0"/>
                <a:gd name="adj2" fmla="val 0"/>
                <a:gd name="adj3" fmla="val 0"/>
                <a:gd name="adj4" fmla="val 31260"/>
              </a:avLst>
            </a:prstGeom>
            <a:solidFill>
              <a:schemeClr val="tx2"/>
            </a:solid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79" name="Bent Arrow 33"/>
            <p:cNvSpPr/>
            <p:nvPr/>
          </p:nvSpPr>
          <p:spPr bwMode="auto">
            <a:xfrm rot="5400000" flipH="1">
              <a:off x="3971384" y="4236184"/>
              <a:ext cx="65737" cy="340761"/>
            </a:xfrm>
            <a:prstGeom prst="bentArrow">
              <a:avLst>
                <a:gd name="adj1" fmla="val 0"/>
                <a:gd name="adj2" fmla="val 0"/>
                <a:gd name="adj3" fmla="val 0"/>
                <a:gd name="adj4" fmla="val 75960"/>
              </a:avLst>
            </a:prstGeom>
            <a:solidFill>
              <a:schemeClr val="tx2"/>
            </a:solid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90" name="Gerader Verbinder 89"/>
            <p:cNvCxnSpPr/>
            <p:nvPr/>
          </p:nvCxnSpPr>
          <p:spPr bwMode="auto">
            <a:xfrm>
              <a:off x="1301923" y="3739211"/>
              <a:ext cx="0" cy="401941"/>
            </a:xfrm>
            <a:prstGeom prst="line">
              <a:avLst/>
            </a:prstGeom>
            <a:solidFill>
              <a:schemeClr val="accent1"/>
            </a:solidFill>
            <a:ln w="25400" cap="flat" cmpd="sng" algn="ctr">
              <a:solidFill>
                <a:srgbClr val="029DD4"/>
              </a:solidFill>
              <a:prstDash val="solid"/>
              <a:round/>
              <a:headEnd type="none" w="med" len="med"/>
              <a:tailEnd type="none" w="med" len="med"/>
            </a:ln>
            <a:effectLst/>
          </p:spPr>
        </p:cxnSp>
        <p:sp>
          <p:nvSpPr>
            <p:cNvPr id="91" name="Bent Arrow 33"/>
            <p:cNvSpPr/>
            <p:nvPr/>
          </p:nvSpPr>
          <p:spPr bwMode="auto">
            <a:xfrm rot="16200000" flipH="1">
              <a:off x="4727856" y="3767209"/>
              <a:ext cx="48801" cy="1152000"/>
            </a:xfrm>
            <a:prstGeom prst="bentArrow">
              <a:avLst>
                <a:gd name="adj1" fmla="val 0"/>
                <a:gd name="adj2" fmla="val 0"/>
                <a:gd name="adj3" fmla="val 0"/>
                <a:gd name="adj4" fmla="val 75960"/>
              </a:avLst>
            </a:prstGeom>
            <a:solidFill>
              <a:schemeClr val="tx2"/>
            </a:solid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92" name="Bent Arrow 33"/>
            <p:cNvSpPr/>
            <p:nvPr/>
          </p:nvSpPr>
          <p:spPr bwMode="auto">
            <a:xfrm flipH="1">
              <a:off x="5327736" y="4319189"/>
              <a:ext cx="170823" cy="120607"/>
            </a:xfrm>
            <a:prstGeom prst="bentArrow">
              <a:avLst>
                <a:gd name="adj1" fmla="val 0"/>
                <a:gd name="adj2" fmla="val 0"/>
                <a:gd name="adj3" fmla="val 0"/>
                <a:gd name="adj4" fmla="val 75960"/>
              </a:avLst>
            </a:prstGeom>
            <a:solidFill>
              <a:schemeClr val="tx2"/>
            </a:solid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93" name="Bent Arrow 33"/>
            <p:cNvSpPr/>
            <p:nvPr/>
          </p:nvSpPr>
          <p:spPr bwMode="auto">
            <a:xfrm rot="10800000" flipH="1">
              <a:off x="5496660" y="4438540"/>
              <a:ext cx="170823" cy="61849"/>
            </a:xfrm>
            <a:prstGeom prst="bentArrow">
              <a:avLst>
                <a:gd name="adj1" fmla="val 0"/>
                <a:gd name="adj2" fmla="val 0"/>
                <a:gd name="adj3" fmla="val 0"/>
                <a:gd name="adj4" fmla="val 75960"/>
              </a:avLst>
            </a:prstGeom>
            <a:solidFill>
              <a:schemeClr val="tx2"/>
            </a:solid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96" name="Gruppieren 65"/>
          <p:cNvGrpSpPr/>
          <p:nvPr/>
        </p:nvGrpSpPr>
        <p:grpSpPr>
          <a:xfrm rot="16200000" flipH="1">
            <a:off x="2340646" y="2812989"/>
            <a:ext cx="238520" cy="2016188"/>
            <a:chOff x="2689810" y="2429583"/>
            <a:chExt cx="648243" cy="3170744"/>
          </a:xfrm>
          <a:effectLst>
            <a:glow rad="63500">
              <a:srgbClr val="73B5CE">
                <a:alpha val="20000"/>
              </a:srgbClr>
            </a:glow>
          </a:effectLst>
        </p:grpSpPr>
        <p:grpSp>
          <p:nvGrpSpPr>
            <p:cNvPr id="98" name="Gruppieren 66"/>
            <p:cNvGrpSpPr/>
            <p:nvPr/>
          </p:nvGrpSpPr>
          <p:grpSpPr>
            <a:xfrm>
              <a:off x="3046762" y="3699791"/>
              <a:ext cx="291291" cy="1900536"/>
              <a:chOff x="4583910" y="2551073"/>
              <a:chExt cx="85686" cy="1661946"/>
            </a:xfrm>
          </p:grpSpPr>
          <p:cxnSp>
            <p:nvCxnSpPr>
              <p:cNvPr id="100" name="Straight Arrow Connector 34"/>
              <p:cNvCxnSpPr/>
              <p:nvPr/>
            </p:nvCxnSpPr>
            <p:spPr bwMode="auto">
              <a:xfrm rot="10800000" flipH="1" flipV="1">
                <a:off x="4669596" y="4108966"/>
                <a:ext cx="0" cy="104053"/>
              </a:xfrm>
              <a:prstGeom prst="straightConnector1">
                <a:avLst/>
              </a:prstGeom>
              <a:solidFill>
                <a:schemeClr val="tx2"/>
              </a:solidFill>
              <a:ln w="25400" cap="flat" cmpd="sng" algn="ctr">
                <a:solidFill>
                  <a:srgbClr val="029DD4"/>
                </a:solidFill>
                <a:prstDash val="solid"/>
                <a:round/>
                <a:headEnd type="none" w="med" len="med"/>
                <a:tailEnd type="triangle" w="med" len="lg"/>
              </a:ln>
              <a:effectLst/>
            </p:spPr>
          </p:cxnSp>
          <p:sp>
            <p:nvSpPr>
              <p:cNvPr id="103" name="Bent Arrow 33"/>
              <p:cNvSpPr/>
              <p:nvPr/>
            </p:nvSpPr>
            <p:spPr bwMode="auto">
              <a:xfrm rot="10800000" flipV="1">
                <a:off x="4583910" y="2551073"/>
                <a:ext cx="83685" cy="1557895"/>
              </a:xfrm>
              <a:prstGeom prst="bentArrow">
                <a:avLst>
                  <a:gd name="adj1" fmla="val 0"/>
                  <a:gd name="adj2" fmla="val 0"/>
                  <a:gd name="adj3" fmla="val 0"/>
                  <a:gd name="adj4" fmla="val 80206"/>
                </a:avLst>
              </a:prstGeom>
              <a:solidFill>
                <a:schemeClr val="tx2"/>
              </a:solid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sp>
          <p:nvSpPr>
            <p:cNvPr id="99" name="Bent Arrow 33"/>
            <p:cNvSpPr/>
            <p:nvPr/>
          </p:nvSpPr>
          <p:spPr bwMode="auto">
            <a:xfrm flipV="1">
              <a:off x="2689810" y="2429583"/>
              <a:ext cx="370302" cy="1273841"/>
            </a:xfrm>
            <a:prstGeom prst="bentArrow">
              <a:avLst>
                <a:gd name="adj1" fmla="val 0"/>
                <a:gd name="adj2" fmla="val 0"/>
                <a:gd name="adj3" fmla="val 0"/>
                <a:gd name="adj4" fmla="val 73606"/>
              </a:avLst>
            </a:prstGeom>
            <a:solidFill>
              <a:schemeClr val="tx2"/>
            </a:solid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107" name="Gruppieren 65"/>
          <p:cNvGrpSpPr/>
          <p:nvPr/>
        </p:nvGrpSpPr>
        <p:grpSpPr>
          <a:xfrm rot="10800000" flipH="1">
            <a:off x="1178205" y="2422845"/>
            <a:ext cx="3043888" cy="965833"/>
            <a:chOff x="2689810" y="2429583"/>
            <a:chExt cx="1728752" cy="1273841"/>
          </a:xfrm>
          <a:effectLst>
            <a:glow rad="63500">
              <a:srgbClr val="73B5CE">
                <a:alpha val="20000"/>
              </a:srgbClr>
            </a:glow>
          </a:effectLst>
        </p:grpSpPr>
        <p:grpSp>
          <p:nvGrpSpPr>
            <p:cNvPr id="108" name="Gruppieren 66"/>
            <p:cNvGrpSpPr/>
            <p:nvPr/>
          </p:nvGrpSpPr>
          <p:grpSpPr>
            <a:xfrm>
              <a:off x="3045687" y="3351781"/>
              <a:ext cx="1372875" cy="348013"/>
              <a:chOff x="4583592" y="2246751"/>
              <a:chExt cx="403844" cy="304324"/>
            </a:xfrm>
          </p:grpSpPr>
          <p:cxnSp>
            <p:nvCxnSpPr>
              <p:cNvPr id="111" name="Straight Arrow Connector 34"/>
              <p:cNvCxnSpPr/>
              <p:nvPr/>
            </p:nvCxnSpPr>
            <p:spPr bwMode="auto">
              <a:xfrm rot="10800000" flipH="1">
                <a:off x="4987436" y="2246751"/>
                <a:ext cx="0" cy="140512"/>
              </a:xfrm>
              <a:prstGeom prst="straightConnector1">
                <a:avLst/>
              </a:prstGeom>
              <a:solidFill>
                <a:schemeClr val="tx2"/>
              </a:solidFill>
              <a:ln w="25400" cap="flat" cmpd="sng" algn="ctr">
                <a:solidFill>
                  <a:srgbClr val="029DD4"/>
                </a:solidFill>
                <a:prstDash val="solid"/>
                <a:round/>
                <a:headEnd type="none" w="med" len="med"/>
                <a:tailEnd type="triangle" w="med" len="lg"/>
              </a:ln>
              <a:effectLst/>
            </p:spPr>
          </p:cxnSp>
          <p:sp>
            <p:nvSpPr>
              <p:cNvPr id="112" name="Bent Arrow 33"/>
              <p:cNvSpPr/>
              <p:nvPr/>
            </p:nvSpPr>
            <p:spPr bwMode="auto">
              <a:xfrm flipH="1" flipV="1">
                <a:off x="4583592" y="2372659"/>
                <a:ext cx="403844" cy="178416"/>
              </a:xfrm>
              <a:prstGeom prst="bentArrow">
                <a:avLst>
                  <a:gd name="adj1" fmla="val 0"/>
                  <a:gd name="adj2" fmla="val 0"/>
                  <a:gd name="adj3" fmla="val 0"/>
                  <a:gd name="adj4" fmla="val 45830"/>
                </a:avLst>
              </a:prstGeom>
              <a:solidFill>
                <a:schemeClr val="tx2"/>
              </a:solid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sp>
          <p:nvSpPr>
            <p:cNvPr id="109" name="Bent Arrow 33"/>
            <p:cNvSpPr/>
            <p:nvPr/>
          </p:nvSpPr>
          <p:spPr bwMode="auto">
            <a:xfrm flipV="1">
              <a:off x="2689810" y="2429583"/>
              <a:ext cx="370302" cy="1273841"/>
            </a:xfrm>
            <a:prstGeom prst="bentArrow">
              <a:avLst>
                <a:gd name="adj1" fmla="val 0"/>
                <a:gd name="adj2" fmla="val 0"/>
                <a:gd name="adj3" fmla="val 0"/>
                <a:gd name="adj4" fmla="val 12916"/>
              </a:avLst>
            </a:prstGeom>
            <a:solidFill>
              <a:schemeClr val="tx2"/>
            </a:solid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18" name="Gruppieren 17"/>
          <p:cNvGrpSpPr/>
          <p:nvPr/>
        </p:nvGrpSpPr>
        <p:grpSpPr>
          <a:xfrm>
            <a:off x="1147004" y="2397618"/>
            <a:ext cx="4620083" cy="990762"/>
            <a:chOff x="1100224" y="2378301"/>
            <a:chExt cx="4620083" cy="990762"/>
          </a:xfrm>
        </p:grpSpPr>
        <p:grpSp>
          <p:nvGrpSpPr>
            <p:cNvPr id="113" name="Gruppieren 65"/>
            <p:cNvGrpSpPr/>
            <p:nvPr/>
          </p:nvGrpSpPr>
          <p:grpSpPr>
            <a:xfrm rot="10800000" flipH="1">
              <a:off x="1100224" y="2378301"/>
              <a:ext cx="4620083" cy="990762"/>
              <a:chOff x="2689810" y="2429583"/>
              <a:chExt cx="1889054" cy="1273841"/>
            </a:xfrm>
            <a:effectLst>
              <a:glow rad="63500">
                <a:srgbClr val="73B5CE">
                  <a:alpha val="20000"/>
                </a:srgbClr>
              </a:glow>
            </a:effectLst>
          </p:grpSpPr>
          <p:grpSp>
            <p:nvGrpSpPr>
              <p:cNvPr id="114" name="Gruppieren 66"/>
              <p:cNvGrpSpPr/>
              <p:nvPr/>
            </p:nvGrpSpPr>
            <p:grpSpPr>
              <a:xfrm>
                <a:off x="3045688" y="3592104"/>
                <a:ext cx="1533176" cy="107682"/>
                <a:chOff x="4583592" y="2456910"/>
                <a:chExt cx="450998" cy="94164"/>
              </a:xfrm>
            </p:grpSpPr>
            <p:cxnSp>
              <p:nvCxnSpPr>
                <p:cNvPr id="116" name="Straight Arrow Connector 34"/>
                <p:cNvCxnSpPr>
                  <a:stCxn id="118" idx="0"/>
                </p:cNvCxnSpPr>
                <p:nvPr/>
              </p:nvCxnSpPr>
              <p:spPr bwMode="auto">
                <a:xfrm rot="10800000" flipH="1">
                  <a:off x="5009564" y="2456910"/>
                  <a:ext cx="25026" cy="7"/>
                </a:xfrm>
                <a:prstGeom prst="straightConnector1">
                  <a:avLst/>
                </a:prstGeom>
                <a:solidFill>
                  <a:schemeClr val="tx2"/>
                </a:solidFill>
                <a:ln w="25400" cap="flat" cmpd="sng" algn="ctr">
                  <a:solidFill>
                    <a:srgbClr val="029DD4"/>
                  </a:solidFill>
                  <a:prstDash val="solid"/>
                  <a:round/>
                  <a:headEnd type="none" w="med" len="med"/>
                  <a:tailEnd type="triangle" w="med" len="lg"/>
                </a:ln>
                <a:effectLst/>
              </p:spPr>
            </p:cxnSp>
            <p:sp>
              <p:nvSpPr>
                <p:cNvPr id="117" name="Bent Arrow 33"/>
                <p:cNvSpPr/>
                <p:nvPr/>
              </p:nvSpPr>
              <p:spPr bwMode="auto">
                <a:xfrm flipH="1" flipV="1">
                  <a:off x="4583592" y="2465368"/>
                  <a:ext cx="411288" cy="85706"/>
                </a:xfrm>
                <a:prstGeom prst="bentArrow">
                  <a:avLst>
                    <a:gd name="adj1" fmla="val 0"/>
                    <a:gd name="adj2" fmla="val 0"/>
                    <a:gd name="adj3" fmla="val 0"/>
                    <a:gd name="adj4" fmla="val 45830"/>
                  </a:avLst>
                </a:prstGeom>
                <a:solidFill>
                  <a:schemeClr val="tx2"/>
                </a:solid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029DD4"/>
                    </a:solidFill>
                  </a:endParaRPr>
                </a:p>
              </p:txBody>
            </p:sp>
          </p:grpSp>
          <p:sp>
            <p:nvSpPr>
              <p:cNvPr id="115" name="Bent Arrow 33"/>
              <p:cNvSpPr/>
              <p:nvPr/>
            </p:nvSpPr>
            <p:spPr bwMode="auto">
              <a:xfrm flipV="1">
                <a:off x="2689810" y="2429583"/>
                <a:ext cx="370302" cy="1273841"/>
              </a:xfrm>
              <a:prstGeom prst="bentArrow">
                <a:avLst>
                  <a:gd name="adj1" fmla="val 0"/>
                  <a:gd name="adj2" fmla="val 0"/>
                  <a:gd name="adj3" fmla="val 0"/>
                  <a:gd name="adj4" fmla="val 8783"/>
                </a:avLst>
              </a:prstGeom>
              <a:solidFill>
                <a:schemeClr val="tx2"/>
              </a:solid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029DD4"/>
                  </a:solidFill>
                </a:endParaRPr>
              </a:p>
            </p:txBody>
          </p:sp>
        </p:grpSp>
        <p:sp>
          <p:nvSpPr>
            <p:cNvPr id="118" name="Bent Arrow 33"/>
            <p:cNvSpPr/>
            <p:nvPr/>
          </p:nvSpPr>
          <p:spPr bwMode="auto">
            <a:xfrm flipV="1">
              <a:off x="5389711" y="2419158"/>
              <a:ext cx="122520" cy="45719"/>
            </a:xfrm>
            <a:prstGeom prst="bentArrow">
              <a:avLst>
                <a:gd name="adj1" fmla="val 0"/>
                <a:gd name="adj2" fmla="val 0"/>
                <a:gd name="adj3" fmla="val 0"/>
                <a:gd name="adj4" fmla="val 45830"/>
              </a:avLst>
            </a:prstGeom>
            <a:solidFill>
              <a:schemeClr val="tx2"/>
            </a:solid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029DD4"/>
                </a:solidFill>
              </a:endParaRPr>
            </a:p>
          </p:txBody>
        </p:sp>
      </p:grpSp>
      <p:grpSp>
        <p:nvGrpSpPr>
          <p:cNvPr id="119" name="Gruppieren 65"/>
          <p:cNvGrpSpPr/>
          <p:nvPr/>
        </p:nvGrpSpPr>
        <p:grpSpPr>
          <a:xfrm rot="10800000" flipH="1">
            <a:off x="1385905" y="3242144"/>
            <a:ext cx="3806212" cy="137415"/>
            <a:chOff x="2698765" y="1585893"/>
            <a:chExt cx="1834442" cy="2117546"/>
          </a:xfrm>
          <a:effectLst>
            <a:glow rad="63500">
              <a:srgbClr val="73B5CE">
                <a:alpha val="20000"/>
              </a:srgbClr>
            </a:glow>
          </a:effectLst>
        </p:grpSpPr>
        <p:cxnSp>
          <p:nvCxnSpPr>
            <p:cNvPr id="131" name="Straight Arrow Connector 34"/>
            <p:cNvCxnSpPr/>
            <p:nvPr/>
          </p:nvCxnSpPr>
          <p:spPr bwMode="auto">
            <a:xfrm rot="10800000" flipH="1">
              <a:off x="4448131" y="3703439"/>
              <a:ext cx="85076" cy="0"/>
            </a:xfrm>
            <a:prstGeom prst="straightConnector1">
              <a:avLst/>
            </a:prstGeom>
            <a:solidFill>
              <a:schemeClr val="tx2"/>
            </a:solidFill>
            <a:ln w="25400" cap="flat" cmpd="sng" algn="ctr">
              <a:solidFill>
                <a:srgbClr val="029DD4"/>
              </a:solidFill>
              <a:prstDash val="solid"/>
              <a:round/>
              <a:headEnd type="none" w="med" len="med"/>
              <a:tailEnd type="triangle" w="med" len="lg"/>
            </a:ln>
            <a:effectLst/>
          </p:spPr>
        </p:cxnSp>
        <p:sp>
          <p:nvSpPr>
            <p:cNvPr id="127" name="Bent Arrow 33"/>
            <p:cNvSpPr/>
            <p:nvPr/>
          </p:nvSpPr>
          <p:spPr bwMode="auto">
            <a:xfrm flipV="1">
              <a:off x="2698765" y="1585893"/>
              <a:ext cx="1748566" cy="2117546"/>
            </a:xfrm>
            <a:prstGeom prst="bentArrow">
              <a:avLst>
                <a:gd name="adj1" fmla="val 0"/>
                <a:gd name="adj2" fmla="val 0"/>
                <a:gd name="adj3" fmla="val 0"/>
                <a:gd name="adj4" fmla="val 38538"/>
              </a:avLst>
            </a:prstGeom>
            <a:solidFill>
              <a:schemeClr val="tx2"/>
            </a:solid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029DD4"/>
                </a:solidFill>
              </a:endParaRPr>
            </a:p>
          </p:txBody>
        </p:sp>
      </p:grpSp>
      <p:grpSp>
        <p:nvGrpSpPr>
          <p:cNvPr id="31" name="Gruppieren 30"/>
          <p:cNvGrpSpPr/>
          <p:nvPr/>
        </p:nvGrpSpPr>
        <p:grpSpPr>
          <a:xfrm>
            <a:off x="238052" y="1291639"/>
            <a:ext cx="4518334" cy="2413543"/>
            <a:chOff x="197711" y="1291639"/>
            <a:chExt cx="4518334" cy="2400143"/>
          </a:xfrm>
          <a:effectLst>
            <a:glow rad="63500">
              <a:srgbClr val="73B5CE">
                <a:alpha val="20000"/>
              </a:srgbClr>
            </a:glow>
          </a:effectLst>
        </p:grpSpPr>
        <p:grpSp>
          <p:nvGrpSpPr>
            <p:cNvPr id="138" name="Gruppieren 66"/>
            <p:cNvGrpSpPr/>
            <p:nvPr/>
          </p:nvGrpSpPr>
          <p:grpSpPr>
            <a:xfrm rot="5400000" flipH="1">
              <a:off x="1504162" y="-5636"/>
              <a:ext cx="1907593" cy="4516171"/>
              <a:chOff x="4583592" y="-4089009"/>
              <a:chExt cx="411288" cy="6640084"/>
            </a:xfrm>
          </p:grpSpPr>
          <p:cxnSp>
            <p:nvCxnSpPr>
              <p:cNvPr id="140" name="Straight Arrow Connector 34"/>
              <p:cNvCxnSpPr/>
              <p:nvPr/>
            </p:nvCxnSpPr>
            <p:spPr bwMode="auto">
              <a:xfrm rot="5400000" flipH="1">
                <a:off x="4929711" y="-4099969"/>
                <a:ext cx="1" cy="21922"/>
              </a:xfrm>
              <a:prstGeom prst="straightConnector1">
                <a:avLst/>
              </a:prstGeom>
              <a:solidFill>
                <a:schemeClr val="tx2"/>
              </a:solidFill>
              <a:ln w="25400" cap="flat" cmpd="sng" algn="ctr">
                <a:solidFill>
                  <a:srgbClr val="029DD4"/>
                </a:solidFill>
                <a:prstDash val="solid"/>
                <a:round/>
                <a:headEnd type="none" w="med" len="med"/>
                <a:tailEnd type="triangle" w="med" len="lg"/>
              </a:ln>
              <a:effectLst/>
            </p:spPr>
          </p:cxnSp>
          <p:sp>
            <p:nvSpPr>
              <p:cNvPr id="141" name="Bent Arrow 33"/>
              <p:cNvSpPr/>
              <p:nvPr/>
            </p:nvSpPr>
            <p:spPr bwMode="auto">
              <a:xfrm flipH="1" flipV="1">
                <a:off x="4583592" y="2309487"/>
                <a:ext cx="411288" cy="241588"/>
              </a:xfrm>
              <a:prstGeom prst="bentArrow">
                <a:avLst>
                  <a:gd name="adj1" fmla="val 0"/>
                  <a:gd name="adj2" fmla="val 0"/>
                  <a:gd name="adj3" fmla="val 0"/>
                  <a:gd name="adj4" fmla="val 45830"/>
                </a:avLst>
              </a:prstGeom>
              <a:solidFill>
                <a:schemeClr val="tx2"/>
              </a:solid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sp>
          <p:nvSpPr>
            <p:cNvPr id="139" name="Bent Arrow 33"/>
            <p:cNvSpPr/>
            <p:nvPr/>
          </p:nvSpPr>
          <p:spPr bwMode="auto">
            <a:xfrm rot="5400000" flipH="1" flipV="1">
              <a:off x="323914" y="3060361"/>
              <a:ext cx="505218" cy="757624"/>
            </a:xfrm>
            <a:prstGeom prst="bentArrow">
              <a:avLst>
                <a:gd name="adj1" fmla="val 0"/>
                <a:gd name="adj2" fmla="val 0"/>
                <a:gd name="adj3" fmla="val 0"/>
                <a:gd name="adj4" fmla="val 8783"/>
              </a:avLst>
            </a:prstGeom>
            <a:solidFill>
              <a:schemeClr val="tx2"/>
            </a:solid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142" name="Bent Arrow 33"/>
            <p:cNvSpPr/>
            <p:nvPr/>
          </p:nvSpPr>
          <p:spPr bwMode="auto">
            <a:xfrm rot="16200000" flipH="1" flipV="1">
              <a:off x="2414950" y="-759123"/>
              <a:ext cx="250333" cy="4351857"/>
            </a:xfrm>
            <a:prstGeom prst="bentArrow">
              <a:avLst>
                <a:gd name="adj1" fmla="val 0"/>
                <a:gd name="adj2" fmla="val 0"/>
                <a:gd name="adj3" fmla="val 0"/>
                <a:gd name="adj4" fmla="val 29517"/>
              </a:avLst>
            </a:prstGeom>
            <a:solidFill>
              <a:schemeClr val="tx2"/>
            </a:solid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125" name="Gruppieren 65"/>
          <p:cNvGrpSpPr/>
          <p:nvPr/>
        </p:nvGrpSpPr>
        <p:grpSpPr>
          <a:xfrm rot="10800000" flipH="1">
            <a:off x="1347288" y="3051554"/>
            <a:ext cx="457524" cy="322521"/>
            <a:chOff x="2698765" y="1585893"/>
            <a:chExt cx="1834442" cy="2117546"/>
          </a:xfrm>
          <a:solidFill>
            <a:srgbClr val="0293C6"/>
          </a:solidFill>
          <a:effectLst>
            <a:glow rad="63500">
              <a:srgbClr val="73B5CE">
                <a:alpha val="20000"/>
              </a:srgbClr>
            </a:glow>
          </a:effectLst>
        </p:grpSpPr>
        <p:cxnSp>
          <p:nvCxnSpPr>
            <p:cNvPr id="126" name="Straight Arrow Connector 34"/>
            <p:cNvCxnSpPr/>
            <p:nvPr/>
          </p:nvCxnSpPr>
          <p:spPr bwMode="auto">
            <a:xfrm rot="10800000" flipH="1">
              <a:off x="4448131" y="3703439"/>
              <a:ext cx="85076" cy="0"/>
            </a:xfrm>
            <a:prstGeom prst="straightConnector1">
              <a:avLst/>
            </a:prstGeom>
            <a:grpFill/>
            <a:ln w="25400" cap="flat" cmpd="sng" algn="ctr">
              <a:solidFill>
                <a:srgbClr val="029DD4"/>
              </a:solidFill>
              <a:prstDash val="solid"/>
              <a:round/>
              <a:headEnd type="none" w="med" len="med"/>
              <a:tailEnd type="triangle" w="med" len="lg"/>
            </a:ln>
            <a:effectLst/>
          </p:spPr>
        </p:cxnSp>
        <p:sp>
          <p:nvSpPr>
            <p:cNvPr id="135" name="Bent Arrow 33"/>
            <p:cNvSpPr/>
            <p:nvPr/>
          </p:nvSpPr>
          <p:spPr bwMode="auto">
            <a:xfrm flipV="1">
              <a:off x="2698765" y="1585893"/>
              <a:ext cx="1748567" cy="2117546"/>
            </a:xfrm>
            <a:prstGeom prst="bentArrow">
              <a:avLst>
                <a:gd name="adj1" fmla="val 0"/>
                <a:gd name="adj2" fmla="val 0"/>
                <a:gd name="adj3" fmla="val 0"/>
                <a:gd name="adj4" fmla="val 14336"/>
              </a:avLst>
            </a:prstGeom>
            <a:grp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137" name="Gruppieren 65"/>
          <p:cNvGrpSpPr/>
          <p:nvPr/>
        </p:nvGrpSpPr>
        <p:grpSpPr>
          <a:xfrm flipH="1">
            <a:off x="892186" y="3737554"/>
            <a:ext cx="165239" cy="441602"/>
            <a:chOff x="2689810" y="2429576"/>
            <a:chExt cx="648210" cy="3170752"/>
          </a:xfrm>
          <a:effectLst>
            <a:glow rad="63500">
              <a:srgbClr val="73B5CE">
                <a:alpha val="20000"/>
              </a:srgbClr>
            </a:glow>
          </a:effectLst>
        </p:grpSpPr>
        <p:grpSp>
          <p:nvGrpSpPr>
            <p:cNvPr id="143" name="Gruppieren 66"/>
            <p:cNvGrpSpPr/>
            <p:nvPr/>
          </p:nvGrpSpPr>
          <p:grpSpPr>
            <a:xfrm>
              <a:off x="3106459" y="4011889"/>
              <a:ext cx="231561" cy="1588439"/>
              <a:chOff x="4601480" y="2823990"/>
              <a:chExt cx="68116" cy="1389029"/>
            </a:xfrm>
          </p:grpSpPr>
          <p:cxnSp>
            <p:nvCxnSpPr>
              <p:cNvPr id="145" name="Straight Arrow Connector 34"/>
              <p:cNvCxnSpPr/>
              <p:nvPr/>
            </p:nvCxnSpPr>
            <p:spPr bwMode="auto">
              <a:xfrm rot="10800000" flipH="1" flipV="1">
                <a:off x="4669596" y="4108966"/>
                <a:ext cx="0" cy="104053"/>
              </a:xfrm>
              <a:prstGeom prst="straightConnector1">
                <a:avLst/>
              </a:prstGeom>
              <a:solidFill>
                <a:schemeClr val="tx2"/>
              </a:solidFill>
              <a:ln w="25400" cap="flat" cmpd="sng" algn="ctr">
                <a:solidFill>
                  <a:srgbClr val="029DD4"/>
                </a:solidFill>
                <a:prstDash val="solid"/>
                <a:round/>
                <a:headEnd type="none" w="med" len="med"/>
                <a:tailEnd type="triangle" w="med" len="lg"/>
              </a:ln>
              <a:effectLst/>
            </p:spPr>
          </p:cxnSp>
          <p:sp>
            <p:nvSpPr>
              <p:cNvPr id="146" name="Bent Arrow 33"/>
              <p:cNvSpPr/>
              <p:nvPr/>
            </p:nvSpPr>
            <p:spPr bwMode="auto">
              <a:xfrm rot="10800000" flipV="1">
                <a:off x="4601480" y="2823990"/>
                <a:ext cx="52758" cy="833576"/>
              </a:xfrm>
              <a:prstGeom prst="bentArrow">
                <a:avLst>
                  <a:gd name="adj1" fmla="val 0"/>
                  <a:gd name="adj2" fmla="val 0"/>
                  <a:gd name="adj3" fmla="val 0"/>
                  <a:gd name="adj4" fmla="val 80206"/>
                </a:avLst>
              </a:prstGeom>
              <a:solidFill>
                <a:schemeClr val="tx2"/>
              </a:solid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sp>
          <p:nvSpPr>
            <p:cNvPr id="144" name="Bent Arrow 33"/>
            <p:cNvSpPr/>
            <p:nvPr/>
          </p:nvSpPr>
          <p:spPr bwMode="auto">
            <a:xfrm flipV="1">
              <a:off x="2689810" y="2429576"/>
              <a:ext cx="370303" cy="1582303"/>
            </a:xfrm>
            <a:prstGeom prst="bentArrow">
              <a:avLst>
                <a:gd name="adj1" fmla="val 0"/>
                <a:gd name="adj2" fmla="val 0"/>
                <a:gd name="adj3" fmla="val 0"/>
                <a:gd name="adj4" fmla="val 73606"/>
              </a:avLst>
            </a:prstGeom>
            <a:solidFill>
              <a:schemeClr val="tx2"/>
            </a:solidFill>
            <a:ln w="25400" cap="flat" cmpd="sng" algn="ctr">
              <a:solidFill>
                <a:srgbClr val="029DD4"/>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5" name="Gruppieren 4"/>
          <p:cNvGrpSpPr/>
          <p:nvPr/>
        </p:nvGrpSpPr>
        <p:grpSpPr>
          <a:xfrm>
            <a:off x="2884959" y="1735026"/>
            <a:ext cx="1675920" cy="196298"/>
            <a:chOff x="2844618" y="1735026"/>
            <a:chExt cx="1675920" cy="196298"/>
          </a:xfrm>
          <a:effectLst>
            <a:glow rad="63500">
              <a:srgbClr val="0000FF">
                <a:alpha val="20000"/>
              </a:srgbClr>
            </a:glow>
          </a:effectLst>
        </p:grpSpPr>
        <p:sp>
          <p:nvSpPr>
            <p:cNvPr id="148" name="Bent Arrow 33"/>
            <p:cNvSpPr/>
            <p:nvPr/>
          </p:nvSpPr>
          <p:spPr bwMode="auto">
            <a:xfrm flipV="1">
              <a:off x="3927884" y="1782027"/>
              <a:ext cx="592654" cy="58225"/>
            </a:xfrm>
            <a:prstGeom prst="bentArrow">
              <a:avLst>
                <a:gd name="adj1" fmla="val 0"/>
                <a:gd name="adj2" fmla="val 0"/>
                <a:gd name="adj3" fmla="val 25000"/>
                <a:gd name="adj4" fmla="val 100000"/>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153" name="Bent Arrow 33"/>
            <p:cNvSpPr/>
            <p:nvPr/>
          </p:nvSpPr>
          <p:spPr bwMode="auto">
            <a:xfrm rot="5400000">
              <a:off x="3755841" y="1609984"/>
              <a:ext cx="47004" cy="297087"/>
            </a:xfrm>
            <a:prstGeom prst="bentArrow">
              <a:avLst>
                <a:gd name="adj1" fmla="val 0"/>
                <a:gd name="adj2" fmla="val 0"/>
                <a:gd name="adj3" fmla="val 25000"/>
                <a:gd name="adj4" fmla="val 45474"/>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157" name="Straight Arrow Connector 34"/>
            <p:cNvCxnSpPr/>
            <p:nvPr/>
          </p:nvCxnSpPr>
          <p:spPr bwMode="auto">
            <a:xfrm>
              <a:off x="2844618" y="1782029"/>
              <a:ext cx="0" cy="149295"/>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sp>
          <p:nvSpPr>
            <p:cNvPr id="162" name="Bent Arrow 33"/>
            <p:cNvSpPr/>
            <p:nvPr/>
          </p:nvSpPr>
          <p:spPr bwMode="auto">
            <a:xfrm>
              <a:off x="2847265" y="1736118"/>
              <a:ext cx="783534" cy="82922"/>
            </a:xfrm>
            <a:prstGeom prst="bentArrow">
              <a:avLst>
                <a:gd name="adj1" fmla="val 0"/>
                <a:gd name="adj2" fmla="val 0"/>
                <a:gd name="adj3" fmla="val 25000"/>
                <a:gd name="adj4" fmla="val 45474"/>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163" name="Gruppieren 162"/>
          <p:cNvGrpSpPr/>
          <p:nvPr/>
        </p:nvGrpSpPr>
        <p:grpSpPr>
          <a:xfrm>
            <a:off x="1530866" y="1589932"/>
            <a:ext cx="3034245" cy="203784"/>
            <a:chOff x="2844618" y="1738667"/>
            <a:chExt cx="1675919" cy="128602"/>
          </a:xfrm>
          <a:effectLst>
            <a:glow rad="63500">
              <a:srgbClr val="0000FF">
                <a:alpha val="20000"/>
              </a:srgbClr>
            </a:glow>
          </a:effectLst>
        </p:grpSpPr>
        <p:sp>
          <p:nvSpPr>
            <p:cNvPr id="164" name="Bent Arrow 33"/>
            <p:cNvSpPr/>
            <p:nvPr/>
          </p:nvSpPr>
          <p:spPr bwMode="auto">
            <a:xfrm flipV="1">
              <a:off x="4209230" y="1782029"/>
              <a:ext cx="311307" cy="85240"/>
            </a:xfrm>
            <a:prstGeom prst="bentArrow">
              <a:avLst>
                <a:gd name="adj1" fmla="val 0"/>
                <a:gd name="adj2" fmla="val 0"/>
                <a:gd name="adj3" fmla="val 25000"/>
                <a:gd name="adj4" fmla="val 61754"/>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165" name="Bent Arrow 33"/>
            <p:cNvSpPr/>
            <p:nvPr/>
          </p:nvSpPr>
          <p:spPr bwMode="auto">
            <a:xfrm rot="5400000">
              <a:off x="3892370" y="1477095"/>
              <a:ext cx="55288" cy="578431"/>
            </a:xfrm>
            <a:prstGeom prst="bentArrow">
              <a:avLst>
                <a:gd name="adj1" fmla="val 0"/>
                <a:gd name="adj2" fmla="val 0"/>
                <a:gd name="adj3" fmla="val 25000"/>
                <a:gd name="adj4" fmla="val 45474"/>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166" name="Straight Arrow Connector 34"/>
            <p:cNvCxnSpPr/>
            <p:nvPr/>
          </p:nvCxnSpPr>
          <p:spPr bwMode="auto">
            <a:xfrm>
              <a:off x="2844618" y="1761419"/>
              <a:ext cx="2647" cy="77840"/>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sp>
          <p:nvSpPr>
            <p:cNvPr id="167" name="Bent Arrow 33"/>
            <p:cNvSpPr/>
            <p:nvPr/>
          </p:nvSpPr>
          <p:spPr bwMode="auto">
            <a:xfrm>
              <a:off x="2847265" y="1738667"/>
              <a:ext cx="783534" cy="44884"/>
            </a:xfrm>
            <a:prstGeom prst="bentArrow">
              <a:avLst>
                <a:gd name="adj1" fmla="val 0"/>
                <a:gd name="adj2" fmla="val 0"/>
                <a:gd name="adj3" fmla="val 25000"/>
                <a:gd name="adj4" fmla="val 45474"/>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sp>
        <p:nvSpPr>
          <p:cNvPr id="9" name="Gleichschenkliges Dreieck 8"/>
          <p:cNvSpPr/>
          <p:nvPr/>
        </p:nvSpPr>
        <p:spPr bwMode="auto">
          <a:xfrm rot="9458074">
            <a:off x="4596125" y="1560350"/>
            <a:ext cx="50400" cy="81974"/>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err="1" smtClean="0">
              <a:solidFill>
                <a:schemeClr val="tx1"/>
              </a:solidFill>
              <a:latin typeface="+mj-lt"/>
            </a:endParaRPr>
          </a:p>
        </p:txBody>
      </p:sp>
      <p:grpSp>
        <p:nvGrpSpPr>
          <p:cNvPr id="168" name="Gruppieren 190"/>
          <p:cNvGrpSpPr/>
          <p:nvPr/>
        </p:nvGrpSpPr>
        <p:grpSpPr>
          <a:xfrm rot="16200000">
            <a:off x="2999989" y="1152138"/>
            <a:ext cx="780713" cy="2485537"/>
            <a:chOff x="-2278427" y="1921035"/>
            <a:chExt cx="7858885" cy="2716310"/>
          </a:xfrm>
          <a:effectLst>
            <a:glow rad="63500">
              <a:srgbClr val="0000FF">
                <a:alpha val="20000"/>
              </a:srgbClr>
            </a:glow>
          </a:effectLst>
        </p:grpSpPr>
        <p:sp>
          <p:nvSpPr>
            <p:cNvPr id="169" name="Bent Arrow 33"/>
            <p:cNvSpPr/>
            <p:nvPr/>
          </p:nvSpPr>
          <p:spPr bwMode="auto">
            <a:xfrm rot="10800000" flipH="1">
              <a:off x="1128472" y="3254904"/>
              <a:ext cx="4451986" cy="1382441"/>
            </a:xfrm>
            <a:prstGeom prst="bentArrow">
              <a:avLst>
                <a:gd name="adj1" fmla="val 0"/>
                <a:gd name="adj2" fmla="val 0"/>
                <a:gd name="adj3" fmla="val 25000"/>
                <a:gd name="adj4" fmla="val 18148"/>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170" name="Bent Arrow 33"/>
            <p:cNvSpPr/>
            <p:nvPr/>
          </p:nvSpPr>
          <p:spPr bwMode="auto">
            <a:xfrm rot="16200000" flipH="1" flipV="1">
              <a:off x="-304381" y="1822051"/>
              <a:ext cx="1333869" cy="1531837"/>
            </a:xfrm>
            <a:prstGeom prst="bentArrow">
              <a:avLst>
                <a:gd name="adj1" fmla="val 0"/>
                <a:gd name="adj2" fmla="val 0"/>
                <a:gd name="adj3" fmla="val 25000"/>
                <a:gd name="adj4" fmla="val 45474"/>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172" name="Straight Arrow Connector 34"/>
            <p:cNvCxnSpPr/>
            <p:nvPr/>
          </p:nvCxnSpPr>
          <p:spPr bwMode="auto">
            <a:xfrm rot="16200000" flipV="1">
              <a:off x="-1245185" y="887793"/>
              <a:ext cx="0" cy="2066484"/>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grpSp>
      <p:grpSp>
        <p:nvGrpSpPr>
          <p:cNvPr id="178" name="Gruppieren 190"/>
          <p:cNvGrpSpPr/>
          <p:nvPr/>
        </p:nvGrpSpPr>
        <p:grpSpPr>
          <a:xfrm rot="16200000">
            <a:off x="2234285" y="992042"/>
            <a:ext cx="1430312" cy="3455328"/>
            <a:chOff x="-2130961" y="1921035"/>
            <a:chExt cx="7711417" cy="2716309"/>
          </a:xfrm>
          <a:effectLst>
            <a:glow rad="63500">
              <a:srgbClr val="0000FF">
                <a:alpha val="20000"/>
              </a:srgbClr>
            </a:glow>
          </a:effectLst>
        </p:grpSpPr>
        <p:sp>
          <p:nvSpPr>
            <p:cNvPr id="180" name="Bent Arrow 33"/>
            <p:cNvSpPr/>
            <p:nvPr/>
          </p:nvSpPr>
          <p:spPr bwMode="auto">
            <a:xfrm rot="10800000" flipH="1">
              <a:off x="2867113" y="3254903"/>
              <a:ext cx="2713343" cy="1382441"/>
            </a:xfrm>
            <a:prstGeom prst="bentArrow">
              <a:avLst>
                <a:gd name="adj1" fmla="val 0"/>
                <a:gd name="adj2" fmla="val 0"/>
                <a:gd name="adj3" fmla="val 25000"/>
                <a:gd name="adj4" fmla="val 14568"/>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181" name="Bent Arrow 33"/>
            <p:cNvSpPr/>
            <p:nvPr/>
          </p:nvSpPr>
          <p:spPr bwMode="auto">
            <a:xfrm rot="16200000" flipH="1" flipV="1">
              <a:off x="564940" y="952731"/>
              <a:ext cx="1333869" cy="3270477"/>
            </a:xfrm>
            <a:prstGeom prst="bentArrow">
              <a:avLst>
                <a:gd name="adj1" fmla="val 0"/>
                <a:gd name="adj2" fmla="val 0"/>
                <a:gd name="adj3" fmla="val 25000"/>
                <a:gd name="adj4" fmla="val 13022"/>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182" name="Straight Arrow Connector 34"/>
            <p:cNvCxnSpPr/>
            <p:nvPr/>
          </p:nvCxnSpPr>
          <p:spPr bwMode="auto">
            <a:xfrm rot="5400000">
              <a:off x="-1175047" y="965121"/>
              <a:ext cx="7190" cy="1919018"/>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grpSp>
      <p:grpSp>
        <p:nvGrpSpPr>
          <p:cNvPr id="15" name="Gruppieren 14"/>
          <p:cNvGrpSpPr/>
          <p:nvPr/>
        </p:nvGrpSpPr>
        <p:grpSpPr>
          <a:xfrm>
            <a:off x="3817700" y="2002666"/>
            <a:ext cx="987766" cy="1854226"/>
            <a:chOff x="3770920" y="2007659"/>
            <a:chExt cx="987766" cy="1845427"/>
          </a:xfrm>
          <a:effectLst>
            <a:glow rad="63500">
              <a:srgbClr val="0000FF">
                <a:alpha val="20000"/>
              </a:srgbClr>
            </a:glow>
          </a:effectLst>
        </p:grpSpPr>
        <p:cxnSp>
          <p:nvCxnSpPr>
            <p:cNvPr id="88" name="Straight Arrow Connector 34"/>
            <p:cNvCxnSpPr/>
            <p:nvPr/>
          </p:nvCxnSpPr>
          <p:spPr bwMode="auto">
            <a:xfrm rot="16200000" flipV="1">
              <a:off x="3898046" y="3724312"/>
              <a:ext cx="0" cy="254251"/>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sp>
          <p:nvSpPr>
            <p:cNvPr id="89" name="Bent Arrow 33"/>
            <p:cNvSpPr/>
            <p:nvPr/>
          </p:nvSpPr>
          <p:spPr bwMode="auto">
            <a:xfrm rot="16200000" flipV="1">
              <a:off x="3832127" y="2926527"/>
              <a:ext cx="1109880" cy="743237"/>
            </a:xfrm>
            <a:prstGeom prst="bentArrow">
              <a:avLst>
                <a:gd name="adj1" fmla="val 0"/>
                <a:gd name="adj2" fmla="val 0"/>
                <a:gd name="adj3" fmla="val 25000"/>
                <a:gd name="adj4" fmla="val 10908"/>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13" name="Gerader Verbinder 12"/>
            <p:cNvCxnSpPr/>
            <p:nvPr/>
          </p:nvCxnSpPr>
          <p:spPr bwMode="auto">
            <a:xfrm>
              <a:off x="4758686" y="2007659"/>
              <a:ext cx="0" cy="612000"/>
            </a:xfrm>
            <a:prstGeom prst="line">
              <a:avLst/>
            </a:prstGeom>
            <a:solidFill>
              <a:schemeClr val="accent1"/>
            </a:solidFill>
            <a:ln w="25400" cap="flat" cmpd="sng" algn="ctr">
              <a:solidFill>
                <a:srgbClr val="7979FF"/>
              </a:solidFill>
              <a:prstDash val="solid"/>
              <a:round/>
              <a:headEnd type="none" w="med" len="med"/>
              <a:tailEnd type="none" w="med" len="med"/>
            </a:ln>
            <a:effectLst/>
          </p:spPr>
        </p:cxnSp>
      </p:grpSp>
      <p:grpSp>
        <p:nvGrpSpPr>
          <p:cNvPr id="17" name="Gruppieren 16"/>
          <p:cNvGrpSpPr/>
          <p:nvPr/>
        </p:nvGrpSpPr>
        <p:grpSpPr>
          <a:xfrm>
            <a:off x="4511596" y="2014098"/>
            <a:ext cx="360115" cy="2460117"/>
            <a:chOff x="4471255" y="2007659"/>
            <a:chExt cx="360115" cy="2460117"/>
          </a:xfrm>
          <a:effectLst>
            <a:glow rad="63500">
              <a:srgbClr val="0000FF">
                <a:alpha val="20000"/>
              </a:srgbClr>
            </a:glow>
          </a:effectLst>
        </p:grpSpPr>
        <p:sp>
          <p:nvSpPr>
            <p:cNvPr id="189" name="Bent Arrow 33"/>
            <p:cNvSpPr/>
            <p:nvPr/>
          </p:nvSpPr>
          <p:spPr bwMode="auto">
            <a:xfrm rot="5400000" flipH="1">
              <a:off x="4086308" y="3302703"/>
              <a:ext cx="1299594" cy="180802"/>
            </a:xfrm>
            <a:prstGeom prst="bentArrow">
              <a:avLst>
                <a:gd name="adj1" fmla="val 0"/>
                <a:gd name="adj2" fmla="val 0"/>
                <a:gd name="adj3" fmla="val 25000"/>
                <a:gd name="adj4" fmla="val 32241"/>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190" name="Bent Arrow 33"/>
            <p:cNvSpPr/>
            <p:nvPr/>
          </p:nvSpPr>
          <p:spPr bwMode="auto">
            <a:xfrm rot="10800000" flipH="1" flipV="1">
              <a:off x="4471255" y="4042901"/>
              <a:ext cx="174449" cy="261487"/>
            </a:xfrm>
            <a:prstGeom prst="bentArrow">
              <a:avLst>
                <a:gd name="adj1" fmla="val 0"/>
                <a:gd name="adj2" fmla="val 0"/>
                <a:gd name="adj3" fmla="val 25000"/>
                <a:gd name="adj4" fmla="val 45474"/>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191" name="Straight Arrow Connector 34"/>
            <p:cNvCxnSpPr/>
            <p:nvPr/>
          </p:nvCxnSpPr>
          <p:spPr bwMode="auto">
            <a:xfrm>
              <a:off x="4476259" y="4319189"/>
              <a:ext cx="3088" cy="148587"/>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cxnSp>
          <p:nvCxnSpPr>
            <p:cNvPr id="192" name="Gerader Verbinder 191"/>
            <p:cNvCxnSpPr/>
            <p:nvPr/>
          </p:nvCxnSpPr>
          <p:spPr bwMode="auto">
            <a:xfrm>
              <a:off x="4831370" y="2007659"/>
              <a:ext cx="0" cy="612000"/>
            </a:xfrm>
            <a:prstGeom prst="line">
              <a:avLst/>
            </a:prstGeom>
            <a:solidFill>
              <a:schemeClr val="accent1"/>
            </a:solidFill>
            <a:ln w="25400" cap="flat" cmpd="sng" algn="ctr">
              <a:solidFill>
                <a:srgbClr val="7979FF"/>
              </a:solidFill>
              <a:prstDash val="solid"/>
              <a:round/>
              <a:headEnd type="none" w="med" len="med"/>
              <a:tailEnd type="none" w="med" len="med"/>
            </a:ln>
            <a:effectLst/>
          </p:spPr>
        </p:cxnSp>
      </p:grpSp>
      <p:grpSp>
        <p:nvGrpSpPr>
          <p:cNvPr id="193" name="Gruppieren 190"/>
          <p:cNvGrpSpPr/>
          <p:nvPr/>
        </p:nvGrpSpPr>
        <p:grpSpPr>
          <a:xfrm rot="16200000" flipV="1">
            <a:off x="4629366" y="2278705"/>
            <a:ext cx="1079769" cy="345327"/>
            <a:chOff x="-2278427" y="1921035"/>
            <a:chExt cx="3873070" cy="1333869"/>
          </a:xfrm>
          <a:effectLst>
            <a:glow rad="63500">
              <a:srgbClr val="0000FF">
                <a:alpha val="20000"/>
              </a:srgbClr>
            </a:glow>
          </a:effectLst>
        </p:grpSpPr>
        <p:sp>
          <p:nvSpPr>
            <p:cNvPr id="195" name="Bent Arrow 33"/>
            <p:cNvSpPr/>
            <p:nvPr/>
          </p:nvSpPr>
          <p:spPr bwMode="auto">
            <a:xfrm rot="16200000" flipH="1" flipV="1">
              <a:off x="-71302" y="1588959"/>
              <a:ext cx="1333869" cy="1998021"/>
            </a:xfrm>
            <a:prstGeom prst="bentArrow">
              <a:avLst>
                <a:gd name="adj1" fmla="val 0"/>
                <a:gd name="adj2" fmla="val 0"/>
                <a:gd name="adj3" fmla="val 25000"/>
                <a:gd name="adj4" fmla="val 22939"/>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196" name="Straight Arrow Connector 34"/>
            <p:cNvCxnSpPr/>
            <p:nvPr/>
          </p:nvCxnSpPr>
          <p:spPr bwMode="auto">
            <a:xfrm rot="16200000" flipV="1">
              <a:off x="-1245185" y="887793"/>
              <a:ext cx="0" cy="2066484"/>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grpSp>
      <p:grpSp>
        <p:nvGrpSpPr>
          <p:cNvPr id="132" name="Gruppieren 131"/>
          <p:cNvGrpSpPr/>
          <p:nvPr/>
        </p:nvGrpSpPr>
        <p:grpSpPr>
          <a:xfrm>
            <a:off x="4919189" y="1361700"/>
            <a:ext cx="2099450" cy="3039103"/>
            <a:chOff x="4878848" y="1346301"/>
            <a:chExt cx="2091020" cy="3041622"/>
          </a:xfrm>
          <a:effectLst>
            <a:glow rad="63500">
              <a:srgbClr val="0000FF">
                <a:alpha val="20000"/>
              </a:srgbClr>
            </a:glow>
          </a:effectLst>
        </p:grpSpPr>
        <p:cxnSp>
          <p:nvCxnSpPr>
            <p:cNvPr id="133" name="Straight Arrow Connector 34"/>
            <p:cNvCxnSpPr/>
            <p:nvPr/>
          </p:nvCxnSpPr>
          <p:spPr bwMode="auto">
            <a:xfrm flipH="1">
              <a:off x="6548898" y="4387183"/>
              <a:ext cx="183074" cy="740"/>
            </a:xfrm>
            <a:prstGeom prst="straightConnector1">
              <a:avLst/>
            </a:prstGeom>
            <a:solidFill>
              <a:schemeClr val="tx2"/>
            </a:solidFill>
            <a:ln w="25400" cap="flat" cmpd="sng" algn="ctr">
              <a:solidFill>
                <a:srgbClr val="7979FF"/>
              </a:solidFill>
              <a:prstDash val="solid"/>
              <a:round/>
              <a:headEnd type="none" w="med" len="med"/>
              <a:tailEnd type="triangle" w="med" len="lg"/>
            </a:ln>
            <a:effectLst/>
          </p:spPr>
        </p:cxnSp>
        <p:sp>
          <p:nvSpPr>
            <p:cNvPr id="134" name="Bent Arrow 33"/>
            <p:cNvSpPr/>
            <p:nvPr/>
          </p:nvSpPr>
          <p:spPr bwMode="auto">
            <a:xfrm rot="5400000" flipV="1">
              <a:off x="5402247" y="825422"/>
              <a:ext cx="261147" cy="1307945"/>
            </a:xfrm>
            <a:prstGeom prst="bentArrow">
              <a:avLst>
                <a:gd name="adj1" fmla="val 0"/>
                <a:gd name="adj2" fmla="val 0"/>
                <a:gd name="adj3" fmla="val 0"/>
                <a:gd name="adj4" fmla="val 19651"/>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147" name="Bent Arrow 33"/>
            <p:cNvSpPr/>
            <p:nvPr/>
          </p:nvSpPr>
          <p:spPr bwMode="auto">
            <a:xfrm rot="10800000" flipV="1">
              <a:off x="6181693" y="1346301"/>
              <a:ext cx="788021" cy="678156"/>
            </a:xfrm>
            <a:prstGeom prst="bentArrow">
              <a:avLst>
                <a:gd name="adj1" fmla="val 0"/>
                <a:gd name="adj2" fmla="val 0"/>
                <a:gd name="adj3" fmla="val 0"/>
                <a:gd name="adj4" fmla="val 5431"/>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149" name="Bent Arrow 33"/>
            <p:cNvSpPr/>
            <p:nvPr/>
          </p:nvSpPr>
          <p:spPr bwMode="auto">
            <a:xfrm rot="10800000">
              <a:off x="6736404" y="2024465"/>
              <a:ext cx="233464" cy="2362710"/>
            </a:xfrm>
            <a:prstGeom prst="bentArrow">
              <a:avLst>
                <a:gd name="adj1" fmla="val 0"/>
                <a:gd name="adj2" fmla="val 0"/>
                <a:gd name="adj3" fmla="val 0"/>
                <a:gd name="adj4" fmla="val 19871"/>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4" name="Gruppieren 3"/>
          <p:cNvGrpSpPr/>
          <p:nvPr/>
        </p:nvGrpSpPr>
        <p:grpSpPr>
          <a:xfrm>
            <a:off x="4808534" y="1249251"/>
            <a:ext cx="2266918" cy="4589891"/>
            <a:chOff x="4748875" y="1246173"/>
            <a:chExt cx="2266918" cy="4580091"/>
          </a:xfrm>
          <a:effectLst>
            <a:glow rad="63500">
              <a:srgbClr val="0000FF">
                <a:alpha val="20000"/>
              </a:srgbClr>
            </a:glow>
          </a:effectLst>
        </p:grpSpPr>
        <p:grpSp>
          <p:nvGrpSpPr>
            <p:cNvPr id="150" name="Gruppieren 149"/>
            <p:cNvGrpSpPr/>
            <p:nvPr/>
          </p:nvGrpSpPr>
          <p:grpSpPr>
            <a:xfrm>
              <a:off x="4748875" y="1246173"/>
              <a:ext cx="2266918" cy="4580091"/>
              <a:chOff x="4878848" y="1346301"/>
              <a:chExt cx="2091019" cy="4435180"/>
            </a:xfrm>
            <a:effectLst/>
          </p:grpSpPr>
          <p:cxnSp>
            <p:nvCxnSpPr>
              <p:cNvPr id="151" name="Straight Arrow Connector 34"/>
              <p:cNvCxnSpPr/>
              <p:nvPr/>
            </p:nvCxnSpPr>
            <p:spPr bwMode="auto">
              <a:xfrm flipV="1">
                <a:off x="5878392" y="5424749"/>
                <a:ext cx="0" cy="114594"/>
              </a:xfrm>
              <a:prstGeom prst="straightConnector1">
                <a:avLst/>
              </a:prstGeom>
              <a:solidFill>
                <a:schemeClr val="tx2"/>
              </a:solidFill>
              <a:ln w="25400" cap="flat" cmpd="sng" algn="ctr">
                <a:solidFill>
                  <a:srgbClr val="7979FF"/>
                </a:solidFill>
                <a:prstDash val="solid"/>
                <a:round/>
                <a:headEnd type="none" w="med" len="med"/>
                <a:tailEnd type="triangle" w="med" len="lg"/>
              </a:ln>
              <a:effectLst/>
            </p:spPr>
          </p:cxnSp>
          <p:sp>
            <p:nvSpPr>
              <p:cNvPr id="152" name="Bent Arrow 33"/>
              <p:cNvSpPr/>
              <p:nvPr/>
            </p:nvSpPr>
            <p:spPr bwMode="auto">
              <a:xfrm rot="5400000" flipV="1">
                <a:off x="5356824" y="870846"/>
                <a:ext cx="351993" cy="1307945"/>
              </a:xfrm>
              <a:prstGeom prst="bentArrow">
                <a:avLst>
                  <a:gd name="adj1" fmla="val 0"/>
                  <a:gd name="adj2" fmla="val 0"/>
                  <a:gd name="adj3" fmla="val 0"/>
                  <a:gd name="adj4" fmla="val 19651"/>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173" name="Bent Arrow 33"/>
              <p:cNvSpPr/>
              <p:nvPr/>
            </p:nvSpPr>
            <p:spPr bwMode="auto">
              <a:xfrm rot="10800000" flipV="1">
                <a:off x="6181693" y="1346301"/>
                <a:ext cx="788021" cy="678156"/>
              </a:xfrm>
              <a:prstGeom prst="bentArrow">
                <a:avLst>
                  <a:gd name="adj1" fmla="val 0"/>
                  <a:gd name="adj2" fmla="val 0"/>
                  <a:gd name="adj3" fmla="val 0"/>
                  <a:gd name="adj4" fmla="val 5431"/>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174" name="Bent Arrow 33"/>
              <p:cNvSpPr/>
              <p:nvPr/>
            </p:nvSpPr>
            <p:spPr bwMode="auto">
              <a:xfrm rot="10800000">
                <a:off x="6736403" y="2024464"/>
                <a:ext cx="233464" cy="3757017"/>
              </a:xfrm>
              <a:prstGeom prst="bentArrow">
                <a:avLst>
                  <a:gd name="adj1" fmla="val 0"/>
                  <a:gd name="adj2" fmla="val 0"/>
                  <a:gd name="adj3" fmla="val 0"/>
                  <a:gd name="adj4" fmla="val 19871"/>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sp>
          <p:nvSpPr>
            <p:cNvPr id="175" name="Bent Arrow 33"/>
            <p:cNvSpPr/>
            <p:nvPr/>
          </p:nvSpPr>
          <p:spPr bwMode="auto">
            <a:xfrm rot="16200000">
              <a:off x="6171045" y="5234553"/>
              <a:ext cx="253103" cy="930186"/>
            </a:xfrm>
            <a:prstGeom prst="bentArrow">
              <a:avLst>
                <a:gd name="adj1" fmla="val 0"/>
                <a:gd name="adj2" fmla="val 0"/>
                <a:gd name="adj3" fmla="val 0"/>
                <a:gd name="adj4" fmla="val 19871"/>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29" name="Gruppieren 28"/>
          <p:cNvGrpSpPr/>
          <p:nvPr/>
        </p:nvGrpSpPr>
        <p:grpSpPr>
          <a:xfrm>
            <a:off x="631707" y="1510398"/>
            <a:ext cx="4028519" cy="740139"/>
            <a:chOff x="591366" y="1510398"/>
            <a:chExt cx="4028519" cy="740139"/>
          </a:xfrm>
          <a:effectLst>
            <a:glow rad="63500">
              <a:srgbClr val="0000FF">
                <a:alpha val="20000"/>
              </a:srgbClr>
            </a:glow>
          </a:effectLst>
        </p:grpSpPr>
        <p:cxnSp>
          <p:nvCxnSpPr>
            <p:cNvPr id="10" name="Gerader Verbinder 9"/>
            <p:cNvCxnSpPr/>
            <p:nvPr/>
          </p:nvCxnSpPr>
          <p:spPr bwMode="auto">
            <a:xfrm>
              <a:off x="4619885" y="1520368"/>
              <a:ext cx="0" cy="105623"/>
            </a:xfrm>
            <a:prstGeom prst="line">
              <a:avLst/>
            </a:prstGeom>
            <a:solidFill>
              <a:schemeClr val="accent1"/>
            </a:solidFill>
            <a:ln w="25400" cap="flat" cmpd="sng" algn="ctr">
              <a:solidFill>
                <a:srgbClr val="7979FF"/>
              </a:solidFill>
              <a:prstDash val="dash"/>
              <a:round/>
              <a:headEnd type="none" w="med" len="med"/>
              <a:tailEnd type="none" w="med" len="med"/>
            </a:ln>
            <a:effectLst/>
          </p:spPr>
        </p:cxnSp>
        <p:cxnSp>
          <p:nvCxnSpPr>
            <p:cNvPr id="200" name="Gerader Verbinder 199"/>
            <p:cNvCxnSpPr/>
            <p:nvPr/>
          </p:nvCxnSpPr>
          <p:spPr bwMode="auto">
            <a:xfrm>
              <a:off x="899295" y="1510398"/>
              <a:ext cx="3697630" cy="0"/>
            </a:xfrm>
            <a:prstGeom prst="line">
              <a:avLst/>
            </a:prstGeom>
            <a:solidFill>
              <a:schemeClr val="accent1"/>
            </a:solidFill>
            <a:ln w="25400" cap="flat" cmpd="sng" algn="ctr">
              <a:solidFill>
                <a:srgbClr val="7979FF"/>
              </a:solidFill>
              <a:prstDash val="dash"/>
              <a:round/>
              <a:headEnd type="none" w="med" len="med"/>
              <a:tailEnd type="none" w="med" len="med"/>
            </a:ln>
            <a:effectLst/>
          </p:spPr>
        </p:cxnSp>
        <p:cxnSp>
          <p:nvCxnSpPr>
            <p:cNvPr id="201" name="Gerader Verbinder 200"/>
            <p:cNvCxnSpPr/>
            <p:nvPr/>
          </p:nvCxnSpPr>
          <p:spPr bwMode="auto">
            <a:xfrm flipH="1">
              <a:off x="851841" y="1520368"/>
              <a:ext cx="0" cy="290771"/>
            </a:xfrm>
            <a:prstGeom prst="line">
              <a:avLst/>
            </a:prstGeom>
            <a:solidFill>
              <a:schemeClr val="accent1"/>
            </a:solidFill>
            <a:ln w="25400" cap="flat" cmpd="sng" algn="ctr">
              <a:solidFill>
                <a:srgbClr val="7979FF"/>
              </a:solidFill>
              <a:prstDash val="dash"/>
              <a:round/>
              <a:headEnd type="none" w="med" len="med"/>
              <a:tailEnd type="none" w="med" len="med"/>
            </a:ln>
            <a:effectLst/>
          </p:spPr>
        </p:cxnSp>
        <p:cxnSp>
          <p:nvCxnSpPr>
            <p:cNvPr id="202" name="Gerader Verbinder 201"/>
            <p:cNvCxnSpPr/>
            <p:nvPr/>
          </p:nvCxnSpPr>
          <p:spPr bwMode="auto">
            <a:xfrm flipV="1">
              <a:off x="594932" y="1835224"/>
              <a:ext cx="256909" cy="0"/>
            </a:xfrm>
            <a:prstGeom prst="line">
              <a:avLst/>
            </a:prstGeom>
            <a:solidFill>
              <a:schemeClr val="accent1"/>
            </a:solidFill>
            <a:ln w="25400" cap="flat" cmpd="sng" algn="ctr">
              <a:solidFill>
                <a:srgbClr val="7979FF"/>
              </a:solidFill>
              <a:prstDash val="dash"/>
              <a:round/>
              <a:headEnd type="none" w="med" len="med"/>
              <a:tailEnd type="none" w="med" len="med"/>
            </a:ln>
            <a:effectLst/>
          </p:spPr>
        </p:cxnSp>
        <p:cxnSp>
          <p:nvCxnSpPr>
            <p:cNvPr id="203" name="Gerader Verbinder 202"/>
            <p:cNvCxnSpPr/>
            <p:nvPr/>
          </p:nvCxnSpPr>
          <p:spPr bwMode="auto">
            <a:xfrm flipV="1">
              <a:off x="591366" y="1835224"/>
              <a:ext cx="0" cy="283146"/>
            </a:xfrm>
            <a:prstGeom prst="line">
              <a:avLst/>
            </a:prstGeom>
            <a:solidFill>
              <a:schemeClr val="accent1"/>
            </a:solidFill>
            <a:ln w="25400" cap="flat" cmpd="sng" algn="ctr">
              <a:solidFill>
                <a:srgbClr val="7979FF"/>
              </a:solidFill>
              <a:prstDash val="dash"/>
              <a:round/>
              <a:headEnd type="none" w="med" len="med"/>
              <a:tailEnd type="none" w="med" len="med"/>
            </a:ln>
            <a:effectLst/>
          </p:spPr>
        </p:cxnSp>
        <p:cxnSp>
          <p:nvCxnSpPr>
            <p:cNvPr id="204" name="Straight Arrow Connector 34"/>
            <p:cNvCxnSpPr/>
            <p:nvPr/>
          </p:nvCxnSpPr>
          <p:spPr bwMode="auto">
            <a:xfrm>
              <a:off x="592733" y="2127191"/>
              <a:ext cx="0" cy="123346"/>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grpSp>
      <p:grpSp>
        <p:nvGrpSpPr>
          <p:cNvPr id="136" name="Gruppieren 135"/>
          <p:cNvGrpSpPr/>
          <p:nvPr/>
        </p:nvGrpSpPr>
        <p:grpSpPr>
          <a:xfrm rot="10800000">
            <a:off x="1434703" y="3551744"/>
            <a:ext cx="4955595" cy="75694"/>
            <a:chOff x="-12442871" y="1510396"/>
            <a:chExt cx="16454927" cy="75694"/>
          </a:xfrm>
          <a:effectLst>
            <a:glow rad="63500">
              <a:srgbClr val="73B5CE">
                <a:alpha val="20000"/>
              </a:srgbClr>
            </a:glow>
          </a:effectLst>
        </p:grpSpPr>
        <p:cxnSp>
          <p:nvCxnSpPr>
            <p:cNvPr id="158" name="Gerader Verbinder 157"/>
            <p:cNvCxnSpPr/>
            <p:nvPr/>
          </p:nvCxnSpPr>
          <p:spPr bwMode="auto">
            <a:xfrm rot="10800000" flipH="1">
              <a:off x="1011658" y="1510397"/>
              <a:ext cx="3000398" cy="0"/>
            </a:xfrm>
            <a:prstGeom prst="line">
              <a:avLst/>
            </a:prstGeom>
            <a:solidFill>
              <a:schemeClr val="accent1"/>
            </a:solidFill>
            <a:ln w="25400" cap="flat" cmpd="sng" algn="ctr">
              <a:solidFill>
                <a:srgbClr val="029DD4"/>
              </a:solidFill>
              <a:prstDash val="dash"/>
              <a:round/>
              <a:headEnd type="none" w="med" len="med"/>
              <a:tailEnd type="none" w="med" len="med"/>
            </a:ln>
            <a:effectLst/>
          </p:spPr>
        </p:cxnSp>
        <p:cxnSp>
          <p:nvCxnSpPr>
            <p:cNvPr id="159" name="Gerader Verbinder 158"/>
            <p:cNvCxnSpPr/>
            <p:nvPr/>
          </p:nvCxnSpPr>
          <p:spPr bwMode="auto">
            <a:xfrm rot="10800000" flipV="1">
              <a:off x="1058374" y="1510396"/>
              <a:ext cx="0" cy="75694"/>
            </a:xfrm>
            <a:prstGeom prst="line">
              <a:avLst/>
            </a:prstGeom>
            <a:solidFill>
              <a:schemeClr val="accent1"/>
            </a:solidFill>
            <a:ln w="25400" cap="flat" cmpd="sng" algn="ctr">
              <a:solidFill>
                <a:srgbClr val="029DD4"/>
              </a:solidFill>
              <a:prstDash val="dash"/>
              <a:round/>
              <a:headEnd type="none" w="med" len="med"/>
              <a:tailEnd type="none" w="med" len="med"/>
            </a:ln>
            <a:effectLst/>
          </p:spPr>
        </p:cxnSp>
        <p:cxnSp>
          <p:nvCxnSpPr>
            <p:cNvPr id="161" name="Gerader Verbinder 160"/>
            <p:cNvCxnSpPr/>
            <p:nvPr/>
          </p:nvCxnSpPr>
          <p:spPr bwMode="auto">
            <a:xfrm rot="10800000" flipH="1">
              <a:off x="-12027446" y="1586090"/>
              <a:ext cx="13039105" cy="0"/>
            </a:xfrm>
            <a:prstGeom prst="line">
              <a:avLst/>
            </a:prstGeom>
            <a:solidFill>
              <a:schemeClr val="accent1"/>
            </a:solidFill>
            <a:ln w="25400" cap="flat" cmpd="sng" algn="ctr">
              <a:solidFill>
                <a:srgbClr val="029DD4"/>
              </a:solidFill>
              <a:prstDash val="dash"/>
              <a:round/>
              <a:headEnd type="none" w="med" len="med"/>
              <a:tailEnd type="none" w="med" len="med"/>
            </a:ln>
            <a:effectLst/>
          </p:spPr>
        </p:cxnSp>
        <p:cxnSp>
          <p:nvCxnSpPr>
            <p:cNvPr id="176" name="Straight Arrow Connector 34"/>
            <p:cNvCxnSpPr/>
            <p:nvPr/>
          </p:nvCxnSpPr>
          <p:spPr bwMode="auto">
            <a:xfrm rot="10800000">
              <a:off x="-12442871" y="1586090"/>
              <a:ext cx="375469" cy="0"/>
            </a:xfrm>
            <a:prstGeom prst="straightConnector1">
              <a:avLst/>
            </a:prstGeom>
            <a:solidFill>
              <a:schemeClr val="tx2"/>
            </a:solidFill>
            <a:ln w="25400" cap="rnd" cmpd="sng" algn="ctr">
              <a:solidFill>
                <a:srgbClr val="029DD4"/>
              </a:solidFill>
              <a:prstDash val="solid"/>
              <a:round/>
              <a:headEnd type="none" w="med" len="med"/>
              <a:tailEnd type="triangle" w="med" len="lg"/>
            </a:ln>
            <a:effectLst/>
          </p:spPr>
        </p:cxnSp>
      </p:grpSp>
      <p:sp>
        <p:nvSpPr>
          <p:cNvPr id="183" name="Abgerundetes Rechteck 1"/>
          <p:cNvSpPr/>
          <p:nvPr/>
        </p:nvSpPr>
        <p:spPr>
          <a:xfrm>
            <a:off x="7824888" y="5379207"/>
            <a:ext cx="1568345" cy="619811"/>
          </a:xfrm>
          <a:prstGeom prst="roundRect">
            <a:avLst>
              <a:gd name="adj" fmla="val 3256"/>
            </a:avLst>
          </a:prstGeom>
          <a:solidFill>
            <a:srgbClr val="FF6600"/>
          </a:solidFill>
          <a:effectLst>
            <a:outerShdw blurRad="63500" dist="12700" dir="5400000" algn="t" rotWithShape="0">
              <a:prstClr val="black">
                <a:alpha val="23000"/>
              </a:prstClr>
            </a:outerShdw>
          </a:effectLst>
        </p:spPr>
        <p:txBody>
          <a:bodyPr wrap="square" lIns="47531" tIns="23766" rIns="0" bIns="47531" anchor="ctr">
            <a:noAutofit/>
          </a:bodyPr>
          <a:lstStyle/>
          <a:p>
            <a:pPr lvl="0" defTabSz="742950" eaLnBrk="1" hangingPunct="1">
              <a:spcAft>
                <a:spcPct val="0"/>
              </a:spcAft>
              <a:defRPr/>
            </a:pPr>
            <a:r>
              <a:rPr lang="de-DE" sz="1100" b="1" kern="0" dirty="0">
                <a:solidFill>
                  <a:srgbClr val="000000"/>
                </a:solidFill>
                <a:latin typeface="Arial" panose="020B0604020202020204" pitchFamily="34" charset="0"/>
                <a:cs typeface="Arial" panose="020B0604020202020204" pitchFamily="34" charset="0"/>
              </a:rPr>
              <a:t>K</a:t>
            </a:r>
            <a:r>
              <a:rPr lang="de-DE" sz="1100" b="1" kern="0" dirty="0" smtClean="0">
                <a:solidFill>
                  <a:srgbClr val="000000"/>
                </a:solidFill>
                <a:latin typeface="Arial" panose="020B0604020202020204" pitchFamily="34" charset="0"/>
                <a:cs typeface="Arial" panose="020B0604020202020204" pitchFamily="34" charset="0"/>
              </a:rPr>
              <a:t>licken Sie 4x, </a:t>
            </a:r>
            <a:r>
              <a:rPr lang="de-DE" sz="1100" b="1" kern="0" dirty="0">
                <a:solidFill>
                  <a:srgbClr val="000000"/>
                </a:solidFill>
                <a:latin typeface="Arial" panose="020B0604020202020204" pitchFamily="34" charset="0"/>
                <a:cs typeface="Arial" panose="020B0604020202020204" pitchFamily="34" charset="0"/>
              </a:rPr>
              <a:t>um die </a:t>
            </a:r>
            <a:r>
              <a:rPr lang="de-DE" sz="1100" b="1" kern="0" dirty="0" smtClean="0">
                <a:solidFill>
                  <a:srgbClr val="000000"/>
                </a:solidFill>
                <a:latin typeface="Arial" panose="020B0604020202020204" pitchFamily="34" charset="0"/>
                <a:cs typeface="Arial" panose="020B0604020202020204" pitchFamily="34" charset="0"/>
              </a:rPr>
              <a:t>Systemdynamik </a:t>
            </a:r>
            <a:r>
              <a:rPr lang="de-DE" sz="1100" b="1" kern="0" dirty="0">
                <a:solidFill>
                  <a:srgbClr val="000000"/>
                </a:solidFill>
                <a:latin typeface="Arial" panose="020B0604020202020204" pitchFamily="34" charset="0"/>
                <a:cs typeface="Arial" panose="020B0604020202020204" pitchFamily="34" charset="0"/>
              </a:rPr>
              <a:t>zu sehen. </a:t>
            </a:r>
          </a:p>
        </p:txBody>
      </p:sp>
      <p:sp>
        <p:nvSpPr>
          <p:cNvPr id="179" name="Rechteck 178"/>
          <p:cNvSpPr/>
          <p:nvPr/>
        </p:nvSpPr>
        <p:spPr>
          <a:xfrm>
            <a:off x="7359356" y="4627689"/>
            <a:ext cx="2408400" cy="600164"/>
          </a:xfrm>
          <a:prstGeom prst="rect">
            <a:avLst/>
          </a:prstGeom>
          <a:ln>
            <a:solidFill>
              <a:schemeClr val="tx1"/>
            </a:solidFill>
          </a:ln>
        </p:spPr>
        <p:txBody>
          <a:bodyPr wrap="square">
            <a:spAutoFit/>
          </a:bodyPr>
          <a:lstStyle/>
          <a:p>
            <a:pPr marL="0" lvl="1" algn="ctr" defTabSz="964783">
              <a:spcAft>
                <a:spcPts val="300"/>
              </a:spcAft>
            </a:pPr>
            <a:r>
              <a:rPr lang="de-DE" sz="1100" b="1" dirty="0">
                <a:latin typeface="Arial" panose="020B0604020202020204" pitchFamily="34" charset="0"/>
                <a:cs typeface="Arial" panose="020B0604020202020204" pitchFamily="34" charset="0"/>
              </a:rPr>
              <a:t>Das System lässt sich </a:t>
            </a:r>
            <a:br>
              <a:rPr lang="de-DE" sz="1100" b="1" dirty="0">
                <a:latin typeface="Arial" panose="020B0604020202020204" pitchFamily="34" charset="0"/>
                <a:cs typeface="Arial" panose="020B0604020202020204" pitchFamily="34" charset="0"/>
              </a:rPr>
            </a:br>
            <a:r>
              <a:rPr lang="de-DE" sz="1100" b="1" dirty="0" smtClean="0">
                <a:latin typeface="Arial" panose="020B0604020202020204" pitchFamily="34" charset="0"/>
                <a:cs typeface="Arial" panose="020B0604020202020204" pitchFamily="34" charset="0"/>
              </a:rPr>
              <a:t>ohne die beiden Faktoren </a:t>
            </a:r>
            <a:br>
              <a:rPr lang="de-DE" sz="1100" b="1" dirty="0" smtClean="0">
                <a:latin typeface="Arial" panose="020B0604020202020204" pitchFamily="34" charset="0"/>
                <a:cs typeface="Arial" panose="020B0604020202020204" pitchFamily="34" charset="0"/>
              </a:rPr>
            </a:br>
            <a:r>
              <a:rPr lang="de-DE" sz="1100" b="1" dirty="0" smtClean="0">
                <a:latin typeface="Arial" panose="020B0604020202020204" pitchFamily="34" charset="0"/>
                <a:cs typeface="Arial" panose="020B0604020202020204" pitchFamily="34" charset="0"/>
              </a:rPr>
              <a:t>nicht entwickeln!</a:t>
            </a:r>
            <a:endParaRPr lang="de-DE" sz="1100" b="1" dirty="0">
              <a:latin typeface="Arial" panose="020B0604020202020204" pitchFamily="34" charset="0"/>
              <a:cs typeface="Arial" panose="020B0604020202020204" pitchFamily="34" charset="0"/>
            </a:endParaRPr>
          </a:p>
        </p:txBody>
      </p:sp>
      <p:sp>
        <p:nvSpPr>
          <p:cNvPr id="186" name="Textfeld 35"/>
          <p:cNvSpPr txBox="1"/>
          <p:nvPr/>
        </p:nvSpPr>
        <p:spPr>
          <a:xfrm>
            <a:off x="5307861" y="6124177"/>
            <a:ext cx="1667123" cy="138499"/>
          </a:xfrm>
          <a:prstGeom prst="rect">
            <a:avLst/>
          </a:prstGeom>
          <a:ln algn="ctr"/>
        </p:spPr>
        <p:txBody>
          <a:bodyPr wrap="none" lIns="0" tIns="0" rIns="0" bIns="0" rtlCol="0" anchor="t">
            <a:spAutoFit/>
          </a:bodyPr>
          <a:lstStyle/>
          <a:p>
            <a:pPr eaLnBrk="1" hangingPunct="1">
              <a:spcAft>
                <a:spcPct val="0"/>
              </a:spcAft>
            </a:pPr>
            <a:r>
              <a:rPr kumimoji="0" lang="de-DE" sz="900" i="0" u="none" strike="noStrike" kern="0" cap="none" spc="0" normalizeH="0" baseline="0" noProof="0" dirty="0" smtClean="0">
                <a:ln>
                  <a:noFill/>
                </a:ln>
                <a:solidFill>
                  <a:schemeClr val="tx1"/>
                </a:solidFill>
                <a:effectLst/>
                <a:uLnTx/>
                <a:uFillTx/>
                <a:latin typeface="Arial" panose="020B0604020202020204" pitchFamily="34" charset="0"/>
                <a:ea typeface="+mj-ea"/>
                <a:cs typeface="Arial" panose="020B0604020202020204" pitchFamily="34" charset="0"/>
              </a:rPr>
              <a:t>Beschreibung der Faktoren: </a:t>
            </a:r>
            <a:r>
              <a:rPr lang="de-DE" sz="900" kern="0" dirty="0">
                <a:latin typeface="Arial" panose="020B0604020202020204" pitchFamily="34" charset="0"/>
                <a:cs typeface="Arial" panose="020B0604020202020204" pitchFamily="34" charset="0"/>
                <a:hlinkClick r:id="" action="ppaction://noaction"/>
              </a:rPr>
              <a:t>Link</a:t>
            </a:r>
            <a:endParaRPr lang="de-DE" sz="900" kern="0" dirty="0">
              <a:latin typeface="Arial" panose="020B0604020202020204" pitchFamily="34" charset="0"/>
              <a:cs typeface="Arial" panose="020B0604020202020204" pitchFamily="34" charset="0"/>
            </a:endParaRPr>
          </a:p>
        </p:txBody>
      </p:sp>
      <p:cxnSp>
        <p:nvCxnSpPr>
          <p:cNvPr id="187" name="Gerade Verbindung mit Pfeil 8"/>
          <p:cNvCxnSpPr/>
          <p:nvPr/>
        </p:nvCxnSpPr>
        <p:spPr bwMode="auto">
          <a:xfrm>
            <a:off x="5093085" y="6702736"/>
            <a:ext cx="252000" cy="0"/>
          </a:xfrm>
          <a:prstGeom prst="straightConnector1">
            <a:avLst/>
          </a:prstGeom>
          <a:noFill/>
          <a:ln w="9525" cap="rnd" cmpd="sng" algn="ctr">
            <a:solidFill>
              <a:schemeClr val="tx1"/>
            </a:solidFill>
            <a:prstDash val="sysDash"/>
            <a:round/>
            <a:headEnd type="none" w="med" len="med"/>
            <a:tailEnd type="triangle" w="sm" len="med"/>
          </a:ln>
          <a:effectLst/>
        </p:spPr>
      </p:cxnSp>
      <p:cxnSp>
        <p:nvCxnSpPr>
          <p:cNvPr id="188" name="Gerade Verbindung mit Pfeil 41"/>
          <p:cNvCxnSpPr/>
          <p:nvPr/>
        </p:nvCxnSpPr>
        <p:spPr bwMode="auto">
          <a:xfrm>
            <a:off x="5093085" y="6525721"/>
            <a:ext cx="256708" cy="0"/>
          </a:xfrm>
          <a:prstGeom prst="straightConnector1">
            <a:avLst/>
          </a:prstGeom>
          <a:noFill/>
          <a:ln w="9525" cap="rnd" cmpd="sng" algn="ctr">
            <a:solidFill>
              <a:schemeClr val="tx1"/>
            </a:solidFill>
            <a:prstDash val="solid"/>
            <a:round/>
            <a:headEnd type="none" w="med" len="med"/>
            <a:tailEnd type="triangle" w="sm" len="med"/>
          </a:ln>
          <a:effectLst/>
        </p:spPr>
      </p:cxnSp>
      <p:sp>
        <p:nvSpPr>
          <p:cNvPr id="194" name="Rechteck 42"/>
          <p:cNvSpPr/>
          <p:nvPr/>
        </p:nvSpPr>
        <p:spPr>
          <a:xfrm>
            <a:off x="5307861" y="6420432"/>
            <a:ext cx="4201662" cy="408060"/>
          </a:xfrm>
          <a:prstGeom prst="rect">
            <a:avLst/>
          </a:prstGeom>
        </p:spPr>
        <p:txBody>
          <a:bodyPr wrap="square">
            <a:spAutoFit/>
          </a:bodyPr>
          <a:lstStyle/>
          <a:p>
            <a:pPr>
              <a:lnSpc>
                <a:spcPct val="114000"/>
              </a:lnSpc>
              <a:spcAft>
                <a:spcPts val="0"/>
              </a:spcAft>
            </a:pPr>
            <a:r>
              <a:rPr lang="de-DE" sz="900" b="1" dirty="0" smtClean="0">
                <a:solidFill>
                  <a:srgbClr val="000000"/>
                </a:solidFill>
                <a:latin typeface="Arial" panose="020B0604020202020204" pitchFamily="34" charset="0"/>
                <a:cs typeface="Arial" panose="020B0604020202020204" pitchFamily="34" charset="0"/>
              </a:rPr>
              <a:t>Gleichgerichtete Beziehung</a:t>
            </a:r>
            <a:r>
              <a:rPr lang="de-DE" sz="900" dirty="0" smtClean="0">
                <a:solidFill>
                  <a:srgbClr val="000000"/>
                </a:solidFill>
                <a:latin typeface="Arial" panose="020B0604020202020204" pitchFamily="34" charset="0"/>
                <a:cs typeface="Arial" panose="020B0604020202020204" pitchFamily="34" charset="0"/>
              </a:rPr>
              <a:t>: Je mehr, desto mehr / je weniger, desto weniger</a:t>
            </a:r>
            <a:br>
              <a:rPr lang="de-DE" sz="900" dirty="0" smtClean="0">
                <a:solidFill>
                  <a:srgbClr val="000000"/>
                </a:solidFill>
                <a:latin typeface="Arial" panose="020B0604020202020204" pitchFamily="34" charset="0"/>
                <a:cs typeface="Arial" panose="020B0604020202020204" pitchFamily="34" charset="0"/>
              </a:rPr>
            </a:br>
            <a:r>
              <a:rPr lang="de-DE" sz="900" b="1" dirty="0" smtClean="0">
                <a:solidFill>
                  <a:srgbClr val="000000"/>
                </a:solidFill>
                <a:latin typeface="Arial" panose="020B0604020202020204" pitchFamily="34" charset="0"/>
                <a:cs typeface="Arial" panose="020B0604020202020204" pitchFamily="34" charset="0"/>
              </a:rPr>
              <a:t>Gegengerichtete </a:t>
            </a:r>
            <a:r>
              <a:rPr lang="de-DE" sz="900" b="1" dirty="0">
                <a:solidFill>
                  <a:srgbClr val="000000"/>
                </a:solidFill>
                <a:latin typeface="Arial" panose="020B0604020202020204" pitchFamily="34" charset="0"/>
                <a:cs typeface="Arial" panose="020B0604020202020204" pitchFamily="34" charset="0"/>
              </a:rPr>
              <a:t>Beziehung</a:t>
            </a:r>
            <a:r>
              <a:rPr lang="de-DE" sz="900" dirty="0">
                <a:solidFill>
                  <a:srgbClr val="000000"/>
                </a:solidFill>
                <a:latin typeface="Arial" panose="020B0604020202020204" pitchFamily="34" charset="0"/>
                <a:cs typeface="Arial" panose="020B0604020202020204" pitchFamily="34" charset="0"/>
              </a:rPr>
              <a:t>: Je mehr, desto weniger / je weniger, desto </a:t>
            </a:r>
            <a:r>
              <a:rPr lang="de-DE" sz="900" dirty="0" smtClean="0">
                <a:solidFill>
                  <a:srgbClr val="000000"/>
                </a:solidFill>
                <a:latin typeface="Arial" panose="020B0604020202020204" pitchFamily="34" charset="0"/>
                <a:cs typeface="Arial" panose="020B0604020202020204" pitchFamily="34" charset="0"/>
              </a:rPr>
              <a:t>mehr</a:t>
            </a:r>
            <a:endParaRPr lang="de-DE" sz="900" dirty="0">
              <a:solidFill>
                <a:srgbClr val="000000"/>
              </a:solidFill>
              <a:latin typeface="Arial" panose="020B0604020202020204" pitchFamily="34" charset="0"/>
              <a:cs typeface="Arial" panose="020B0604020202020204" pitchFamily="34" charset="0"/>
            </a:endParaRPr>
          </a:p>
        </p:txBody>
      </p:sp>
      <p:sp>
        <p:nvSpPr>
          <p:cNvPr id="197" name="Rechteck 42"/>
          <p:cNvSpPr/>
          <p:nvPr/>
        </p:nvSpPr>
        <p:spPr>
          <a:xfrm>
            <a:off x="98200" y="6420432"/>
            <a:ext cx="5062813" cy="408060"/>
          </a:xfrm>
          <a:prstGeom prst="rect">
            <a:avLst/>
          </a:prstGeom>
          <a:solidFill>
            <a:schemeClr val="bg1"/>
          </a:solidFill>
          <a:ln>
            <a:noFill/>
          </a:ln>
        </p:spPr>
        <p:txBody>
          <a:bodyPr wrap="square" lIns="45720" tIns="45720" rIns="45720" bIns="45720" anchor="ctr" anchorCtr="1">
            <a:spAutoFit/>
          </a:bodyPr>
          <a:lstStyle/>
          <a:p>
            <a:pPr>
              <a:lnSpc>
                <a:spcPct val="114000"/>
              </a:lnSpc>
              <a:spcAft>
                <a:spcPts val="0"/>
              </a:spcAft>
            </a:pPr>
            <a:r>
              <a:rPr lang="de-DE" sz="900" b="1" dirty="0" smtClean="0">
                <a:solidFill>
                  <a:srgbClr val="000000"/>
                </a:solidFill>
                <a:latin typeface="Arial" panose="020B0604020202020204" pitchFamily="34" charset="0"/>
                <a:cs typeface="Arial" panose="020B0604020202020204" pitchFamily="34" charset="0"/>
              </a:rPr>
              <a:t>Farben gemäss GMM: </a:t>
            </a:r>
            <a:r>
              <a:rPr lang="de-DE" sz="900" b="1" dirty="0" smtClean="0">
                <a:solidFill>
                  <a:srgbClr val="0000FF"/>
                </a:solidFill>
                <a:latin typeface="Arial" panose="020B0604020202020204" pitchFamily="34" charset="0"/>
                <a:cs typeface="Arial" panose="020B0604020202020204" pitchFamily="34" charset="0"/>
              </a:rPr>
              <a:t>Blau = Strategie</a:t>
            </a:r>
            <a:r>
              <a:rPr lang="de-DE" sz="900" b="1" dirty="0" smtClean="0">
                <a:solidFill>
                  <a:srgbClr val="000000"/>
                </a:solidFill>
                <a:latin typeface="Arial" panose="020B0604020202020204" pitchFamily="34" charset="0"/>
                <a:cs typeface="Arial" panose="020B0604020202020204" pitchFamily="34" charset="0"/>
              </a:rPr>
              <a:t>, </a:t>
            </a:r>
            <a:r>
              <a:rPr lang="de-DE" sz="900" b="1" dirty="0">
                <a:solidFill>
                  <a:srgbClr val="D60000"/>
                </a:solidFill>
                <a:latin typeface="Arial" panose="020B0604020202020204" pitchFamily="34" charset="0"/>
                <a:cs typeface="Arial" panose="020B0604020202020204" pitchFamily="34" charset="0"/>
              </a:rPr>
              <a:t>R</a:t>
            </a:r>
            <a:r>
              <a:rPr lang="de-DE" sz="900" b="1" dirty="0" smtClean="0">
                <a:solidFill>
                  <a:srgbClr val="D60000"/>
                </a:solidFill>
                <a:latin typeface="Arial" panose="020B0604020202020204" pitchFamily="34" charset="0"/>
                <a:cs typeface="Arial" panose="020B0604020202020204" pitchFamily="34" charset="0"/>
              </a:rPr>
              <a:t>ot = Führungskräfte</a:t>
            </a:r>
            <a:r>
              <a:rPr lang="de-DE" sz="900" b="1" dirty="0" smtClean="0">
                <a:solidFill>
                  <a:srgbClr val="000000"/>
                </a:solidFill>
                <a:latin typeface="Arial" panose="020B0604020202020204" pitchFamily="34" charset="0"/>
                <a:cs typeface="Arial" panose="020B0604020202020204" pitchFamily="34" charset="0"/>
              </a:rPr>
              <a:t>, </a:t>
            </a:r>
            <a:r>
              <a:rPr lang="de-DE" sz="900" b="1" dirty="0" smtClean="0">
                <a:solidFill>
                  <a:srgbClr val="BD8C03"/>
                </a:solidFill>
                <a:latin typeface="Arial" panose="020B0604020202020204" pitchFamily="34" charset="0"/>
                <a:cs typeface="Arial" panose="020B0604020202020204" pitchFamily="34" charset="0"/>
              </a:rPr>
              <a:t>Gelb = Unternehmenskultur</a:t>
            </a:r>
            <a:r>
              <a:rPr lang="de-DE" sz="900" b="1" dirty="0" smtClean="0">
                <a:solidFill>
                  <a:srgbClr val="000000"/>
                </a:solidFill>
                <a:latin typeface="Arial" panose="020B0604020202020204" pitchFamily="34" charset="0"/>
                <a:cs typeface="Arial" panose="020B0604020202020204" pitchFamily="34" charset="0"/>
              </a:rPr>
              <a:t>, </a:t>
            </a:r>
            <a:r>
              <a:rPr lang="de-DE" sz="900" b="1" dirty="0" smtClean="0">
                <a:solidFill>
                  <a:srgbClr val="23B727"/>
                </a:solidFill>
                <a:latin typeface="Arial" panose="020B0604020202020204" pitchFamily="34" charset="0"/>
                <a:cs typeface="Arial" panose="020B0604020202020204" pitchFamily="34" charset="0"/>
              </a:rPr>
              <a:t>Grün = Struktur</a:t>
            </a:r>
            <a:r>
              <a:rPr lang="de-DE" sz="900" b="1" dirty="0" smtClean="0">
                <a:solidFill>
                  <a:srgbClr val="000000"/>
                </a:solidFill>
                <a:latin typeface="Arial" panose="020B0604020202020204" pitchFamily="34" charset="0"/>
                <a:cs typeface="Arial" panose="020B0604020202020204" pitchFamily="34" charset="0"/>
              </a:rPr>
              <a:t>, </a:t>
            </a:r>
            <a:r>
              <a:rPr lang="de-DE" sz="900" b="1" dirty="0">
                <a:solidFill>
                  <a:srgbClr val="029DD4"/>
                </a:solidFill>
                <a:latin typeface="Arial" panose="020B0604020202020204" pitchFamily="34" charset="0"/>
                <a:cs typeface="Arial" panose="020B0604020202020204" pitchFamily="34" charset="0"/>
              </a:rPr>
              <a:t>Türkis = Corporate </a:t>
            </a:r>
            <a:r>
              <a:rPr lang="de-DE" sz="900" b="1" dirty="0" err="1">
                <a:solidFill>
                  <a:srgbClr val="029DD4"/>
                </a:solidFill>
                <a:latin typeface="Arial" panose="020B0604020202020204" pitchFamily="34" charset="0"/>
                <a:cs typeface="Arial" panose="020B0604020202020204" pitchFamily="34" charset="0"/>
              </a:rPr>
              <a:t>Governance</a:t>
            </a:r>
            <a:r>
              <a:rPr lang="de-DE" sz="900" b="1" dirty="0">
                <a:solidFill>
                  <a:srgbClr val="029DD4"/>
                </a:solidFill>
                <a:latin typeface="Arial" panose="020B0604020202020204" pitchFamily="34" charset="0"/>
                <a:cs typeface="Arial" panose="020B0604020202020204" pitchFamily="34" charset="0"/>
              </a:rPr>
              <a:t> &amp; </a:t>
            </a:r>
            <a:r>
              <a:rPr lang="de-DE" sz="900" b="1" dirty="0" err="1" smtClean="0">
                <a:solidFill>
                  <a:srgbClr val="029DD4"/>
                </a:solidFill>
                <a:latin typeface="Arial" panose="020B0604020202020204" pitchFamily="34" charset="0"/>
                <a:cs typeface="Arial" panose="020B0604020202020204" pitchFamily="34" charset="0"/>
              </a:rPr>
              <a:t>Policy</a:t>
            </a:r>
            <a:r>
              <a:rPr lang="de-DE" sz="900" b="1" dirty="0" smtClean="0">
                <a:latin typeface="Arial" panose="020B0604020202020204" pitchFamily="34" charset="0"/>
                <a:cs typeface="Arial" panose="020B0604020202020204" pitchFamily="34" charset="0"/>
              </a:rPr>
              <a:t>, </a:t>
            </a:r>
            <a:r>
              <a:rPr lang="de-DE" sz="900" b="1" dirty="0" smtClean="0">
                <a:solidFill>
                  <a:srgbClr val="000080"/>
                </a:solidFill>
                <a:latin typeface="Arial" panose="020B0604020202020204" pitchFamily="34" charset="0"/>
                <a:cs typeface="Arial" panose="020B0604020202020204" pitchFamily="34" charset="0"/>
              </a:rPr>
              <a:t>Dunkelblau = Umwelt</a:t>
            </a:r>
            <a:endParaRPr lang="de-DE" sz="900" b="1" dirty="0">
              <a:solidFill>
                <a:srgbClr val="00008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5786053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4">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78"/>
                                        </p:tgtEl>
                                        <p:attrNameLst>
                                          <p:attrName>style.visibility</p:attrName>
                                        </p:attrNameLst>
                                      </p:cBhvr>
                                      <p:to>
                                        <p:strVal val="visible"/>
                                      </p:to>
                                    </p:set>
                                    <p:animEffect transition="in" filter="fade">
                                      <p:cBhvr>
                                        <p:cTn id="13" dur="500"/>
                                        <p:tgtEl>
                                          <p:spTgt spid="7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7"/>
                                        </p:tgtEl>
                                        <p:attrNameLst>
                                          <p:attrName>style.visibility</p:attrName>
                                        </p:attrNameLst>
                                      </p:cBhvr>
                                      <p:to>
                                        <p:strVal val="visible"/>
                                      </p:to>
                                    </p:set>
                                    <p:animEffect transition="in" filter="fade">
                                      <p:cBhvr>
                                        <p:cTn id="16" dur="500"/>
                                        <p:tgtEl>
                                          <p:spTgt spid="77"/>
                                        </p:tgtEl>
                                      </p:cBhvr>
                                    </p:animEffect>
                                  </p:childTnLst>
                                </p:cTn>
                              </p:par>
                              <p:par>
                                <p:cTn id="17" presetID="1" presetClass="entr" presetSubtype="0" fill="hold" nodeType="withEffect">
                                  <p:stCondLst>
                                    <p:cond delay="0"/>
                                  </p:stCondLst>
                                  <p:childTnLst>
                                    <p:set>
                                      <p:cBhvr>
                                        <p:cTn id="18" dur="1" fill="hold">
                                          <p:stCondLst>
                                            <p:cond delay="0"/>
                                          </p:stCondLst>
                                        </p:cTn>
                                        <p:tgtEl>
                                          <p:spTgt spid="104">
                                            <p:txEl>
                                              <p:pRg st="0" end="0"/>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2" presetClass="entr" presetSubtype="8" repeatCount="3000" fill="hold" nodeType="click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wipe(left)">
                                      <p:cBhvr>
                                        <p:cTn id="27" dur="2000"/>
                                        <p:tgtEl>
                                          <p:spTgt spid="18"/>
                                        </p:tgtEl>
                                      </p:cBhvr>
                                    </p:animEffect>
                                  </p:childTnLst>
                                </p:cTn>
                              </p:par>
                              <p:par>
                                <p:cTn id="28" presetID="22" presetClass="entr" presetSubtype="8" repeatCount="3000" fill="hold" nodeType="withEffect">
                                  <p:stCondLst>
                                    <p:cond delay="0"/>
                                  </p:stCondLst>
                                  <p:childTnLst>
                                    <p:set>
                                      <p:cBhvr>
                                        <p:cTn id="29" dur="1" fill="hold">
                                          <p:stCondLst>
                                            <p:cond delay="0"/>
                                          </p:stCondLst>
                                        </p:cTn>
                                        <p:tgtEl>
                                          <p:spTgt spid="107"/>
                                        </p:tgtEl>
                                        <p:attrNameLst>
                                          <p:attrName>style.visibility</p:attrName>
                                        </p:attrNameLst>
                                      </p:cBhvr>
                                      <p:to>
                                        <p:strVal val="visible"/>
                                      </p:to>
                                    </p:set>
                                    <p:animEffect transition="in" filter="wipe(left)">
                                      <p:cBhvr>
                                        <p:cTn id="30" dur="2000"/>
                                        <p:tgtEl>
                                          <p:spTgt spid="107"/>
                                        </p:tgtEl>
                                      </p:cBhvr>
                                    </p:animEffect>
                                  </p:childTnLst>
                                </p:cTn>
                              </p:par>
                              <p:par>
                                <p:cTn id="31" presetID="22" presetClass="entr" presetSubtype="8" repeatCount="3000" fill="hold" nodeType="withEffect">
                                  <p:stCondLst>
                                    <p:cond delay="0"/>
                                  </p:stCondLst>
                                  <p:childTnLst>
                                    <p:set>
                                      <p:cBhvr>
                                        <p:cTn id="32" dur="1" fill="hold">
                                          <p:stCondLst>
                                            <p:cond delay="0"/>
                                          </p:stCondLst>
                                        </p:cTn>
                                        <p:tgtEl>
                                          <p:spTgt spid="125"/>
                                        </p:tgtEl>
                                        <p:attrNameLst>
                                          <p:attrName>style.visibility</p:attrName>
                                        </p:attrNameLst>
                                      </p:cBhvr>
                                      <p:to>
                                        <p:strVal val="visible"/>
                                      </p:to>
                                    </p:set>
                                    <p:animEffect transition="in" filter="wipe(left)">
                                      <p:cBhvr>
                                        <p:cTn id="33" dur="2000"/>
                                        <p:tgtEl>
                                          <p:spTgt spid="125"/>
                                        </p:tgtEl>
                                      </p:cBhvr>
                                    </p:animEffect>
                                  </p:childTnLst>
                                </p:cTn>
                              </p:par>
                              <p:par>
                                <p:cTn id="34" presetID="22" presetClass="entr" presetSubtype="8" repeatCount="3000" fill="hold" nodeType="withEffect">
                                  <p:stCondLst>
                                    <p:cond delay="0"/>
                                  </p:stCondLst>
                                  <p:childTnLst>
                                    <p:set>
                                      <p:cBhvr>
                                        <p:cTn id="35" dur="1" fill="hold">
                                          <p:stCondLst>
                                            <p:cond delay="0"/>
                                          </p:stCondLst>
                                        </p:cTn>
                                        <p:tgtEl>
                                          <p:spTgt spid="119"/>
                                        </p:tgtEl>
                                        <p:attrNameLst>
                                          <p:attrName>style.visibility</p:attrName>
                                        </p:attrNameLst>
                                      </p:cBhvr>
                                      <p:to>
                                        <p:strVal val="visible"/>
                                      </p:to>
                                    </p:set>
                                    <p:animEffect transition="in" filter="wipe(left)">
                                      <p:cBhvr>
                                        <p:cTn id="36" dur="2000"/>
                                        <p:tgtEl>
                                          <p:spTgt spid="119"/>
                                        </p:tgtEl>
                                      </p:cBhvr>
                                    </p:animEffect>
                                  </p:childTnLst>
                                </p:cTn>
                              </p:par>
                              <p:par>
                                <p:cTn id="37" presetID="22" presetClass="entr" presetSubtype="8" repeatCount="3000" fill="hold" nodeType="withEffect">
                                  <p:stCondLst>
                                    <p:cond delay="0"/>
                                  </p:stCondLst>
                                  <p:childTnLst>
                                    <p:set>
                                      <p:cBhvr>
                                        <p:cTn id="38" dur="1" fill="hold">
                                          <p:stCondLst>
                                            <p:cond delay="0"/>
                                          </p:stCondLst>
                                        </p:cTn>
                                        <p:tgtEl>
                                          <p:spTgt spid="96"/>
                                        </p:tgtEl>
                                        <p:attrNameLst>
                                          <p:attrName>style.visibility</p:attrName>
                                        </p:attrNameLst>
                                      </p:cBhvr>
                                      <p:to>
                                        <p:strVal val="visible"/>
                                      </p:to>
                                    </p:set>
                                    <p:animEffect transition="in" filter="wipe(left)">
                                      <p:cBhvr>
                                        <p:cTn id="39" dur="2000"/>
                                        <p:tgtEl>
                                          <p:spTgt spid="96"/>
                                        </p:tgtEl>
                                      </p:cBhvr>
                                    </p:animEffect>
                                  </p:childTnLst>
                                </p:cTn>
                              </p:par>
                              <p:par>
                                <p:cTn id="40" presetID="22" presetClass="entr" presetSubtype="8" repeatCount="3000" fill="hold" nodeType="with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wipe(left)">
                                      <p:cBhvr>
                                        <p:cTn id="42" dur="2000"/>
                                        <p:tgtEl>
                                          <p:spTgt spid="12"/>
                                        </p:tgtEl>
                                      </p:cBhvr>
                                    </p:animEffect>
                                  </p:childTnLst>
                                </p:cTn>
                              </p:par>
                              <p:par>
                                <p:cTn id="43" presetID="22" presetClass="entr" presetSubtype="8" repeatCount="3000" fill="hold" nodeType="with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wipe(left)">
                                      <p:cBhvr>
                                        <p:cTn id="45" dur="2000"/>
                                        <p:tgtEl>
                                          <p:spTgt spid="11"/>
                                        </p:tgtEl>
                                      </p:cBhvr>
                                    </p:animEffect>
                                  </p:childTnLst>
                                </p:cTn>
                              </p:par>
                              <p:par>
                                <p:cTn id="46" presetID="22" presetClass="entr" presetSubtype="1" repeatCount="3000" fill="hold" nodeType="withEffect">
                                  <p:stCondLst>
                                    <p:cond delay="0"/>
                                  </p:stCondLst>
                                  <p:childTnLst>
                                    <p:set>
                                      <p:cBhvr>
                                        <p:cTn id="47" dur="1" fill="hold">
                                          <p:stCondLst>
                                            <p:cond delay="0"/>
                                          </p:stCondLst>
                                        </p:cTn>
                                        <p:tgtEl>
                                          <p:spTgt spid="6"/>
                                        </p:tgtEl>
                                        <p:attrNameLst>
                                          <p:attrName>style.visibility</p:attrName>
                                        </p:attrNameLst>
                                      </p:cBhvr>
                                      <p:to>
                                        <p:strVal val="visible"/>
                                      </p:to>
                                    </p:set>
                                    <p:animEffect transition="in" filter="wipe(up)">
                                      <p:cBhvr>
                                        <p:cTn id="48" dur="2000"/>
                                        <p:tgtEl>
                                          <p:spTgt spid="6"/>
                                        </p:tgtEl>
                                      </p:cBhvr>
                                    </p:animEffect>
                                  </p:childTnLst>
                                </p:cTn>
                              </p:par>
                              <p:par>
                                <p:cTn id="49" presetID="22" presetClass="entr" presetSubtype="8" repeatCount="3000" fill="hold" nodeType="withEffect">
                                  <p:stCondLst>
                                    <p:cond delay="0"/>
                                  </p:stCondLst>
                                  <p:childTnLst>
                                    <p:set>
                                      <p:cBhvr>
                                        <p:cTn id="50" dur="1" fill="hold">
                                          <p:stCondLst>
                                            <p:cond delay="0"/>
                                          </p:stCondLst>
                                        </p:cTn>
                                        <p:tgtEl>
                                          <p:spTgt spid="7"/>
                                        </p:tgtEl>
                                        <p:attrNameLst>
                                          <p:attrName>style.visibility</p:attrName>
                                        </p:attrNameLst>
                                      </p:cBhvr>
                                      <p:to>
                                        <p:strVal val="visible"/>
                                      </p:to>
                                    </p:set>
                                    <p:animEffect transition="in" filter="wipe(left)">
                                      <p:cBhvr>
                                        <p:cTn id="51" dur="2000"/>
                                        <p:tgtEl>
                                          <p:spTgt spid="7"/>
                                        </p:tgtEl>
                                      </p:cBhvr>
                                    </p:animEffect>
                                  </p:childTnLst>
                                </p:cTn>
                              </p:par>
                              <p:par>
                                <p:cTn id="52" presetID="22" presetClass="entr" presetSubtype="1" repeatCount="3000" fill="hold" nodeType="withEffect">
                                  <p:stCondLst>
                                    <p:cond delay="0"/>
                                  </p:stCondLst>
                                  <p:childTnLst>
                                    <p:set>
                                      <p:cBhvr>
                                        <p:cTn id="53" dur="1" fill="hold">
                                          <p:stCondLst>
                                            <p:cond delay="0"/>
                                          </p:stCondLst>
                                        </p:cTn>
                                        <p:tgtEl>
                                          <p:spTgt spid="137"/>
                                        </p:tgtEl>
                                        <p:attrNameLst>
                                          <p:attrName>style.visibility</p:attrName>
                                        </p:attrNameLst>
                                      </p:cBhvr>
                                      <p:to>
                                        <p:strVal val="visible"/>
                                      </p:to>
                                    </p:set>
                                    <p:animEffect transition="in" filter="wipe(up)">
                                      <p:cBhvr>
                                        <p:cTn id="54" dur="2000"/>
                                        <p:tgtEl>
                                          <p:spTgt spid="137"/>
                                        </p:tgtEl>
                                      </p:cBhvr>
                                    </p:animEffect>
                                  </p:childTnLst>
                                </p:cTn>
                              </p:par>
                              <p:par>
                                <p:cTn id="55" presetID="22" presetClass="entr" presetSubtype="8" repeatCount="3000" fill="hold" nodeType="withEffect">
                                  <p:stCondLst>
                                    <p:cond delay="0"/>
                                  </p:stCondLst>
                                  <p:childTnLst>
                                    <p:set>
                                      <p:cBhvr>
                                        <p:cTn id="56" dur="1" fill="hold">
                                          <p:stCondLst>
                                            <p:cond delay="0"/>
                                          </p:stCondLst>
                                        </p:cTn>
                                        <p:tgtEl>
                                          <p:spTgt spid="31"/>
                                        </p:tgtEl>
                                        <p:attrNameLst>
                                          <p:attrName>style.visibility</p:attrName>
                                        </p:attrNameLst>
                                      </p:cBhvr>
                                      <p:to>
                                        <p:strVal val="visible"/>
                                      </p:to>
                                    </p:set>
                                    <p:animEffect transition="in" filter="wipe(left)">
                                      <p:cBhvr>
                                        <p:cTn id="57" dur="2000"/>
                                        <p:tgtEl>
                                          <p:spTgt spid="31"/>
                                        </p:tgtEl>
                                      </p:cBhvr>
                                    </p:animEffect>
                                  </p:childTnLst>
                                </p:cTn>
                              </p:par>
                              <p:par>
                                <p:cTn id="58" presetID="22" presetClass="entr" presetSubtype="8" repeatCount="3000" fill="hold" nodeType="withEffect">
                                  <p:stCondLst>
                                    <p:cond delay="0"/>
                                  </p:stCondLst>
                                  <p:childTnLst>
                                    <p:set>
                                      <p:cBhvr>
                                        <p:cTn id="59" dur="1" fill="hold">
                                          <p:stCondLst>
                                            <p:cond delay="0"/>
                                          </p:stCondLst>
                                        </p:cTn>
                                        <p:tgtEl>
                                          <p:spTgt spid="136"/>
                                        </p:tgtEl>
                                        <p:attrNameLst>
                                          <p:attrName>style.visibility</p:attrName>
                                        </p:attrNameLst>
                                      </p:cBhvr>
                                      <p:to>
                                        <p:strVal val="visible"/>
                                      </p:to>
                                    </p:set>
                                    <p:animEffect transition="in" filter="wipe(left)">
                                      <p:cBhvr>
                                        <p:cTn id="60" dur="2000"/>
                                        <p:tgtEl>
                                          <p:spTgt spid="136"/>
                                        </p:tgtEl>
                                      </p:cBhvr>
                                    </p:animEffec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05">
                                            <p:txEl>
                                              <p:pRg st="0" end="0"/>
                                            </p:txEl>
                                          </p:spTgt>
                                        </p:tgtEl>
                                        <p:attrNameLst>
                                          <p:attrName>style.visibility</p:attrName>
                                        </p:attrNameLst>
                                      </p:cBhvr>
                                      <p:to>
                                        <p:strVal val="visible"/>
                                      </p:to>
                                    </p:set>
                                  </p:childTnLst>
                                </p:cTn>
                              </p:par>
                              <p:par>
                                <p:cTn id="65" presetID="10" presetClass="entr" presetSubtype="0" fill="hold" grpId="0" nodeType="withEffect">
                                  <p:stCondLst>
                                    <p:cond delay="0"/>
                                  </p:stCondLst>
                                  <p:childTnLst>
                                    <p:set>
                                      <p:cBhvr>
                                        <p:cTn id="66" dur="1" fill="hold">
                                          <p:stCondLst>
                                            <p:cond delay="0"/>
                                          </p:stCondLst>
                                        </p:cTn>
                                        <p:tgtEl>
                                          <p:spTgt spid="86"/>
                                        </p:tgtEl>
                                        <p:attrNameLst>
                                          <p:attrName>style.visibility</p:attrName>
                                        </p:attrNameLst>
                                      </p:cBhvr>
                                      <p:to>
                                        <p:strVal val="visible"/>
                                      </p:to>
                                    </p:set>
                                    <p:animEffect transition="in" filter="fade">
                                      <p:cBhvr>
                                        <p:cTn id="67" dur="500"/>
                                        <p:tgtEl>
                                          <p:spTgt spid="8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6"/>
                                        </p:tgtEl>
                                        <p:attrNameLst>
                                          <p:attrName>style.visibility</p:attrName>
                                        </p:attrNameLst>
                                      </p:cBhvr>
                                      <p:to>
                                        <p:strVal val="visible"/>
                                      </p:to>
                                    </p:set>
                                    <p:animEffect transition="in" filter="fade">
                                      <p:cBhvr>
                                        <p:cTn id="70" dur="500"/>
                                        <p:tgtEl>
                                          <p:spTgt spid="106"/>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01"/>
                                        </p:tgtEl>
                                        <p:attrNameLst>
                                          <p:attrName>style.visibility</p:attrName>
                                        </p:attrNameLst>
                                      </p:cBhvr>
                                      <p:to>
                                        <p:strVal val="visible"/>
                                      </p:to>
                                    </p:set>
                                    <p:animEffect transition="in" filter="fade">
                                      <p:cBhvr>
                                        <p:cTn id="73" dur="500"/>
                                        <p:tgtEl>
                                          <p:spTgt spid="101"/>
                                        </p:tgtEl>
                                      </p:cBhvr>
                                    </p:animEffect>
                                  </p:childTnLst>
                                </p:cTn>
                              </p:par>
                            </p:childTnLst>
                          </p:cTn>
                        </p:par>
                      </p:childTnLst>
                    </p:cTn>
                  </p:par>
                  <p:par>
                    <p:cTn id="74" fill="hold">
                      <p:stCondLst>
                        <p:cond delay="indefinite"/>
                      </p:stCondLst>
                      <p:childTnLst>
                        <p:par>
                          <p:cTn id="75" fill="hold">
                            <p:stCondLst>
                              <p:cond delay="0"/>
                            </p:stCondLst>
                            <p:childTnLst>
                              <p:par>
                                <p:cTn id="76" presetID="22" presetClass="entr" presetSubtype="8" repeatCount="3000" fill="hold" nodeType="clickEffect">
                                  <p:stCondLst>
                                    <p:cond delay="0"/>
                                  </p:stCondLst>
                                  <p:childTnLst>
                                    <p:set>
                                      <p:cBhvr>
                                        <p:cTn id="77" dur="1" fill="hold">
                                          <p:stCondLst>
                                            <p:cond delay="0"/>
                                          </p:stCondLst>
                                        </p:cTn>
                                        <p:tgtEl>
                                          <p:spTgt spid="120"/>
                                        </p:tgtEl>
                                        <p:attrNameLst>
                                          <p:attrName>style.visibility</p:attrName>
                                        </p:attrNameLst>
                                      </p:cBhvr>
                                      <p:to>
                                        <p:strVal val="visible"/>
                                      </p:to>
                                    </p:set>
                                    <p:animEffect transition="in" filter="wipe(left)">
                                      <p:cBhvr>
                                        <p:cTn id="78" dur="2000"/>
                                        <p:tgtEl>
                                          <p:spTgt spid="120"/>
                                        </p:tgtEl>
                                      </p:cBhvr>
                                    </p:animEffect>
                                  </p:childTnLst>
                                </p:cTn>
                              </p:par>
                              <p:par>
                                <p:cTn id="79" presetID="22" presetClass="entr" presetSubtype="2" repeatCount="3000" fill="hold" nodeType="withEffect">
                                  <p:stCondLst>
                                    <p:cond delay="0"/>
                                  </p:stCondLst>
                                  <p:childTnLst>
                                    <p:set>
                                      <p:cBhvr>
                                        <p:cTn id="80" dur="1" fill="hold">
                                          <p:stCondLst>
                                            <p:cond delay="0"/>
                                          </p:stCondLst>
                                        </p:cTn>
                                        <p:tgtEl>
                                          <p:spTgt spid="168"/>
                                        </p:tgtEl>
                                        <p:attrNameLst>
                                          <p:attrName>style.visibility</p:attrName>
                                        </p:attrNameLst>
                                      </p:cBhvr>
                                      <p:to>
                                        <p:strVal val="visible"/>
                                      </p:to>
                                    </p:set>
                                    <p:animEffect transition="in" filter="wipe(right)">
                                      <p:cBhvr>
                                        <p:cTn id="81" dur="2000"/>
                                        <p:tgtEl>
                                          <p:spTgt spid="168"/>
                                        </p:tgtEl>
                                      </p:cBhvr>
                                    </p:animEffect>
                                  </p:childTnLst>
                                </p:cTn>
                              </p:par>
                              <p:par>
                                <p:cTn id="82" presetID="22" presetClass="entr" presetSubtype="2" repeatCount="3000" fill="hold" nodeType="withEffect">
                                  <p:stCondLst>
                                    <p:cond delay="0"/>
                                  </p:stCondLst>
                                  <p:childTnLst>
                                    <p:set>
                                      <p:cBhvr>
                                        <p:cTn id="83" dur="1" fill="hold">
                                          <p:stCondLst>
                                            <p:cond delay="0"/>
                                          </p:stCondLst>
                                        </p:cTn>
                                        <p:tgtEl>
                                          <p:spTgt spid="178"/>
                                        </p:tgtEl>
                                        <p:attrNameLst>
                                          <p:attrName>style.visibility</p:attrName>
                                        </p:attrNameLst>
                                      </p:cBhvr>
                                      <p:to>
                                        <p:strVal val="visible"/>
                                      </p:to>
                                    </p:set>
                                    <p:animEffect transition="in" filter="wipe(right)">
                                      <p:cBhvr>
                                        <p:cTn id="84" dur="2000"/>
                                        <p:tgtEl>
                                          <p:spTgt spid="178"/>
                                        </p:tgtEl>
                                      </p:cBhvr>
                                    </p:animEffect>
                                  </p:childTnLst>
                                </p:cTn>
                              </p:par>
                              <p:par>
                                <p:cTn id="85" presetID="22" presetClass="entr" presetSubtype="1" repeatCount="3000" fill="hold" nodeType="withEffect">
                                  <p:stCondLst>
                                    <p:cond delay="0"/>
                                  </p:stCondLst>
                                  <p:childTnLst>
                                    <p:set>
                                      <p:cBhvr>
                                        <p:cTn id="86" dur="1" fill="hold">
                                          <p:stCondLst>
                                            <p:cond delay="0"/>
                                          </p:stCondLst>
                                        </p:cTn>
                                        <p:tgtEl>
                                          <p:spTgt spid="193"/>
                                        </p:tgtEl>
                                        <p:attrNameLst>
                                          <p:attrName>style.visibility</p:attrName>
                                        </p:attrNameLst>
                                      </p:cBhvr>
                                      <p:to>
                                        <p:strVal val="visible"/>
                                      </p:to>
                                    </p:set>
                                    <p:animEffect transition="in" filter="wipe(up)">
                                      <p:cBhvr>
                                        <p:cTn id="87" dur="2000"/>
                                        <p:tgtEl>
                                          <p:spTgt spid="193"/>
                                        </p:tgtEl>
                                      </p:cBhvr>
                                    </p:animEffect>
                                  </p:childTnLst>
                                </p:cTn>
                              </p:par>
                              <p:par>
                                <p:cTn id="88" presetID="22" presetClass="entr" presetSubtype="1" repeatCount="3000" fill="hold" nodeType="withEffect">
                                  <p:stCondLst>
                                    <p:cond delay="0"/>
                                  </p:stCondLst>
                                  <p:childTnLst>
                                    <p:set>
                                      <p:cBhvr>
                                        <p:cTn id="89" dur="1" fill="hold">
                                          <p:stCondLst>
                                            <p:cond delay="0"/>
                                          </p:stCondLst>
                                        </p:cTn>
                                        <p:tgtEl>
                                          <p:spTgt spid="132"/>
                                        </p:tgtEl>
                                        <p:attrNameLst>
                                          <p:attrName>style.visibility</p:attrName>
                                        </p:attrNameLst>
                                      </p:cBhvr>
                                      <p:to>
                                        <p:strVal val="visible"/>
                                      </p:to>
                                    </p:set>
                                    <p:animEffect transition="in" filter="wipe(up)">
                                      <p:cBhvr>
                                        <p:cTn id="90" dur="2000"/>
                                        <p:tgtEl>
                                          <p:spTgt spid="132"/>
                                        </p:tgtEl>
                                      </p:cBhvr>
                                    </p:animEffect>
                                  </p:childTnLst>
                                </p:cTn>
                              </p:par>
                              <p:par>
                                <p:cTn id="91" presetID="22" presetClass="entr" presetSubtype="2" repeatCount="3000" fill="hold" nodeType="withEffect">
                                  <p:stCondLst>
                                    <p:cond delay="0"/>
                                  </p:stCondLst>
                                  <p:childTnLst>
                                    <p:set>
                                      <p:cBhvr>
                                        <p:cTn id="92" dur="1" fill="hold">
                                          <p:stCondLst>
                                            <p:cond delay="0"/>
                                          </p:stCondLst>
                                        </p:cTn>
                                        <p:tgtEl>
                                          <p:spTgt spid="29"/>
                                        </p:tgtEl>
                                        <p:attrNameLst>
                                          <p:attrName>style.visibility</p:attrName>
                                        </p:attrNameLst>
                                      </p:cBhvr>
                                      <p:to>
                                        <p:strVal val="visible"/>
                                      </p:to>
                                    </p:set>
                                    <p:animEffect transition="in" filter="wipe(right)">
                                      <p:cBhvr>
                                        <p:cTn id="93" dur="2000"/>
                                        <p:tgtEl>
                                          <p:spTgt spid="29"/>
                                        </p:tgtEl>
                                      </p:cBhvr>
                                    </p:animEffect>
                                  </p:childTnLst>
                                </p:cTn>
                              </p:par>
                              <p:par>
                                <p:cTn id="94" presetID="22" presetClass="entr" presetSubtype="2" repeatCount="3000" fill="hold" nodeType="withEffect">
                                  <p:stCondLst>
                                    <p:cond delay="0"/>
                                  </p:stCondLst>
                                  <p:childTnLst>
                                    <p:set>
                                      <p:cBhvr>
                                        <p:cTn id="95" dur="1" fill="hold">
                                          <p:stCondLst>
                                            <p:cond delay="0"/>
                                          </p:stCondLst>
                                        </p:cTn>
                                        <p:tgtEl>
                                          <p:spTgt spid="163"/>
                                        </p:tgtEl>
                                        <p:attrNameLst>
                                          <p:attrName>style.visibility</p:attrName>
                                        </p:attrNameLst>
                                      </p:cBhvr>
                                      <p:to>
                                        <p:strVal val="visible"/>
                                      </p:to>
                                    </p:set>
                                    <p:animEffect transition="in" filter="wipe(right)">
                                      <p:cBhvr>
                                        <p:cTn id="96" dur="2000"/>
                                        <p:tgtEl>
                                          <p:spTgt spid="163"/>
                                        </p:tgtEl>
                                      </p:cBhvr>
                                    </p:animEffect>
                                  </p:childTnLst>
                                </p:cTn>
                              </p:par>
                              <p:par>
                                <p:cTn id="97" presetID="22" presetClass="entr" presetSubtype="2" repeatCount="3000" fill="hold" nodeType="withEffect">
                                  <p:stCondLst>
                                    <p:cond delay="0"/>
                                  </p:stCondLst>
                                  <p:childTnLst>
                                    <p:set>
                                      <p:cBhvr>
                                        <p:cTn id="98" dur="1" fill="hold">
                                          <p:stCondLst>
                                            <p:cond delay="0"/>
                                          </p:stCondLst>
                                        </p:cTn>
                                        <p:tgtEl>
                                          <p:spTgt spid="5"/>
                                        </p:tgtEl>
                                        <p:attrNameLst>
                                          <p:attrName>style.visibility</p:attrName>
                                        </p:attrNameLst>
                                      </p:cBhvr>
                                      <p:to>
                                        <p:strVal val="visible"/>
                                      </p:to>
                                    </p:set>
                                    <p:animEffect transition="in" filter="wipe(right)">
                                      <p:cBhvr>
                                        <p:cTn id="99" dur="2000"/>
                                        <p:tgtEl>
                                          <p:spTgt spid="5"/>
                                        </p:tgtEl>
                                      </p:cBhvr>
                                    </p:animEffect>
                                  </p:childTnLst>
                                </p:cTn>
                              </p:par>
                              <p:par>
                                <p:cTn id="100" presetID="22" presetClass="entr" presetSubtype="1" repeatCount="3000" fill="hold" nodeType="withEffect">
                                  <p:stCondLst>
                                    <p:cond delay="0"/>
                                  </p:stCondLst>
                                  <p:childTnLst>
                                    <p:set>
                                      <p:cBhvr>
                                        <p:cTn id="101" dur="1" fill="hold">
                                          <p:stCondLst>
                                            <p:cond delay="0"/>
                                          </p:stCondLst>
                                        </p:cTn>
                                        <p:tgtEl>
                                          <p:spTgt spid="15"/>
                                        </p:tgtEl>
                                        <p:attrNameLst>
                                          <p:attrName>style.visibility</p:attrName>
                                        </p:attrNameLst>
                                      </p:cBhvr>
                                      <p:to>
                                        <p:strVal val="visible"/>
                                      </p:to>
                                    </p:set>
                                    <p:animEffect transition="in" filter="wipe(up)">
                                      <p:cBhvr>
                                        <p:cTn id="102" dur="2000"/>
                                        <p:tgtEl>
                                          <p:spTgt spid="15"/>
                                        </p:tgtEl>
                                      </p:cBhvr>
                                    </p:animEffect>
                                  </p:childTnLst>
                                </p:cTn>
                              </p:par>
                              <p:par>
                                <p:cTn id="103" presetID="22" presetClass="entr" presetSubtype="1" repeatCount="3000" fill="hold" nodeType="withEffect">
                                  <p:stCondLst>
                                    <p:cond delay="0"/>
                                  </p:stCondLst>
                                  <p:childTnLst>
                                    <p:set>
                                      <p:cBhvr>
                                        <p:cTn id="104" dur="1" fill="hold">
                                          <p:stCondLst>
                                            <p:cond delay="0"/>
                                          </p:stCondLst>
                                        </p:cTn>
                                        <p:tgtEl>
                                          <p:spTgt spid="17"/>
                                        </p:tgtEl>
                                        <p:attrNameLst>
                                          <p:attrName>style.visibility</p:attrName>
                                        </p:attrNameLst>
                                      </p:cBhvr>
                                      <p:to>
                                        <p:strVal val="visible"/>
                                      </p:to>
                                    </p:set>
                                    <p:animEffect transition="in" filter="wipe(up)">
                                      <p:cBhvr>
                                        <p:cTn id="105" dur="2000"/>
                                        <p:tgtEl>
                                          <p:spTgt spid="17"/>
                                        </p:tgtEl>
                                      </p:cBhvr>
                                    </p:animEffect>
                                  </p:childTnLst>
                                </p:cTn>
                              </p:par>
                              <p:par>
                                <p:cTn id="106" presetID="22" presetClass="entr" presetSubtype="1" repeatCount="3000" fill="hold" nodeType="withEffect">
                                  <p:stCondLst>
                                    <p:cond delay="0"/>
                                  </p:stCondLst>
                                  <p:childTnLst>
                                    <p:set>
                                      <p:cBhvr>
                                        <p:cTn id="107" dur="1" fill="hold">
                                          <p:stCondLst>
                                            <p:cond delay="0"/>
                                          </p:stCondLst>
                                        </p:cTn>
                                        <p:tgtEl>
                                          <p:spTgt spid="4"/>
                                        </p:tgtEl>
                                        <p:attrNameLst>
                                          <p:attrName>style.visibility</p:attrName>
                                        </p:attrNameLst>
                                      </p:cBhvr>
                                      <p:to>
                                        <p:strVal val="visible"/>
                                      </p:to>
                                    </p:set>
                                    <p:animEffect transition="in" filter="wipe(up)">
                                      <p:cBhvr>
                                        <p:cTn id="108" dur="2000"/>
                                        <p:tgtEl>
                                          <p:spTgt spid="4"/>
                                        </p:tgtEl>
                                      </p:cBhvr>
                                    </p:animEffec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17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78" grpId="0" animBg="1"/>
      <p:bldP spid="85" grpId="0" animBg="1"/>
      <p:bldP spid="86" grpId="0" animBg="1"/>
      <p:bldP spid="101" grpId="0" animBg="1"/>
      <p:bldP spid="105" grpId="0" animBg="1"/>
      <p:bldP spid="106" grpId="0" animBg="1"/>
      <p:bldP spid="104" grpId="0" build="allAtOnce" animBg="1"/>
      <p:bldP spid="183" grpId="0" animBg="1"/>
      <p:bldP spid="17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776475" y="2706900"/>
            <a:ext cx="8640000" cy="770400"/>
          </a:xfrm>
        </p:spPr>
        <p:txBody>
          <a:bodyPr/>
          <a:lstStyle/>
          <a:p>
            <a:r>
              <a:rPr lang="de-DE" sz="2800" dirty="0" smtClean="0"/>
              <a:t>Wie es vor 15 Jahren angefangen hat </a:t>
            </a:r>
            <a:br>
              <a:rPr lang="de-DE" sz="2800" dirty="0" smtClean="0"/>
            </a:br>
            <a:r>
              <a:rPr lang="de-DE" sz="2800" dirty="0" smtClean="0"/>
              <a:t>Die </a:t>
            </a:r>
            <a:r>
              <a:rPr lang="de-DE" sz="2800" dirty="0" err="1" smtClean="0"/>
              <a:t>Ecopolicyade</a:t>
            </a:r>
            <a:r>
              <a:rPr lang="de-DE" sz="2800" dirty="0" smtClean="0"/>
              <a:t> in Deutschland </a:t>
            </a:r>
            <a:endParaRPr lang="de-DE" sz="2800" dirty="0"/>
          </a:p>
        </p:txBody>
      </p:sp>
    </p:spTree>
    <p:extLst>
      <p:ext uri="{BB962C8B-B14F-4D97-AF65-F5344CB8AC3E}">
        <p14:creationId xmlns:p14="http://schemas.microsoft.com/office/powerpoint/2010/main" val="1453750781"/>
      </p:ext>
    </p:extLst>
  </p:cSld>
  <p:clrMapOvr>
    <a:masterClrMapping/>
  </p:clrMapOvr>
  <p:transition spd="slow"/>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4" name="Grafik 353"/>
          <p:cNvPicPr>
            <a:picLocks noChangeAspect="1"/>
          </p:cNvPicPr>
          <p:nvPr/>
        </p:nvPicPr>
        <p:blipFill>
          <a:blip r:embed="rId3"/>
          <a:stretch>
            <a:fillRect/>
          </a:stretch>
        </p:blipFill>
        <p:spPr>
          <a:xfrm>
            <a:off x="27709" y="1219200"/>
            <a:ext cx="7177521" cy="4771184"/>
          </a:xfrm>
          <a:prstGeom prst="rect">
            <a:avLst/>
          </a:prstGeom>
        </p:spPr>
      </p:pic>
      <p:sp>
        <p:nvSpPr>
          <p:cNvPr id="171" name="Titel 1"/>
          <p:cNvSpPr>
            <a:spLocks noGrp="1"/>
          </p:cNvSpPr>
          <p:nvPr>
            <p:ph type="title"/>
          </p:nvPr>
        </p:nvSpPr>
        <p:spPr>
          <a:xfrm>
            <a:off x="550536" y="468817"/>
            <a:ext cx="8642350" cy="611188"/>
          </a:xfrm>
        </p:spPr>
        <p:txBody>
          <a:bodyPr/>
          <a:lstStyle/>
          <a:p>
            <a:r>
              <a:rPr lang="de-DE" sz="1800" dirty="0"/>
              <a:t>… und wie Gemeinsame/ Wirksame Strategie und Verbindlichkeiten </a:t>
            </a:r>
            <a:r>
              <a:rPr lang="de-DE" sz="1800" dirty="0" smtClean="0"/>
              <a:t/>
            </a:r>
            <a:br>
              <a:rPr lang="de-DE" sz="1800" dirty="0" smtClean="0"/>
            </a:br>
            <a:r>
              <a:rPr lang="de-DE" sz="1800" dirty="0" smtClean="0"/>
              <a:t>schaffen </a:t>
            </a:r>
            <a:r>
              <a:rPr lang="de-DE" sz="1800" dirty="0"/>
              <a:t>auf sie </a:t>
            </a:r>
            <a:r>
              <a:rPr lang="de-DE" sz="1800" dirty="0" smtClean="0"/>
              <a:t>wirken</a:t>
            </a:r>
            <a:br>
              <a:rPr lang="de-DE" sz="1800" dirty="0" smtClean="0"/>
            </a:br>
            <a:endParaRPr lang="de-DE" sz="1800" dirty="0"/>
          </a:p>
        </p:txBody>
      </p:sp>
      <p:sp>
        <p:nvSpPr>
          <p:cNvPr id="160" name="TextBox 21"/>
          <p:cNvSpPr txBox="1"/>
          <p:nvPr/>
        </p:nvSpPr>
        <p:spPr>
          <a:xfrm>
            <a:off x="612877" y="3118149"/>
            <a:ext cx="571179" cy="318924"/>
          </a:xfrm>
          <a:prstGeom prst="rect">
            <a:avLst/>
          </a:prstGeom>
          <a:ln algn="ctr"/>
        </p:spPr>
        <p:txBody>
          <a:bodyPr wrap="square" lIns="36000" tIns="36000" rIns="36000" bIns="36000" rtlCol="0" anchor="t">
            <a:spAutoFit/>
          </a:bodyPr>
          <a:lstStyle/>
          <a:p>
            <a:pPr marL="0" marR="0" indent="0" algn="l" defTabSz="914400" rtl="0" eaLnBrk="1" fontAlgn="base" latinLnBrk="0" hangingPunct="1">
              <a:lnSpc>
                <a:spcPct val="100000"/>
              </a:lnSpc>
              <a:spcBef>
                <a:spcPct val="0"/>
              </a:spcBef>
              <a:spcAft>
                <a:spcPct val="0"/>
              </a:spcAft>
              <a:buClrTx/>
              <a:buSzTx/>
              <a:buFontTx/>
              <a:buNone/>
              <a:tabLst/>
            </a:pPr>
            <a:r>
              <a:rPr lang="de-DE" b="1" kern="0" dirty="0" smtClean="0">
                <a:solidFill>
                  <a:srgbClr val="73B5CE"/>
                </a:solidFill>
                <a:latin typeface="Arial" panose="020B0604020202020204" pitchFamily="34" charset="0"/>
                <a:ea typeface="+mj-ea"/>
                <a:cs typeface="Arial" panose="020B0604020202020204" pitchFamily="34" charset="0"/>
              </a:rPr>
              <a:t>51%</a:t>
            </a:r>
            <a:endParaRPr kumimoji="0" lang="de-DE" b="1" i="0" u="none" strike="noStrike" kern="0" cap="none" spc="0" normalizeH="0" baseline="0" noProof="0" dirty="0" smtClean="0">
              <a:ln>
                <a:noFill/>
              </a:ln>
              <a:solidFill>
                <a:srgbClr val="73B5CE"/>
              </a:solidFill>
              <a:effectLst/>
              <a:uLnTx/>
              <a:uFillTx/>
              <a:latin typeface="Arial" panose="020B0604020202020204" pitchFamily="34" charset="0"/>
              <a:ea typeface="+mj-ea"/>
              <a:cs typeface="Arial" panose="020B0604020202020204" pitchFamily="34" charset="0"/>
            </a:endParaRPr>
          </a:p>
        </p:txBody>
      </p:sp>
      <p:sp>
        <p:nvSpPr>
          <p:cNvPr id="177" name="Oval 20"/>
          <p:cNvSpPr/>
          <p:nvPr/>
        </p:nvSpPr>
        <p:spPr bwMode="auto">
          <a:xfrm>
            <a:off x="732483" y="3246905"/>
            <a:ext cx="1416747" cy="629482"/>
          </a:xfrm>
          <a:prstGeom prst="ellipse">
            <a:avLst/>
          </a:prstGeom>
          <a:noFill/>
          <a:ln w="25400" cap="flat" cmpd="sng" algn="ctr">
            <a:solidFill>
              <a:srgbClr val="039DD3"/>
            </a:solid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chemeClr val="bg1"/>
              </a:solidFill>
            </a:endParaRPr>
          </a:p>
        </p:txBody>
      </p:sp>
      <p:sp>
        <p:nvSpPr>
          <p:cNvPr id="179" name="Rechteck 94"/>
          <p:cNvSpPr/>
          <p:nvPr/>
        </p:nvSpPr>
        <p:spPr bwMode="auto">
          <a:xfrm>
            <a:off x="986825" y="3371565"/>
            <a:ext cx="1012692" cy="118197"/>
          </a:xfrm>
          <a:prstGeom prst="rect">
            <a:avLst/>
          </a:prstGeom>
          <a:solidFill>
            <a:srgbClr val="73B5CE">
              <a:alpha val="21000"/>
            </a:srgbClr>
          </a:soli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CH" sz="1200" b="1" dirty="0" smtClean="0">
              <a:solidFill>
                <a:schemeClr val="tx1"/>
              </a:solidFill>
              <a:latin typeface="+mj-lt"/>
            </a:endParaRPr>
          </a:p>
        </p:txBody>
      </p:sp>
      <p:sp>
        <p:nvSpPr>
          <p:cNvPr id="183" name="Oval 20"/>
          <p:cNvSpPr/>
          <p:nvPr/>
        </p:nvSpPr>
        <p:spPr bwMode="auto">
          <a:xfrm>
            <a:off x="4329644" y="1408272"/>
            <a:ext cx="1146729" cy="729201"/>
          </a:xfrm>
          <a:prstGeom prst="ellipse">
            <a:avLst/>
          </a:prstGeom>
          <a:noFill/>
          <a:ln w="25400" cap="flat" cmpd="sng" algn="ctr">
            <a:solidFill>
              <a:srgbClr val="7979FF"/>
            </a:solid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chemeClr val="bg1"/>
              </a:solidFill>
            </a:endParaRPr>
          </a:p>
        </p:txBody>
      </p:sp>
      <p:sp>
        <p:nvSpPr>
          <p:cNvPr id="184" name="Rechteck 156"/>
          <p:cNvSpPr/>
          <p:nvPr/>
        </p:nvSpPr>
        <p:spPr bwMode="auto">
          <a:xfrm>
            <a:off x="4564348" y="1636528"/>
            <a:ext cx="792000" cy="108000"/>
          </a:xfrm>
          <a:prstGeom prst="rect">
            <a:avLst/>
          </a:prstGeom>
          <a:solidFill>
            <a:srgbClr val="0000FF">
              <a:alpha val="21000"/>
            </a:srgbClr>
          </a:soli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CH" sz="1200" b="1" dirty="0" smtClean="0">
              <a:solidFill>
                <a:schemeClr val="tx1"/>
              </a:solidFill>
              <a:latin typeface="+mj-lt"/>
            </a:endParaRPr>
          </a:p>
        </p:txBody>
      </p:sp>
      <p:sp>
        <p:nvSpPr>
          <p:cNvPr id="185" name="TextBox 21"/>
          <p:cNvSpPr txBox="1"/>
          <p:nvPr/>
        </p:nvSpPr>
        <p:spPr>
          <a:xfrm>
            <a:off x="5355139" y="1406109"/>
            <a:ext cx="571179" cy="318924"/>
          </a:xfrm>
          <a:prstGeom prst="rect">
            <a:avLst/>
          </a:prstGeom>
          <a:ln algn="ctr"/>
        </p:spPr>
        <p:txBody>
          <a:bodyPr wrap="square" lIns="36000" tIns="36000" rIns="36000" bIns="36000" rtlCol="0" anchor="t">
            <a:spAutoFit/>
          </a:bodyPr>
          <a:lstStyle/>
          <a:p>
            <a:pPr marL="0" marR="0" indent="0" algn="l" defTabSz="914400" rtl="0" eaLnBrk="1" fontAlgn="base" latinLnBrk="0" hangingPunct="1">
              <a:lnSpc>
                <a:spcPct val="100000"/>
              </a:lnSpc>
              <a:spcBef>
                <a:spcPct val="0"/>
              </a:spcBef>
              <a:spcAft>
                <a:spcPct val="0"/>
              </a:spcAft>
              <a:buClrTx/>
              <a:buSzTx/>
              <a:buFontTx/>
              <a:buNone/>
              <a:tabLst/>
            </a:pPr>
            <a:r>
              <a:rPr lang="de-DE" b="1" kern="0" dirty="0" smtClean="0">
                <a:solidFill>
                  <a:srgbClr val="7979FF"/>
                </a:solidFill>
                <a:latin typeface="Arial" panose="020B0604020202020204" pitchFamily="34" charset="0"/>
                <a:ea typeface="+mj-ea"/>
                <a:cs typeface="Arial" panose="020B0604020202020204" pitchFamily="34" charset="0"/>
              </a:rPr>
              <a:t>50%</a:t>
            </a:r>
            <a:endParaRPr kumimoji="0" lang="de-DE" b="1" i="0" u="none" strike="noStrike" kern="0" cap="none" spc="0" normalizeH="0" baseline="0" noProof="0" dirty="0" smtClean="0">
              <a:ln>
                <a:noFill/>
              </a:ln>
              <a:solidFill>
                <a:srgbClr val="7979FF"/>
              </a:solidFill>
              <a:effectLst/>
              <a:uLnTx/>
              <a:uFillTx/>
              <a:latin typeface="Arial" panose="020B0604020202020204" pitchFamily="34" charset="0"/>
              <a:ea typeface="+mj-ea"/>
              <a:cs typeface="Arial" panose="020B0604020202020204" pitchFamily="34" charset="0"/>
            </a:endParaRPr>
          </a:p>
        </p:txBody>
      </p:sp>
      <p:grpSp>
        <p:nvGrpSpPr>
          <p:cNvPr id="186" name="Gruppieren 190"/>
          <p:cNvGrpSpPr/>
          <p:nvPr/>
        </p:nvGrpSpPr>
        <p:grpSpPr>
          <a:xfrm rot="10800000" flipV="1">
            <a:off x="5043305" y="1677548"/>
            <a:ext cx="955111" cy="117047"/>
            <a:chOff x="-2278427" y="1921035"/>
            <a:chExt cx="7858875" cy="2716309"/>
          </a:xfrm>
          <a:effectLst>
            <a:glow rad="63500">
              <a:srgbClr val="0000FF">
                <a:alpha val="20000"/>
              </a:srgbClr>
            </a:glow>
          </a:effectLst>
        </p:grpSpPr>
        <p:sp>
          <p:nvSpPr>
            <p:cNvPr id="187" name="Bent Arrow 33"/>
            <p:cNvSpPr/>
            <p:nvPr/>
          </p:nvSpPr>
          <p:spPr bwMode="auto">
            <a:xfrm rot="10800000" flipH="1">
              <a:off x="1594628" y="3254903"/>
              <a:ext cx="3985820" cy="1382441"/>
            </a:xfrm>
            <a:prstGeom prst="bentArrow">
              <a:avLst>
                <a:gd name="adj1" fmla="val 0"/>
                <a:gd name="adj2" fmla="val 0"/>
                <a:gd name="adj3" fmla="val 25000"/>
                <a:gd name="adj4" fmla="val 5340"/>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188" name="Bent Arrow 33"/>
            <p:cNvSpPr/>
            <p:nvPr/>
          </p:nvSpPr>
          <p:spPr bwMode="auto">
            <a:xfrm rot="16200000" flipH="1" flipV="1">
              <a:off x="-71301" y="1588960"/>
              <a:ext cx="1333869" cy="1998019"/>
            </a:xfrm>
            <a:prstGeom prst="bentArrow">
              <a:avLst>
                <a:gd name="adj1" fmla="val 0"/>
                <a:gd name="adj2" fmla="val 0"/>
                <a:gd name="adj3" fmla="val 25000"/>
                <a:gd name="adj4" fmla="val 45474"/>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194" name="Straight Arrow Connector 34"/>
            <p:cNvCxnSpPr/>
            <p:nvPr/>
          </p:nvCxnSpPr>
          <p:spPr bwMode="auto">
            <a:xfrm rot="16200000" flipV="1">
              <a:off x="-1245185" y="887793"/>
              <a:ext cx="0" cy="2066484"/>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grpSp>
      <p:grpSp>
        <p:nvGrpSpPr>
          <p:cNvPr id="197" name="Gruppieren 196"/>
          <p:cNvGrpSpPr/>
          <p:nvPr/>
        </p:nvGrpSpPr>
        <p:grpSpPr>
          <a:xfrm>
            <a:off x="1252802" y="3739433"/>
            <a:ext cx="245521" cy="986186"/>
            <a:chOff x="1212461" y="3739433"/>
            <a:chExt cx="245521" cy="986186"/>
          </a:xfrm>
          <a:effectLst>
            <a:glow rad="63500">
              <a:srgbClr val="73B5CE">
                <a:alpha val="20000"/>
              </a:srgbClr>
            </a:glow>
          </a:effectLst>
        </p:grpSpPr>
        <p:grpSp>
          <p:nvGrpSpPr>
            <p:cNvPr id="198" name="Gruppieren 65"/>
            <p:cNvGrpSpPr/>
            <p:nvPr/>
          </p:nvGrpSpPr>
          <p:grpSpPr>
            <a:xfrm>
              <a:off x="1212461" y="4266014"/>
              <a:ext cx="245521" cy="459605"/>
              <a:chOff x="2721419" y="2429582"/>
              <a:chExt cx="726094" cy="3170749"/>
            </a:xfrm>
            <a:effectLst/>
          </p:grpSpPr>
          <p:grpSp>
            <p:nvGrpSpPr>
              <p:cNvPr id="205" name="Gruppieren 66"/>
              <p:cNvGrpSpPr/>
              <p:nvPr/>
            </p:nvGrpSpPr>
            <p:grpSpPr>
              <a:xfrm>
                <a:off x="3046761" y="4430003"/>
                <a:ext cx="400752" cy="1170328"/>
                <a:chOff x="4583910" y="3189614"/>
                <a:chExt cx="117885" cy="1023407"/>
              </a:xfrm>
            </p:grpSpPr>
            <p:cxnSp>
              <p:nvCxnSpPr>
                <p:cNvPr id="207" name="Straight Arrow Connector 34"/>
                <p:cNvCxnSpPr/>
                <p:nvPr/>
              </p:nvCxnSpPr>
              <p:spPr bwMode="auto">
                <a:xfrm rot="10800000" flipH="1" flipV="1">
                  <a:off x="4699522" y="4108968"/>
                  <a:ext cx="0" cy="104053"/>
                </a:xfrm>
                <a:prstGeom prst="straightConnector1">
                  <a:avLst/>
                </a:prstGeom>
                <a:solidFill>
                  <a:schemeClr val="tx2"/>
                </a:solidFill>
                <a:ln w="25400" cap="flat" cmpd="sng" algn="ctr">
                  <a:solidFill>
                    <a:srgbClr val="039DD3"/>
                  </a:solidFill>
                  <a:prstDash val="solid"/>
                  <a:round/>
                  <a:headEnd type="none" w="med" len="med"/>
                  <a:tailEnd type="triangle" w="med" len="lg"/>
                </a:ln>
                <a:effectLst/>
              </p:spPr>
            </p:cxnSp>
            <p:sp>
              <p:nvSpPr>
                <p:cNvPr id="208" name="Bent Arrow 33"/>
                <p:cNvSpPr/>
                <p:nvPr/>
              </p:nvSpPr>
              <p:spPr bwMode="auto">
                <a:xfrm rot="10800000" flipV="1">
                  <a:off x="4583910" y="3189614"/>
                  <a:ext cx="117885" cy="481579"/>
                </a:xfrm>
                <a:prstGeom prst="bentArrow">
                  <a:avLst>
                    <a:gd name="adj1" fmla="val 0"/>
                    <a:gd name="adj2" fmla="val 0"/>
                    <a:gd name="adj3" fmla="val 0"/>
                    <a:gd name="adj4" fmla="val 80206"/>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sp>
            <p:nvSpPr>
              <p:cNvPr id="206" name="Bent Arrow 33"/>
              <p:cNvSpPr/>
              <p:nvPr/>
            </p:nvSpPr>
            <p:spPr bwMode="auto">
              <a:xfrm flipV="1">
                <a:off x="2721419" y="2429582"/>
                <a:ext cx="338694" cy="2000420"/>
              </a:xfrm>
              <a:prstGeom prst="bentArrow">
                <a:avLst>
                  <a:gd name="adj1" fmla="val 0"/>
                  <a:gd name="adj2" fmla="val 0"/>
                  <a:gd name="adj3" fmla="val 0"/>
                  <a:gd name="adj4" fmla="val 73606"/>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cxnSp>
          <p:nvCxnSpPr>
            <p:cNvPr id="199" name="Gerader Verbinder 198"/>
            <p:cNvCxnSpPr/>
            <p:nvPr/>
          </p:nvCxnSpPr>
          <p:spPr bwMode="auto">
            <a:xfrm>
              <a:off x="1212461" y="3739433"/>
              <a:ext cx="0" cy="401941"/>
            </a:xfrm>
            <a:prstGeom prst="line">
              <a:avLst/>
            </a:prstGeom>
            <a:solidFill>
              <a:schemeClr val="accent1"/>
            </a:solidFill>
            <a:ln w="25400" cap="flat" cmpd="sng" algn="ctr">
              <a:solidFill>
                <a:srgbClr val="039DD3"/>
              </a:solidFill>
              <a:prstDash val="solid"/>
              <a:round/>
              <a:headEnd type="none" w="med" len="med"/>
              <a:tailEnd type="none" w="med" len="med"/>
            </a:ln>
            <a:effectLst/>
          </p:spPr>
        </p:cxnSp>
      </p:grpSp>
      <p:grpSp>
        <p:nvGrpSpPr>
          <p:cNvPr id="209" name="Gruppieren 208"/>
          <p:cNvGrpSpPr/>
          <p:nvPr/>
        </p:nvGrpSpPr>
        <p:grpSpPr>
          <a:xfrm>
            <a:off x="1220891" y="3734409"/>
            <a:ext cx="1573946" cy="1694035"/>
            <a:chOff x="1180550" y="3734409"/>
            <a:chExt cx="1573946" cy="1694035"/>
          </a:xfrm>
          <a:effectLst>
            <a:glow rad="63500">
              <a:srgbClr val="73B5CE">
                <a:alpha val="20000"/>
              </a:srgbClr>
            </a:glow>
          </a:effectLst>
        </p:grpSpPr>
        <p:cxnSp>
          <p:nvCxnSpPr>
            <p:cNvPr id="210" name="Straight Arrow Connector 34"/>
            <p:cNvCxnSpPr/>
            <p:nvPr/>
          </p:nvCxnSpPr>
          <p:spPr bwMode="auto">
            <a:xfrm rot="16200000" flipH="1">
              <a:off x="2643678" y="5317626"/>
              <a:ext cx="0" cy="221636"/>
            </a:xfrm>
            <a:prstGeom prst="straightConnector1">
              <a:avLst/>
            </a:prstGeom>
            <a:solidFill>
              <a:schemeClr val="tx2"/>
            </a:solidFill>
            <a:ln w="25400" cap="rnd" cmpd="sng" algn="ctr">
              <a:solidFill>
                <a:srgbClr val="039DD3"/>
              </a:solidFill>
              <a:prstDash val="solid"/>
              <a:round/>
              <a:headEnd type="none" w="med" len="med"/>
              <a:tailEnd type="triangle" w="med" len="lg"/>
            </a:ln>
            <a:effectLst/>
          </p:spPr>
        </p:cxnSp>
        <p:sp>
          <p:nvSpPr>
            <p:cNvPr id="211" name="Bent Arrow 33"/>
            <p:cNvSpPr/>
            <p:nvPr/>
          </p:nvSpPr>
          <p:spPr bwMode="auto">
            <a:xfrm rot="16200000">
              <a:off x="1281147" y="4163409"/>
              <a:ext cx="1166150" cy="1363912"/>
            </a:xfrm>
            <a:prstGeom prst="bentArrow">
              <a:avLst>
                <a:gd name="adj1" fmla="val 0"/>
                <a:gd name="adj2" fmla="val 0"/>
                <a:gd name="adj3" fmla="val 25000"/>
                <a:gd name="adj4" fmla="val 7969"/>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212" name="Gerader Verbinder 211"/>
            <p:cNvCxnSpPr/>
            <p:nvPr/>
          </p:nvCxnSpPr>
          <p:spPr bwMode="auto">
            <a:xfrm>
              <a:off x="1180550" y="3734409"/>
              <a:ext cx="0" cy="401941"/>
            </a:xfrm>
            <a:prstGeom prst="line">
              <a:avLst/>
            </a:prstGeom>
            <a:solidFill>
              <a:schemeClr val="accent1"/>
            </a:solidFill>
            <a:ln w="25400" cap="flat" cmpd="sng" algn="ctr">
              <a:solidFill>
                <a:srgbClr val="039DD3"/>
              </a:solidFill>
              <a:prstDash val="solid"/>
              <a:round/>
              <a:headEnd type="none" w="med" len="med"/>
              <a:tailEnd type="none" w="med" len="med"/>
            </a:ln>
            <a:effectLst/>
          </p:spPr>
        </p:cxnSp>
      </p:grpSp>
      <p:grpSp>
        <p:nvGrpSpPr>
          <p:cNvPr id="213" name="Gruppieren 212"/>
          <p:cNvGrpSpPr/>
          <p:nvPr/>
        </p:nvGrpSpPr>
        <p:grpSpPr>
          <a:xfrm>
            <a:off x="1300173" y="3734408"/>
            <a:ext cx="3062213" cy="912508"/>
            <a:chOff x="1259832" y="3734408"/>
            <a:chExt cx="3062213" cy="912508"/>
          </a:xfrm>
          <a:effectLst>
            <a:glow rad="63500">
              <a:srgbClr val="73B5CE">
                <a:alpha val="20000"/>
              </a:srgbClr>
            </a:glow>
          </a:effectLst>
        </p:grpSpPr>
        <p:cxnSp>
          <p:nvCxnSpPr>
            <p:cNvPr id="214" name="Straight Arrow Connector 34"/>
            <p:cNvCxnSpPr/>
            <p:nvPr/>
          </p:nvCxnSpPr>
          <p:spPr bwMode="auto">
            <a:xfrm>
              <a:off x="3954710" y="4646916"/>
              <a:ext cx="367335" cy="0"/>
            </a:xfrm>
            <a:prstGeom prst="straightConnector1">
              <a:avLst/>
            </a:prstGeom>
            <a:solidFill>
              <a:schemeClr val="tx2"/>
            </a:solidFill>
            <a:ln w="25400" cap="flat" cmpd="sng" algn="ctr">
              <a:solidFill>
                <a:srgbClr val="039DD3"/>
              </a:solidFill>
              <a:prstDash val="solid"/>
              <a:round/>
              <a:headEnd type="none" w="med" len="med"/>
              <a:tailEnd type="triangle" w="med" len="lg"/>
            </a:ln>
            <a:effectLst/>
          </p:spPr>
        </p:cxnSp>
        <p:sp>
          <p:nvSpPr>
            <p:cNvPr id="215" name="Bent Arrow 33"/>
            <p:cNvSpPr/>
            <p:nvPr/>
          </p:nvSpPr>
          <p:spPr bwMode="auto">
            <a:xfrm rot="5400000" flipH="1" flipV="1">
              <a:off x="1310141" y="4234765"/>
              <a:ext cx="232971" cy="323540"/>
            </a:xfrm>
            <a:prstGeom prst="bentArrow">
              <a:avLst>
                <a:gd name="adj1" fmla="val 0"/>
                <a:gd name="adj2" fmla="val 0"/>
                <a:gd name="adj3" fmla="val 0"/>
                <a:gd name="adj4" fmla="val 31260"/>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216" name="Bent Arrow 33"/>
            <p:cNvSpPr/>
            <p:nvPr/>
          </p:nvSpPr>
          <p:spPr bwMode="auto">
            <a:xfrm flipH="1">
              <a:off x="1588394" y="4512910"/>
              <a:ext cx="393666" cy="75781"/>
            </a:xfrm>
            <a:prstGeom prst="bentArrow">
              <a:avLst>
                <a:gd name="adj1" fmla="val 0"/>
                <a:gd name="adj2" fmla="val 0"/>
                <a:gd name="adj3" fmla="val 0"/>
                <a:gd name="adj4" fmla="val 68690"/>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217" name="Bent Arrow 33"/>
            <p:cNvSpPr/>
            <p:nvPr/>
          </p:nvSpPr>
          <p:spPr bwMode="auto">
            <a:xfrm rot="10800000" flipH="1">
              <a:off x="1987010" y="4571134"/>
              <a:ext cx="1959812" cy="75781"/>
            </a:xfrm>
            <a:prstGeom prst="bentArrow">
              <a:avLst>
                <a:gd name="adj1" fmla="val 0"/>
                <a:gd name="adj2" fmla="val 0"/>
                <a:gd name="adj3" fmla="val 0"/>
                <a:gd name="adj4" fmla="val 75960"/>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218" name="Gerader Verbinder 217"/>
            <p:cNvCxnSpPr/>
            <p:nvPr/>
          </p:nvCxnSpPr>
          <p:spPr bwMode="auto">
            <a:xfrm>
              <a:off x="1259832" y="3734408"/>
              <a:ext cx="0" cy="401941"/>
            </a:xfrm>
            <a:prstGeom prst="line">
              <a:avLst/>
            </a:prstGeom>
            <a:solidFill>
              <a:schemeClr val="accent1"/>
            </a:solidFill>
            <a:ln w="25400" cap="flat" cmpd="sng" algn="ctr">
              <a:solidFill>
                <a:srgbClr val="039DD3"/>
              </a:solidFill>
              <a:prstDash val="solid"/>
              <a:round/>
              <a:headEnd type="none" w="med" len="med"/>
              <a:tailEnd type="none" w="med" len="med"/>
            </a:ln>
            <a:effectLst/>
          </p:spPr>
        </p:cxnSp>
      </p:grpSp>
      <p:grpSp>
        <p:nvGrpSpPr>
          <p:cNvPr id="219" name="Gruppieren 218"/>
          <p:cNvGrpSpPr/>
          <p:nvPr/>
        </p:nvGrpSpPr>
        <p:grpSpPr>
          <a:xfrm>
            <a:off x="1342264" y="3739211"/>
            <a:ext cx="4869559" cy="761179"/>
            <a:chOff x="1301923" y="3739211"/>
            <a:chExt cx="4869559" cy="761179"/>
          </a:xfrm>
          <a:effectLst>
            <a:glow rad="63500">
              <a:srgbClr val="73B5CE">
                <a:alpha val="20000"/>
              </a:srgbClr>
            </a:glow>
          </a:effectLst>
        </p:grpSpPr>
        <p:cxnSp>
          <p:nvCxnSpPr>
            <p:cNvPr id="220" name="Straight Arrow Connector 34"/>
            <p:cNvCxnSpPr/>
            <p:nvPr/>
          </p:nvCxnSpPr>
          <p:spPr bwMode="auto">
            <a:xfrm>
              <a:off x="5667482" y="4500390"/>
              <a:ext cx="504000" cy="0"/>
            </a:xfrm>
            <a:prstGeom prst="straightConnector1">
              <a:avLst/>
            </a:prstGeom>
            <a:solidFill>
              <a:schemeClr val="tx2"/>
            </a:solidFill>
            <a:ln w="25400" cap="flat" cmpd="sng" algn="ctr">
              <a:solidFill>
                <a:srgbClr val="039DD3"/>
              </a:solidFill>
              <a:prstDash val="solid"/>
              <a:round/>
              <a:headEnd type="none" w="med" len="med"/>
              <a:tailEnd type="triangle" w="med" len="lg"/>
            </a:ln>
            <a:effectLst/>
          </p:spPr>
        </p:cxnSp>
        <p:sp>
          <p:nvSpPr>
            <p:cNvPr id="221" name="Bent Arrow 33"/>
            <p:cNvSpPr/>
            <p:nvPr/>
          </p:nvSpPr>
          <p:spPr bwMode="auto">
            <a:xfrm rot="5400000" flipH="1" flipV="1">
              <a:off x="2499822" y="3078206"/>
              <a:ext cx="168715" cy="2554465"/>
            </a:xfrm>
            <a:prstGeom prst="bentArrow">
              <a:avLst>
                <a:gd name="adj1" fmla="val 0"/>
                <a:gd name="adj2" fmla="val 0"/>
                <a:gd name="adj3" fmla="val 0"/>
                <a:gd name="adj4" fmla="val 31260"/>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222" name="Bent Arrow 33"/>
            <p:cNvSpPr/>
            <p:nvPr/>
          </p:nvSpPr>
          <p:spPr bwMode="auto">
            <a:xfrm rot="5400000" flipH="1">
              <a:off x="3971384" y="4236184"/>
              <a:ext cx="65737" cy="340761"/>
            </a:xfrm>
            <a:prstGeom prst="bentArrow">
              <a:avLst>
                <a:gd name="adj1" fmla="val 0"/>
                <a:gd name="adj2" fmla="val 0"/>
                <a:gd name="adj3" fmla="val 0"/>
                <a:gd name="adj4" fmla="val 75960"/>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223" name="Gerader Verbinder 222"/>
            <p:cNvCxnSpPr/>
            <p:nvPr/>
          </p:nvCxnSpPr>
          <p:spPr bwMode="auto">
            <a:xfrm>
              <a:off x="1301923" y="3739211"/>
              <a:ext cx="0" cy="401941"/>
            </a:xfrm>
            <a:prstGeom prst="line">
              <a:avLst/>
            </a:prstGeom>
            <a:solidFill>
              <a:schemeClr val="accent1"/>
            </a:solidFill>
            <a:ln w="25400" cap="flat" cmpd="sng" algn="ctr">
              <a:solidFill>
                <a:srgbClr val="039DD3"/>
              </a:solidFill>
              <a:prstDash val="solid"/>
              <a:round/>
              <a:headEnd type="none" w="med" len="med"/>
              <a:tailEnd type="none" w="med" len="med"/>
            </a:ln>
            <a:effectLst/>
          </p:spPr>
        </p:cxnSp>
        <p:sp>
          <p:nvSpPr>
            <p:cNvPr id="224" name="Bent Arrow 33"/>
            <p:cNvSpPr/>
            <p:nvPr/>
          </p:nvSpPr>
          <p:spPr bwMode="auto">
            <a:xfrm rot="16200000" flipH="1">
              <a:off x="4727856" y="3767209"/>
              <a:ext cx="48801" cy="1152000"/>
            </a:xfrm>
            <a:prstGeom prst="bentArrow">
              <a:avLst>
                <a:gd name="adj1" fmla="val 0"/>
                <a:gd name="adj2" fmla="val 0"/>
                <a:gd name="adj3" fmla="val 0"/>
                <a:gd name="adj4" fmla="val 75960"/>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225" name="Bent Arrow 33"/>
            <p:cNvSpPr/>
            <p:nvPr/>
          </p:nvSpPr>
          <p:spPr bwMode="auto">
            <a:xfrm flipH="1">
              <a:off x="5327736" y="4319189"/>
              <a:ext cx="170823" cy="120607"/>
            </a:xfrm>
            <a:prstGeom prst="bentArrow">
              <a:avLst>
                <a:gd name="adj1" fmla="val 0"/>
                <a:gd name="adj2" fmla="val 0"/>
                <a:gd name="adj3" fmla="val 0"/>
                <a:gd name="adj4" fmla="val 75960"/>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226" name="Bent Arrow 33"/>
            <p:cNvSpPr/>
            <p:nvPr/>
          </p:nvSpPr>
          <p:spPr bwMode="auto">
            <a:xfrm rot="10800000" flipH="1">
              <a:off x="5496660" y="4438540"/>
              <a:ext cx="170823" cy="61849"/>
            </a:xfrm>
            <a:prstGeom prst="bentArrow">
              <a:avLst>
                <a:gd name="adj1" fmla="val 0"/>
                <a:gd name="adj2" fmla="val 0"/>
                <a:gd name="adj3" fmla="val 0"/>
                <a:gd name="adj4" fmla="val 75960"/>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227" name="Gruppieren 65"/>
          <p:cNvGrpSpPr/>
          <p:nvPr/>
        </p:nvGrpSpPr>
        <p:grpSpPr>
          <a:xfrm rot="16200000" flipH="1">
            <a:off x="2340646" y="2800111"/>
            <a:ext cx="238520" cy="2016188"/>
            <a:chOff x="2689810" y="2429583"/>
            <a:chExt cx="648243" cy="3170744"/>
          </a:xfrm>
          <a:effectLst>
            <a:glow rad="63500">
              <a:srgbClr val="73B5CE">
                <a:alpha val="20000"/>
              </a:srgbClr>
            </a:glow>
          </a:effectLst>
        </p:grpSpPr>
        <p:grpSp>
          <p:nvGrpSpPr>
            <p:cNvPr id="228" name="Gruppieren 66"/>
            <p:cNvGrpSpPr/>
            <p:nvPr/>
          </p:nvGrpSpPr>
          <p:grpSpPr>
            <a:xfrm>
              <a:off x="3046762" y="3699791"/>
              <a:ext cx="291291" cy="1900536"/>
              <a:chOff x="4583910" y="2551073"/>
              <a:chExt cx="85686" cy="1661946"/>
            </a:xfrm>
          </p:grpSpPr>
          <p:cxnSp>
            <p:nvCxnSpPr>
              <p:cNvPr id="230" name="Straight Arrow Connector 34"/>
              <p:cNvCxnSpPr/>
              <p:nvPr/>
            </p:nvCxnSpPr>
            <p:spPr bwMode="auto">
              <a:xfrm rot="10800000" flipH="1" flipV="1">
                <a:off x="4669596" y="4108966"/>
                <a:ext cx="0" cy="104053"/>
              </a:xfrm>
              <a:prstGeom prst="straightConnector1">
                <a:avLst/>
              </a:prstGeom>
              <a:solidFill>
                <a:schemeClr val="tx2"/>
              </a:solidFill>
              <a:ln w="25400" cap="flat" cmpd="sng" algn="ctr">
                <a:solidFill>
                  <a:srgbClr val="039DD3"/>
                </a:solidFill>
                <a:prstDash val="solid"/>
                <a:round/>
                <a:headEnd type="none" w="med" len="med"/>
                <a:tailEnd type="triangle" w="med" len="lg"/>
              </a:ln>
              <a:effectLst/>
            </p:spPr>
          </p:cxnSp>
          <p:sp>
            <p:nvSpPr>
              <p:cNvPr id="231" name="Bent Arrow 33"/>
              <p:cNvSpPr/>
              <p:nvPr/>
            </p:nvSpPr>
            <p:spPr bwMode="auto">
              <a:xfrm rot="10800000" flipV="1">
                <a:off x="4583910" y="2551073"/>
                <a:ext cx="83685" cy="1557895"/>
              </a:xfrm>
              <a:prstGeom prst="bentArrow">
                <a:avLst>
                  <a:gd name="adj1" fmla="val 0"/>
                  <a:gd name="adj2" fmla="val 0"/>
                  <a:gd name="adj3" fmla="val 0"/>
                  <a:gd name="adj4" fmla="val 80206"/>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sp>
          <p:nvSpPr>
            <p:cNvPr id="229" name="Bent Arrow 33"/>
            <p:cNvSpPr/>
            <p:nvPr/>
          </p:nvSpPr>
          <p:spPr bwMode="auto">
            <a:xfrm flipV="1">
              <a:off x="2689810" y="2429583"/>
              <a:ext cx="370302" cy="1273841"/>
            </a:xfrm>
            <a:prstGeom prst="bentArrow">
              <a:avLst>
                <a:gd name="adj1" fmla="val 0"/>
                <a:gd name="adj2" fmla="val 0"/>
                <a:gd name="adj3" fmla="val 0"/>
                <a:gd name="adj4" fmla="val 73606"/>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232" name="Gruppieren 65"/>
          <p:cNvGrpSpPr/>
          <p:nvPr/>
        </p:nvGrpSpPr>
        <p:grpSpPr>
          <a:xfrm rot="10800000" flipH="1">
            <a:off x="1178205" y="2416406"/>
            <a:ext cx="3043888" cy="965833"/>
            <a:chOff x="2689810" y="2429583"/>
            <a:chExt cx="1728752" cy="1273841"/>
          </a:xfrm>
          <a:effectLst>
            <a:glow rad="63500">
              <a:srgbClr val="73B5CE">
                <a:alpha val="20000"/>
              </a:srgbClr>
            </a:glow>
          </a:effectLst>
        </p:grpSpPr>
        <p:grpSp>
          <p:nvGrpSpPr>
            <p:cNvPr id="233" name="Gruppieren 66"/>
            <p:cNvGrpSpPr/>
            <p:nvPr/>
          </p:nvGrpSpPr>
          <p:grpSpPr>
            <a:xfrm>
              <a:off x="3045687" y="3351781"/>
              <a:ext cx="1372875" cy="348013"/>
              <a:chOff x="4583592" y="2246751"/>
              <a:chExt cx="403844" cy="304324"/>
            </a:xfrm>
          </p:grpSpPr>
          <p:cxnSp>
            <p:nvCxnSpPr>
              <p:cNvPr id="235" name="Straight Arrow Connector 34"/>
              <p:cNvCxnSpPr/>
              <p:nvPr/>
            </p:nvCxnSpPr>
            <p:spPr bwMode="auto">
              <a:xfrm rot="10800000" flipH="1">
                <a:off x="4987436" y="2246751"/>
                <a:ext cx="0" cy="140512"/>
              </a:xfrm>
              <a:prstGeom prst="straightConnector1">
                <a:avLst/>
              </a:prstGeom>
              <a:solidFill>
                <a:schemeClr val="tx2"/>
              </a:solidFill>
              <a:ln w="25400" cap="flat" cmpd="sng" algn="ctr">
                <a:solidFill>
                  <a:srgbClr val="039DD3"/>
                </a:solidFill>
                <a:prstDash val="solid"/>
                <a:round/>
                <a:headEnd type="none" w="med" len="med"/>
                <a:tailEnd type="triangle" w="med" len="lg"/>
              </a:ln>
              <a:effectLst/>
            </p:spPr>
          </p:cxnSp>
          <p:sp>
            <p:nvSpPr>
              <p:cNvPr id="236" name="Bent Arrow 33"/>
              <p:cNvSpPr/>
              <p:nvPr/>
            </p:nvSpPr>
            <p:spPr bwMode="auto">
              <a:xfrm flipH="1" flipV="1">
                <a:off x="4583592" y="2372659"/>
                <a:ext cx="403844" cy="178416"/>
              </a:xfrm>
              <a:prstGeom prst="bentArrow">
                <a:avLst>
                  <a:gd name="adj1" fmla="val 0"/>
                  <a:gd name="adj2" fmla="val 0"/>
                  <a:gd name="adj3" fmla="val 0"/>
                  <a:gd name="adj4" fmla="val 45830"/>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sp>
          <p:nvSpPr>
            <p:cNvPr id="234" name="Bent Arrow 33"/>
            <p:cNvSpPr/>
            <p:nvPr/>
          </p:nvSpPr>
          <p:spPr bwMode="auto">
            <a:xfrm flipV="1">
              <a:off x="2689810" y="2429583"/>
              <a:ext cx="370302" cy="1273841"/>
            </a:xfrm>
            <a:prstGeom prst="bentArrow">
              <a:avLst>
                <a:gd name="adj1" fmla="val 0"/>
                <a:gd name="adj2" fmla="val 0"/>
                <a:gd name="adj3" fmla="val 0"/>
                <a:gd name="adj4" fmla="val 12916"/>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237" name="Gruppieren 236"/>
          <p:cNvGrpSpPr/>
          <p:nvPr/>
        </p:nvGrpSpPr>
        <p:grpSpPr>
          <a:xfrm>
            <a:off x="1140565" y="2378301"/>
            <a:ext cx="4620083" cy="990762"/>
            <a:chOff x="1100224" y="2378301"/>
            <a:chExt cx="4620083" cy="990762"/>
          </a:xfrm>
        </p:grpSpPr>
        <p:grpSp>
          <p:nvGrpSpPr>
            <p:cNvPr id="238" name="Gruppieren 65"/>
            <p:cNvGrpSpPr/>
            <p:nvPr/>
          </p:nvGrpSpPr>
          <p:grpSpPr>
            <a:xfrm rot="10800000" flipH="1">
              <a:off x="1100224" y="2378301"/>
              <a:ext cx="4620083" cy="990762"/>
              <a:chOff x="2689810" y="2429583"/>
              <a:chExt cx="1889054" cy="1273841"/>
            </a:xfrm>
            <a:effectLst>
              <a:glow rad="63500">
                <a:srgbClr val="73B5CE">
                  <a:alpha val="20000"/>
                </a:srgbClr>
              </a:glow>
            </a:effectLst>
          </p:grpSpPr>
          <p:grpSp>
            <p:nvGrpSpPr>
              <p:cNvPr id="240" name="Gruppieren 66"/>
              <p:cNvGrpSpPr/>
              <p:nvPr/>
            </p:nvGrpSpPr>
            <p:grpSpPr>
              <a:xfrm>
                <a:off x="3045688" y="3592104"/>
                <a:ext cx="1533176" cy="107682"/>
                <a:chOff x="4583592" y="2456910"/>
                <a:chExt cx="450998" cy="94164"/>
              </a:xfrm>
            </p:grpSpPr>
            <p:cxnSp>
              <p:nvCxnSpPr>
                <p:cNvPr id="242" name="Straight Arrow Connector 34"/>
                <p:cNvCxnSpPr>
                  <a:stCxn id="239" idx="0"/>
                </p:cNvCxnSpPr>
                <p:nvPr/>
              </p:nvCxnSpPr>
              <p:spPr bwMode="auto">
                <a:xfrm rot="10800000" flipH="1">
                  <a:off x="5009564" y="2456910"/>
                  <a:ext cx="25026" cy="7"/>
                </a:xfrm>
                <a:prstGeom prst="straightConnector1">
                  <a:avLst/>
                </a:prstGeom>
                <a:solidFill>
                  <a:schemeClr val="tx2"/>
                </a:solidFill>
                <a:ln w="25400" cap="flat" cmpd="sng" algn="ctr">
                  <a:solidFill>
                    <a:srgbClr val="039DD3"/>
                  </a:solidFill>
                  <a:prstDash val="solid"/>
                  <a:round/>
                  <a:headEnd type="none" w="med" len="med"/>
                  <a:tailEnd type="triangle" w="med" len="lg"/>
                </a:ln>
                <a:effectLst/>
              </p:spPr>
            </p:cxnSp>
            <p:sp>
              <p:nvSpPr>
                <p:cNvPr id="243" name="Bent Arrow 33"/>
                <p:cNvSpPr/>
                <p:nvPr/>
              </p:nvSpPr>
              <p:spPr bwMode="auto">
                <a:xfrm flipH="1" flipV="1">
                  <a:off x="4583592" y="2465368"/>
                  <a:ext cx="411288" cy="85706"/>
                </a:xfrm>
                <a:prstGeom prst="bentArrow">
                  <a:avLst>
                    <a:gd name="adj1" fmla="val 0"/>
                    <a:gd name="adj2" fmla="val 0"/>
                    <a:gd name="adj3" fmla="val 0"/>
                    <a:gd name="adj4" fmla="val 45830"/>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sp>
            <p:nvSpPr>
              <p:cNvPr id="241" name="Bent Arrow 33"/>
              <p:cNvSpPr/>
              <p:nvPr/>
            </p:nvSpPr>
            <p:spPr bwMode="auto">
              <a:xfrm flipV="1">
                <a:off x="2689810" y="2429583"/>
                <a:ext cx="370302" cy="1273841"/>
              </a:xfrm>
              <a:prstGeom prst="bentArrow">
                <a:avLst>
                  <a:gd name="adj1" fmla="val 0"/>
                  <a:gd name="adj2" fmla="val 0"/>
                  <a:gd name="adj3" fmla="val 0"/>
                  <a:gd name="adj4" fmla="val 8783"/>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sp>
          <p:nvSpPr>
            <p:cNvPr id="239" name="Bent Arrow 33"/>
            <p:cNvSpPr/>
            <p:nvPr/>
          </p:nvSpPr>
          <p:spPr bwMode="auto">
            <a:xfrm flipV="1">
              <a:off x="5389711" y="2419158"/>
              <a:ext cx="122520" cy="45719"/>
            </a:xfrm>
            <a:prstGeom prst="bentArrow">
              <a:avLst>
                <a:gd name="adj1" fmla="val 0"/>
                <a:gd name="adj2" fmla="val 0"/>
                <a:gd name="adj3" fmla="val 0"/>
                <a:gd name="adj4" fmla="val 45830"/>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244" name="Gruppieren 65"/>
          <p:cNvGrpSpPr/>
          <p:nvPr/>
        </p:nvGrpSpPr>
        <p:grpSpPr>
          <a:xfrm rot="10800000" flipH="1">
            <a:off x="1385905" y="3229266"/>
            <a:ext cx="3806212" cy="137415"/>
            <a:chOff x="2698765" y="1585893"/>
            <a:chExt cx="1834442" cy="2117546"/>
          </a:xfrm>
          <a:effectLst>
            <a:glow rad="63500">
              <a:srgbClr val="73B5CE">
                <a:alpha val="20000"/>
              </a:srgbClr>
            </a:glow>
          </a:effectLst>
        </p:grpSpPr>
        <p:cxnSp>
          <p:nvCxnSpPr>
            <p:cNvPr id="245" name="Straight Arrow Connector 34"/>
            <p:cNvCxnSpPr/>
            <p:nvPr/>
          </p:nvCxnSpPr>
          <p:spPr bwMode="auto">
            <a:xfrm rot="10800000" flipH="1">
              <a:off x="4448131" y="3703439"/>
              <a:ext cx="85076" cy="0"/>
            </a:xfrm>
            <a:prstGeom prst="straightConnector1">
              <a:avLst/>
            </a:prstGeom>
            <a:solidFill>
              <a:schemeClr val="tx2"/>
            </a:solidFill>
            <a:ln w="25400" cap="flat" cmpd="sng" algn="ctr">
              <a:solidFill>
                <a:srgbClr val="039DD3"/>
              </a:solidFill>
              <a:prstDash val="solid"/>
              <a:round/>
              <a:headEnd type="none" w="med" len="med"/>
              <a:tailEnd type="triangle" w="med" len="lg"/>
            </a:ln>
            <a:effectLst/>
          </p:spPr>
        </p:cxnSp>
        <p:sp>
          <p:nvSpPr>
            <p:cNvPr id="246" name="Bent Arrow 33"/>
            <p:cNvSpPr/>
            <p:nvPr/>
          </p:nvSpPr>
          <p:spPr bwMode="auto">
            <a:xfrm flipV="1">
              <a:off x="2698765" y="1585893"/>
              <a:ext cx="1748566" cy="2117546"/>
            </a:xfrm>
            <a:prstGeom prst="bentArrow">
              <a:avLst>
                <a:gd name="adj1" fmla="val 0"/>
                <a:gd name="adj2" fmla="val 0"/>
                <a:gd name="adj3" fmla="val 0"/>
                <a:gd name="adj4" fmla="val 38538"/>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247" name="Gruppieren 246"/>
          <p:cNvGrpSpPr/>
          <p:nvPr/>
        </p:nvGrpSpPr>
        <p:grpSpPr>
          <a:xfrm>
            <a:off x="238052" y="1291639"/>
            <a:ext cx="4518334" cy="2400143"/>
            <a:chOff x="197711" y="1291639"/>
            <a:chExt cx="4518334" cy="2400143"/>
          </a:xfrm>
          <a:effectLst>
            <a:glow rad="63500">
              <a:srgbClr val="73B5CE">
                <a:alpha val="20000"/>
              </a:srgbClr>
            </a:glow>
          </a:effectLst>
        </p:grpSpPr>
        <p:grpSp>
          <p:nvGrpSpPr>
            <p:cNvPr id="248" name="Gruppieren 66"/>
            <p:cNvGrpSpPr/>
            <p:nvPr/>
          </p:nvGrpSpPr>
          <p:grpSpPr>
            <a:xfrm rot="5400000" flipH="1">
              <a:off x="1504162" y="-5636"/>
              <a:ext cx="1907593" cy="4516171"/>
              <a:chOff x="4583592" y="-4089009"/>
              <a:chExt cx="411288" cy="6640084"/>
            </a:xfrm>
          </p:grpSpPr>
          <p:cxnSp>
            <p:nvCxnSpPr>
              <p:cNvPr id="251" name="Straight Arrow Connector 34"/>
              <p:cNvCxnSpPr/>
              <p:nvPr/>
            </p:nvCxnSpPr>
            <p:spPr bwMode="auto">
              <a:xfrm rot="5400000" flipH="1">
                <a:off x="4929711" y="-4099969"/>
                <a:ext cx="1" cy="21922"/>
              </a:xfrm>
              <a:prstGeom prst="straightConnector1">
                <a:avLst/>
              </a:prstGeom>
              <a:solidFill>
                <a:schemeClr val="tx2"/>
              </a:solidFill>
              <a:ln w="25400" cap="flat" cmpd="sng" algn="ctr">
                <a:solidFill>
                  <a:srgbClr val="039DD3"/>
                </a:solidFill>
                <a:prstDash val="solid"/>
                <a:round/>
                <a:headEnd type="none" w="med" len="med"/>
                <a:tailEnd type="triangle" w="med" len="lg"/>
              </a:ln>
              <a:effectLst/>
            </p:spPr>
          </p:cxnSp>
          <p:sp>
            <p:nvSpPr>
              <p:cNvPr id="252" name="Bent Arrow 33"/>
              <p:cNvSpPr/>
              <p:nvPr/>
            </p:nvSpPr>
            <p:spPr bwMode="auto">
              <a:xfrm flipH="1" flipV="1">
                <a:off x="4583592" y="2309487"/>
                <a:ext cx="411288" cy="241588"/>
              </a:xfrm>
              <a:prstGeom prst="bentArrow">
                <a:avLst>
                  <a:gd name="adj1" fmla="val 0"/>
                  <a:gd name="adj2" fmla="val 0"/>
                  <a:gd name="adj3" fmla="val 0"/>
                  <a:gd name="adj4" fmla="val 45830"/>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sp>
          <p:nvSpPr>
            <p:cNvPr id="249" name="Bent Arrow 33"/>
            <p:cNvSpPr/>
            <p:nvPr/>
          </p:nvSpPr>
          <p:spPr bwMode="auto">
            <a:xfrm rot="5400000" flipH="1" flipV="1">
              <a:off x="323914" y="3060361"/>
              <a:ext cx="505218" cy="757624"/>
            </a:xfrm>
            <a:prstGeom prst="bentArrow">
              <a:avLst>
                <a:gd name="adj1" fmla="val 0"/>
                <a:gd name="adj2" fmla="val 0"/>
                <a:gd name="adj3" fmla="val 0"/>
                <a:gd name="adj4" fmla="val 8783"/>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250" name="Bent Arrow 33"/>
            <p:cNvSpPr/>
            <p:nvPr/>
          </p:nvSpPr>
          <p:spPr bwMode="auto">
            <a:xfrm rot="16200000" flipH="1" flipV="1">
              <a:off x="2414950" y="-759123"/>
              <a:ext cx="250333" cy="4351857"/>
            </a:xfrm>
            <a:prstGeom prst="bentArrow">
              <a:avLst>
                <a:gd name="adj1" fmla="val 0"/>
                <a:gd name="adj2" fmla="val 0"/>
                <a:gd name="adj3" fmla="val 0"/>
                <a:gd name="adj4" fmla="val 29517"/>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253" name="Gruppieren 65"/>
          <p:cNvGrpSpPr/>
          <p:nvPr/>
        </p:nvGrpSpPr>
        <p:grpSpPr>
          <a:xfrm rot="10800000" flipH="1">
            <a:off x="1347288" y="3051554"/>
            <a:ext cx="457524" cy="322521"/>
            <a:chOff x="2698765" y="1585893"/>
            <a:chExt cx="1834442" cy="2117546"/>
          </a:xfrm>
          <a:effectLst>
            <a:glow rad="63500">
              <a:srgbClr val="73B5CE">
                <a:alpha val="20000"/>
              </a:srgbClr>
            </a:glow>
          </a:effectLst>
        </p:grpSpPr>
        <p:cxnSp>
          <p:nvCxnSpPr>
            <p:cNvPr id="254" name="Straight Arrow Connector 34"/>
            <p:cNvCxnSpPr/>
            <p:nvPr/>
          </p:nvCxnSpPr>
          <p:spPr bwMode="auto">
            <a:xfrm rot="10800000" flipH="1">
              <a:off x="4448131" y="3703439"/>
              <a:ext cx="85076" cy="0"/>
            </a:xfrm>
            <a:prstGeom prst="straightConnector1">
              <a:avLst/>
            </a:prstGeom>
            <a:solidFill>
              <a:schemeClr val="tx2"/>
            </a:solidFill>
            <a:ln w="25400" cap="flat" cmpd="sng" algn="ctr">
              <a:solidFill>
                <a:srgbClr val="039DD3"/>
              </a:solidFill>
              <a:prstDash val="solid"/>
              <a:round/>
              <a:headEnd type="none" w="med" len="med"/>
              <a:tailEnd type="triangle" w="med" len="lg"/>
            </a:ln>
            <a:effectLst/>
          </p:spPr>
        </p:cxnSp>
        <p:sp>
          <p:nvSpPr>
            <p:cNvPr id="255" name="Bent Arrow 33"/>
            <p:cNvSpPr/>
            <p:nvPr/>
          </p:nvSpPr>
          <p:spPr bwMode="auto">
            <a:xfrm flipV="1">
              <a:off x="2698765" y="1585893"/>
              <a:ext cx="1748567" cy="2117546"/>
            </a:xfrm>
            <a:prstGeom prst="bentArrow">
              <a:avLst>
                <a:gd name="adj1" fmla="val 0"/>
                <a:gd name="adj2" fmla="val 0"/>
                <a:gd name="adj3" fmla="val 0"/>
                <a:gd name="adj4" fmla="val 14336"/>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256" name="Gruppieren 65"/>
          <p:cNvGrpSpPr/>
          <p:nvPr/>
        </p:nvGrpSpPr>
        <p:grpSpPr>
          <a:xfrm flipH="1">
            <a:off x="892182" y="3737554"/>
            <a:ext cx="165244" cy="441602"/>
            <a:chOff x="2689810" y="2429576"/>
            <a:chExt cx="648231" cy="3170752"/>
          </a:xfrm>
          <a:effectLst>
            <a:glow rad="63500">
              <a:srgbClr val="73B5CE">
                <a:alpha val="20000"/>
              </a:srgbClr>
            </a:glow>
          </a:effectLst>
        </p:grpSpPr>
        <p:grpSp>
          <p:nvGrpSpPr>
            <p:cNvPr id="257" name="Gruppieren 66"/>
            <p:cNvGrpSpPr/>
            <p:nvPr/>
          </p:nvGrpSpPr>
          <p:grpSpPr>
            <a:xfrm>
              <a:off x="3151887" y="4011889"/>
              <a:ext cx="186154" cy="1588439"/>
              <a:chOff x="4614837" y="2823990"/>
              <a:chExt cx="54759" cy="1389029"/>
            </a:xfrm>
          </p:grpSpPr>
          <p:cxnSp>
            <p:nvCxnSpPr>
              <p:cNvPr id="259" name="Straight Arrow Connector 34"/>
              <p:cNvCxnSpPr/>
              <p:nvPr/>
            </p:nvCxnSpPr>
            <p:spPr bwMode="auto">
              <a:xfrm rot="10800000" flipH="1" flipV="1">
                <a:off x="4669596" y="4108966"/>
                <a:ext cx="0" cy="104053"/>
              </a:xfrm>
              <a:prstGeom prst="straightConnector1">
                <a:avLst/>
              </a:prstGeom>
              <a:solidFill>
                <a:schemeClr val="tx2"/>
              </a:solidFill>
              <a:ln w="25400" cap="flat" cmpd="sng" algn="ctr">
                <a:solidFill>
                  <a:srgbClr val="039DD3"/>
                </a:solidFill>
                <a:prstDash val="solid"/>
                <a:round/>
                <a:headEnd type="none" w="med" len="med"/>
                <a:tailEnd type="triangle" w="med" len="lg"/>
              </a:ln>
              <a:effectLst/>
            </p:spPr>
          </p:cxnSp>
          <p:sp>
            <p:nvSpPr>
              <p:cNvPr id="260" name="Bent Arrow 33"/>
              <p:cNvSpPr/>
              <p:nvPr/>
            </p:nvSpPr>
            <p:spPr bwMode="auto">
              <a:xfrm rot="10800000" flipV="1">
                <a:off x="4614837" y="2823990"/>
                <a:ext cx="52758" cy="833576"/>
              </a:xfrm>
              <a:prstGeom prst="bentArrow">
                <a:avLst>
                  <a:gd name="adj1" fmla="val 0"/>
                  <a:gd name="adj2" fmla="val 0"/>
                  <a:gd name="adj3" fmla="val 0"/>
                  <a:gd name="adj4" fmla="val 80206"/>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sp>
          <p:nvSpPr>
            <p:cNvPr id="258" name="Bent Arrow 33"/>
            <p:cNvSpPr/>
            <p:nvPr/>
          </p:nvSpPr>
          <p:spPr bwMode="auto">
            <a:xfrm flipV="1">
              <a:off x="2689810" y="2429576"/>
              <a:ext cx="370303" cy="1582303"/>
            </a:xfrm>
            <a:prstGeom prst="bentArrow">
              <a:avLst>
                <a:gd name="adj1" fmla="val 0"/>
                <a:gd name="adj2" fmla="val 0"/>
                <a:gd name="adj3" fmla="val 0"/>
                <a:gd name="adj4" fmla="val 73606"/>
              </a:avLst>
            </a:prstGeom>
            <a:solidFill>
              <a:schemeClr val="tx2"/>
            </a:solidFill>
            <a:ln w="25400" cap="flat" cmpd="sng" algn="ctr">
              <a:solidFill>
                <a:srgbClr val="039DD3"/>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261" name="Gruppieren 260"/>
          <p:cNvGrpSpPr/>
          <p:nvPr/>
        </p:nvGrpSpPr>
        <p:grpSpPr>
          <a:xfrm>
            <a:off x="2884959" y="1735026"/>
            <a:ext cx="1675920" cy="196298"/>
            <a:chOff x="2844618" y="1735026"/>
            <a:chExt cx="1675920" cy="196298"/>
          </a:xfrm>
          <a:effectLst>
            <a:glow rad="63500">
              <a:srgbClr val="0000FF">
                <a:alpha val="20000"/>
              </a:srgbClr>
            </a:glow>
          </a:effectLst>
        </p:grpSpPr>
        <p:sp>
          <p:nvSpPr>
            <p:cNvPr id="262" name="Bent Arrow 33"/>
            <p:cNvSpPr/>
            <p:nvPr/>
          </p:nvSpPr>
          <p:spPr bwMode="auto">
            <a:xfrm flipV="1">
              <a:off x="3927884" y="1782027"/>
              <a:ext cx="592654" cy="58225"/>
            </a:xfrm>
            <a:prstGeom prst="bentArrow">
              <a:avLst>
                <a:gd name="adj1" fmla="val 0"/>
                <a:gd name="adj2" fmla="val 0"/>
                <a:gd name="adj3" fmla="val 25000"/>
                <a:gd name="adj4" fmla="val 100000"/>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263" name="Bent Arrow 33"/>
            <p:cNvSpPr/>
            <p:nvPr/>
          </p:nvSpPr>
          <p:spPr bwMode="auto">
            <a:xfrm rot="5400000">
              <a:off x="3755841" y="1609984"/>
              <a:ext cx="47004" cy="297087"/>
            </a:xfrm>
            <a:prstGeom prst="bentArrow">
              <a:avLst>
                <a:gd name="adj1" fmla="val 0"/>
                <a:gd name="adj2" fmla="val 0"/>
                <a:gd name="adj3" fmla="val 25000"/>
                <a:gd name="adj4" fmla="val 45474"/>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264" name="Straight Arrow Connector 34"/>
            <p:cNvCxnSpPr/>
            <p:nvPr/>
          </p:nvCxnSpPr>
          <p:spPr bwMode="auto">
            <a:xfrm>
              <a:off x="2844618" y="1782029"/>
              <a:ext cx="0" cy="149295"/>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sp>
          <p:nvSpPr>
            <p:cNvPr id="265" name="Bent Arrow 33"/>
            <p:cNvSpPr/>
            <p:nvPr/>
          </p:nvSpPr>
          <p:spPr bwMode="auto">
            <a:xfrm>
              <a:off x="2847265" y="1736118"/>
              <a:ext cx="783534" cy="82922"/>
            </a:xfrm>
            <a:prstGeom prst="bentArrow">
              <a:avLst>
                <a:gd name="adj1" fmla="val 0"/>
                <a:gd name="adj2" fmla="val 0"/>
                <a:gd name="adj3" fmla="val 25000"/>
                <a:gd name="adj4" fmla="val 45474"/>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266" name="Gruppieren 265"/>
          <p:cNvGrpSpPr/>
          <p:nvPr/>
        </p:nvGrpSpPr>
        <p:grpSpPr>
          <a:xfrm>
            <a:off x="1524427" y="1589932"/>
            <a:ext cx="3034245" cy="203784"/>
            <a:chOff x="2844618" y="1738667"/>
            <a:chExt cx="1675919" cy="128602"/>
          </a:xfrm>
          <a:effectLst>
            <a:glow rad="63500">
              <a:srgbClr val="0000FF">
                <a:alpha val="20000"/>
              </a:srgbClr>
            </a:glow>
          </a:effectLst>
        </p:grpSpPr>
        <p:sp>
          <p:nvSpPr>
            <p:cNvPr id="267" name="Bent Arrow 33"/>
            <p:cNvSpPr/>
            <p:nvPr/>
          </p:nvSpPr>
          <p:spPr bwMode="auto">
            <a:xfrm flipV="1">
              <a:off x="4209230" y="1782029"/>
              <a:ext cx="311307" cy="85240"/>
            </a:xfrm>
            <a:prstGeom prst="bentArrow">
              <a:avLst>
                <a:gd name="adj1" fmla="val 0"/>
                <a:gd name="adj2" fmla="val 0"/>
                <a:gd name="adj3" fmla="val 25000"/>
                <a:gd name="adj4" fmla="val 61754"/>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268" name="Bent Arrow 33"/>
            <p:cNvSpPr/>
            <p:nvPr/>
          </p:nvSpPr>
          <p:spPr bwMode="auto">
            <a:xfrm rot="5400000">
              <a:off x="3892370" y="1477095"/>
              <a:ext cx="55288" cy="578431"/>
            </a:xfrm>
            <a:prstGeom prst="bentArrow">
              <a:avLst>
                <a:gd name="adj1" fmla="val 0"/>
                <a:gd name="adj2" fmla="val 0"/>
                <a:gd name="adj3" fmla="val 25000"/>
                <a:gd name="adj4" fmla="val 45474"/>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269" name="Straight Arrow Connector 34"/>
            <p:cNvCxnSpPr/>
            <p:nvPr/>
          </p:nvCxnSpPr>
          <p:spPr bwMode="auto">
            <a:xfrm>
              <a:off x="2844618" y="1761419"/>
              <a:ext cx="2647" cy="77840"/>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sp>
          <p:nvSpPr>
            <p:cNvPr id="270" name="Bent Arrow 33"/>
            <p:cNvSpPr/>
            <p:nvPr/>
          </p:nvSpPr>
          <p:spPr bwMode="auto">
            <a:xfrm>
              <a:off x="2847265" y="1738667"/>
              <a:ext cx="783534" cy="44884"/>
            </a:xfrm>
            <a:prstGeom prst="bentArrow">
              <a:avLst>
                <a:gd name="adj1" fmla="val 0"/>
                <a:gd name="adj2" fmla="val 0"/>
                <a:gd name="adj3" fmla="val 25000"/>
                <a:gd name="adj4" fmla="val 45474"/>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sp>
        <p:nvSpPr>
          <p:cNvPr id="271" name="Gleichschenkliges Dreieck 270"/>
          <p:cNvSpPr/>
          <p:nvPr/>
        </p:nvSpPr>
        <p:spPr bwMode="auto">
          <a:xfrm rot="9458074">
            <a:off x="4596125" y="1560350"/>
            <a:ext cx="50400" cy="81974"/>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err="1" smtClean="0">
              <a:solidFill>
                <a:schemeClr val="tx1"/>
              </a:solidFill>
              <a:latin typeface="+mj-lt"/>
            </a:endParaRPr>
          </a:p>
        </p:txBody>
      </p:sp>
      <p:grpSp>
        <p:nvGrpSpPr>
          <p:cNvPr id="272" name="Gruppieren 190"/>
          <p:cNvGrpSpPr/>
          <p:nvPr/>
        </p:nvGrpSpPr>
        <p:grpSpPr>
          <a:xfrm rot="16200000">
            <a:off x="2993550" y="1145699"/>
            <a:ext cx="780713" cy="2485537"/>
            <a:chOff x="-2278427" y="1921035"/>
            <a:chExt cx="7858885" cy="2716310"/>
          </a:xfrm>
          <a:effectLst>
            <a:glow rad="63500">
              <a:srgbClr val="0000FF">
                <a:alpha val="20000"/>
              </a:srgbClr>
            </a:glow>
          </a:effectLst>
        </p:grpSpPr>
        <p:sp>
          <p:nvSpPr>
            <p:cNvPr id="273" name="Bent Arrow 33"/>
            <p:cNvSpPr/>
            <p:nvPr/>
          </p:nvSpPr>
          <p:spPr bwMode="auto">
            <a:xfrm rot="10800000" flipH="1">
              <a:off x="1128472" y="3254904"/>
              <a:ext cx="4451986" cy="1382441"/>
            </a:xfrm>
            <a:prstGeom prst="bentArrow">
              <a:avLst>
                <a:gd name="adj1" fmla="val 0"/>
                <a:gd name="adj2" fmla="val 0"/>
                <a:gd name="adj3" fmla="val 25000"/>
                <a:gd name="adj4" fmla="val 18148"/>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274" name="Bent Arrow 33"/>
            <p:cNvSpPr/>
            <p:nvPr/>
          </p:nvSpPr>
          <p:spPr bwMode="auto">
            <a:xfrm rot="16200000" flipH="1" flipV="1">
              <a:off x="-304381" y="1822051"/>
              <a:ext cx="1333869" cy="1531837"/>
            </a:xfrm>
            <a:prstGeom prst="bentArrow">
              <a:avLst>
                <a:gd name="adj1" fmla="val 0"/>
                <a:gd name="adj2" fmla="val 0"/>
                <a:gd name="adj3" fmla="val 25000"/>
                <a:gd name="adj4" fmla="val 45474"/>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275" name="Straight Arrow Connector 34"/>
            <p:cNvCxnSpPr/>
            <p:nvPr/>
          </p:nvCxnSpPr>
          <p:spPr bwMode="auto">
            <a:xfrm rot="16200000" flipV="1">
              <a:off x="-1245185" y="887793"/>
              <a:ext cx="0" cy="2066484"/>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grpSp>
      <p:grpSp>
        <p:nvGrpSpPr>
          <p:cNvPr id="276" name="Gruppieren 190"/>
          <p:cNvGrpSpPr/>
          <p:nvPr/>
        </p:nvGrpSpPr>
        <p:grpSpPr>
          <a:xfrm rot="16200000">
            <a:off x="2243011" y="986940"/>
            <a:ext cx="1399983" cy="3455328"/>
            <a:chOff x="-2278427" y="1921035"/>
            <a:chExt cx="7820042" cy="2716309"/>
          </a:xfrm>
          <a:effectLst>
            <a:glow rad="63500">
              <a:srgbClr val="0000FF">
                <a:alpha val="20000"/>
              </a:srgbClr>
            </a:glow>
          </a:effectLst>
        </p:grpSpPr>
        <p:sp>
          <p:nvSpPr>
            <p:cNvPr id="277" name="Bent Arrow 33"/>
            <p:cNvSpPr/>
            <p:nvPr/>
          </p:nvSpPr>
          <p:spPr bwMode="auto">
            <a:xfrm rot="10800000" flipH="1">
              <a:off x="2828272" y="3254903"/>
              <a:ext cx="2713343" cy="1382441"/>
            </a:xfrm>
            <a:prstGeom prst="bentArrow">
              <a:avLst>
                <a:gd name="adj1" fmla="val 0"/>
                <a:gd name="adj2" fmla="val 0"/>
                <a:gd name="adj3" fmla="val 25000"/>
                <a:gd name="adj4" fmla="val 14568"/>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278" name="Bent Arrow 33"/>
            <p:cNvSpPr/>
            <p:nvPr/>
          </p:nvSpPr>
          <p:spPr bwMode="auto">
            <a:xfrm rot="16200000" flipH="1" flipV="1">
              <a:off x="512457" y="952732"/>
              <a:ext cx="1333869" cy="3270476"/>
            </a:xfrm>
            <a:prstGeom prst="bentArrow">
              <a:avLst>
                <a:gd name="adj1" fmla="val 0"/>
                <a:gd name="adj2" fmla="val 0"/>
                <a:gd name="adj3" fmla="val 25000"/>
                <a:gd name="adj4" fmla="val 13022"/>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279" name="Straight Arrow Connector 34"/>
            <p:cNvCxnSpPr/>
            <p:nvPr/>
          </p:nvCxnSpPr>
          <p:spPr bwMode="auto">
            <a:xfrm rot="16200000" flipV="1">
              <a:off x="-1245185" y="887793"/>
              <a:ext cx="0" cy="2066484"/>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grpSp>
      <p:grpSp>
        <p:nvGrpSpPr>
          <p:cNvPr id="280" name="Gruppieren 279"/>
          <p:cNvGrpSpPr/>
          <p:nvPr/>
        </p:nvGrpSpPr>
        <p:grpSpPr>
          <a:xfrm>
            <a:off x="3811261" y="2007659"/>
            <a:ext cx="987766" cy="1845427"/>
            <a:chOff x="3770920" y="2007659"/>
            <a:chExt cx="987766" cy="1845427"/>
          </a:xfrm>
          <a:effectLst>
            <a:glow rad="63500">
              <a:srgbClr val="0000FF">
                <a:alpha val="20000"/>
              </a:srgbClr>
            </a:glow>
          </a:effectLst>
        </p:grpSpPr>
        <p:cxnSp>
          <p:nvCxnSpPr>
            <p:cNvPr id="281" name="Straight Arrow Connector 34"/>
            <p:cNvCxnSpPr/>
            <p:nvPr/>
          </p:nvCxnSpPr>
          <p:spPr bwMode="auto">
            <a:xfrm rot="16200000" flipV="1">
              <a:off x="3898046" y="3724312"/>
              <a:ext cx="0" cy="254251"/>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sp>
          <p:nvSpPr>
            <p:cNvPr id="282" name="Bent Arrow 33"/>
            <p:cNvSpPr/>
            <p:nvPr/>
          </p:nvSpPr>
          <p:spPr bwMode="auto">
            <a:xfrm rot="16200000" flipV="1">
              <a:off x="3832127" y="2926527"/>
              <a:ext cx="1109880" cy="743237"/>
            </a:xfrm>
            <a:prstGeom prst="bentArrow">
              <a:avLst>
                <a:gd name="adj1" fmla="val 0"/>
                <a:gd name="adj2" fmla="val 0"/>
                <a:gd name="adj3" fmla="val 25000"/>
                <a:gd name="adj4" fmla="val 10908"/>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283" name="Gerader Verbinder 282"/>
            <p:cNvCxnSpPr/>
            <p:nvPr/>
          </p:nvCxnSpPr>
          <p:spPr bwMode="auto">
            <a:xfrm>
              <a:off x="4758686" y="2007659"/>
              <a:ext cx="0" cy="612000"/>
            </a:xfrm>
            <a:prstGeom prst="line">
              <a:avLst/>
            </a:prstGeom>
            <a:solidFill>
              <a:schemeClr val="accent1"/>
            </a:solidFill>
            <a:ln w="25400" cap="flat" cmpd="sng" algn="ctr">
              <a:solidFill>
                <a:srgbClr val="7979FF"/>
              </a:solidFill>
              <a:prstDash val="solid"/>
              <a:round/>
              <a:headEnd type="none" w="med" len="med"/>
              <a:tailEnd type="none" w="med" len="med"/>
            </a:ln>
            <a:effectLst/>
          </p:spPr>
        </p:cxnSp>
      </p:grpSp>
      <p:grpSp>
        <p:nvGrpSpPr>
          <p:cNvPr id="284" name="Gruppieren 283"/>
          <p:cNvGrpSpPr/>
          <p:nvPr/>
        </p:nvGrpSpPr>
        <p:grpSpPr>
          <a:xfrm>
            <a:off x="4511596" y="2007659"/>
            <a:ext cx="360115" cy="2460117"/>
            <a:chOff x="4471255" y="2007659"/>
            <a:chExt cx="360115" cy="2460117"/>
          </a:xfrm>
          <a:effectLst>
            <a:glow rad="63500">
              <a:srgbClr val="0000FF">
                <a:alpha val="20000"/>
              </a:srgbClr>
            </a:glow>
          </a:effectLst>
        </p:grpSpPr>
        <p:sp>
          <p:nvSpPr>
            <p:cNvPr id="285" name="Bent Arrow 33"/>
            <p:cNvSpPr/>
            <p:nvPr/>
          </p:nvSpPr>
          <p:spPr bwMode="auto">
            <a:xfrm rot="5400000" flipH="1">
              <a:off x="4086308" y="3302703"/>
              <a:ext cx="1299594" cy="180802"/>
            </a:xfrm>
            <a:prstGeom prst="bentArrow">
              <a:avLst>
                <a:gd name="adj1" fmla="val 0"/>
                <a:gd name="adj2" fmla="val 0"/>
                <a:gd name="adj3" fmla="val 25000"/>
                <a:gd name="adj4" fmla="val 32241"/>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286" name="Bent Arrow 33"/>
            <p:cNvSpPr/>
            <p:nvPr/>
          </p:nvSpPr>
          <p:spPr bwMode="auto">
            <a:xfrm rot="10800000" flipH="1" flipV="1">
              <a:off x="4471255" y="4042901"/>
              <a:ext cx="174449" cy="261487"/>
            </a:xfrm>
            <a:prstGeom prst="bentArrow">
              <a:avLst>
                <a:gd name="adj1" fmla="val 0"/>
                <a:gd name="adj2" fmla="val 0"/>
                <a:gd name="adj3" fmla="val 25000"/>
                <a:gd name="adj4" fmla="val 45474"/>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287" name="Straight Arrow Connector 34"/>
            <p:cNvCxnSpPr/>
            <p:nvPr/>
          </p:nvCxnSpPr>
          <p:spPr bwMode="auto">
            <a:xfrm>
              <a:off x="4476259" y="4319189"/>
              <a:ext cx="3088" cy="148587"/>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cxnSp>
          <p:nvCxnSpPr>
            <p:cNvPr id="288" name="Gerader Verbinder 287"/>
            <p:cNvCxnSpPr/>
            <p:nvPr/>
          </p:nvCxnSpPr>
          <p:spPr bwMode="auto">
            <a:xfrm>
              <a:off x="4831370" y="2007659"/>
              <a:ext cx="0" cy="612000"/>
            </a:xfrm>
            <a:prstGeom prst="line">
              <a:avLst/>
            </a:prstGeom>
            <a:solidFill>
              <a:schemeClr val="accent1"/>
            </a:solidFill>
            <a:ln w="25400" cap="flat" cmpd="sng" algn="ctr">
              <a:solidFill>
                <a:srgbClr val="7979FF"/>
              </a:solidFill>
              <a:prstDash val="solid"/>
              <a:round/>
              <a:headEnd type="none" w="med" len="med"/>
              <a:tailEnd type="none" w="med" len="med"/>
            </a:ln>
            <a:effectLst/>
          </p:spPr>
        </p:cxnSp>
      </p:grpSp>
      <p:grpSp>
        <p:nvGrpSpPr>
          <p:cNvPr id="289" name="Gruppieren 190"/>
          <p:cNvGrpSpPr/>
          <p:nvPr/>
        </p:nvGrpSpPr>
        <p:grpSpPr>
          <a:xfrm rot="16200000" flipV="1">
            <a:off x="4629366" y="2278705"/>
            <a:ext cx="1079769" cy="345327"/>
            <a:chOff x="-2278427" y="1921035"/>
            <a:chExt cx="3873070" cy="1333869"/>
          </a:xfrm>
          <a:effectLst>
            <a:glow rad="63500">
              <a:srgbClr val="0000FF">
                <a:alpha val="20000"/>
              </a:srgbClr>
            </a:glow>
          </a:effectLst>
        </p:grpSpPr>
        <p:sp>
          <p:nvSpPr>
            <p:cNvPr id="290" name="Bent Arrow 33"/>
            <p:cNvSpPr/>
            <p:nvPr/>
          </p:nvSpPr>
          <p:spPr bwMode="auto">
            <a:xfrm rot="16200000" flipH="1" flipV="1">
              <a:off x="-71302" y="1588959"/>
              <a:ext cx="1333869" cy="1998021"/>
            </a:xfrm>
            <a:prstGeom prst="bentArrow">
              <a:avLst>
                <a:gd name="adj1" fmla="val 0"/>
                <a:gd name="adj2" fmla="val 0"/>
                <a:gd name="adj3" fmla="val 25000"/>
                <a:gd name="adj4" fmla="val 22939"/>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291" name="Straight Arrow Connector 34"/>
            <p:cNvCxnSpPr/>
            <p:nvPr/>
          </p:nvCxnSpPr>
          <p:spPr bwMode="auto">
            <a:xfrm rot="16200000" flipV="1">
              <a:off x="-1245185" y="887793"/>
              <a:ext cx="0" cy="2066484"/>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grpSp>
      <p:grpSp>
        <p:nvGrpSpPr>
          <p:cNvPr id="292" name="Gruppieren 291"/>
          <p:cNvGrpSpPr/>
          <p:nvPr/>
        </p:nvGrpSpPr>
        <p:grpSpPr>
          <a:xfrm>
            <a:off x="4919188" y="1359431"/>
            <a:ext cx="2096779" cy="3028491"/>
            <a:chOff x="4878848" y="1346301"/>
            <a:chExt cx="2091020" cy="3041622"/>
          </a:xfrm>
          <a:effectLst>
            <a:glow rad="63500">
              <a:srgbClr val="0000FF">
                <a:alpha val="20000"/>
              </a:srgbClr>
            </a:glow>
          </a:effectLst>
        </p:grpSpPr>
        <p:cxnSp>
          <p:nvCxnSpPr>
            <p:cNvPr id="293" name="Straight Arrow Connector 34"/>
            <p:cNvCxnSpPr/>
            <p:nvPr/>
          </p:nvCxnSpPr>
          <p:spPr bwMode="auto">
            <a:xfrm flipH="1">
              <a:off x="6543753" y="4387183"/>
              <a:ext cx="183074" cy="740"/>
            </a:xfrm>
            <a:prstGeom prst="straightConnector1">
              <a:avLst/>
            </a:prstGeom>
            <a:solidFill>
              <a:schemeClr val="tx2"/>
            </a:solidFill>
            <a:ln w="25400" cap="flat" cmpd="sng" algn="ctr">
              <a:solidFill>
                <a:srgbClr val="7979FF"/>
              </a:solidFill>
              <a:prstDash val="solid"/>
              <a:round/>
              <a:headEnd type="none" w="med" len="med"/>
              <a:tailEnd type="triangle" w="med" len="lg"/>
            </a:ln>
            <a:effectLst/>
          </p:spPr>
        </p:cxnSp>
        <p:sp>
          <p:nvSpPr>
            <p:cNvPr id="294" name="Bent Arrow 33"/>
            <p:cNvSpPr/>
            <p:nvPr/>
          </p:nvSpPr>
          <p:spPr bwMode="auto">
            <a:xfrm rot="5400000" flipV="1">
              <a:off x="5402247" y="825422"/>
              <a:ext cx="261147" cy="1307945"/>
            </a:xfrm>
            <a:prstGeom prst="bentArrow">
              <a:avLst>
                <a:gd name="adj1" fmla="val 0"/>
                <a:gd name="adj2" fmla="val 0"/>
                <a:gd name="adj3" fmla="val 0"/>
                <a:gd name="adj4" fmla="val 19651"/>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295" name="Bent Arrow 33"/>
            <p:cNvSpPr/>
            <p:nvPr/>
          </p:nvSpPr>
          <p:spPr bwMode="auto">
            <a:xfrm rot="10800000" flipV="1">
              <a:off x="6181693" y="1346301"/>
              <a:ext cx="788021" cy="678156"/>
            </a:xfrm>
            <a:prstGeom prst="bentArrow">
              <a:avLst>
                <a:gd name="adj1" fmla="val 0"/>
                <a:gd name="adj2" fmla="val 0"/>
                <a:gd name="adj3" fmla="val 0"/>
                <a:gd name="adj4" fmla="val 11610"/>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296" name="Bent Arrow 33"/>
            <p:cNvSpPr/>
            <p:nvPr/>
          </p:nvSpPr>
          <p:spPr bwMode="auto">
            <a:xfrm rot="10800000">
              <a:off x="6736404" y="2024465"/>
              <a:ext cx="233464" cy="2362710"/>
            </a:xfrm>
            <a:prstGeom prst="bentArrow">
              <a:avLst>
                <a:gd name="adj1" fmla="val 0"/>
                <a:gd name="adj2" fmla="val 0"/>
                <a:gd name="adj3" fmla="val 0"/>
                <a:gd name="adj4" fmla="val 19871"/>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297" name="Gruppieren 296"/>
          <p:cNvGrpSpPr/>
          <p:nvPr/>
        </p:nvGrpSpPr>
        <p:grpSpPr>
          <a:xfrm>
            <a:off x="4789216" y="1248776"/>
            <a:ext cx="2275590" cy="4577488"/>
            <a:chOff x="4748875" y="1246173"/>
            <a:chExt cx="2266918" cy="4580091"/>
          </a:xfrm>
          <a:effectLst>
            <a:glow rad="63500">
              <a:srgbClr val="0000FF">
                <a:alpha val="20000"/>
              </a:srgbClr>
            </a:glow>
          </a:effectLst>
        </p:grpSpPr>
        <p:grpSp>
          <p:nvGrpSpPr>
            <p:cNvPr id="298" name="Gruppieren 297"/>
            <p:cNvGrpSpPr/>
            <p:nvPr/>
          </p:nvGrpSpPr>
          <p:grpSpPr>
            <a:xfrm>
              <a:off x="4748875" y="1246173"/>
              <a:ext cx="2266918" cy="4580091"/>
              <a:chOff x="4878848" y="1346301"/>
              <a:chExt cx="2091019" cy="4435180"/>
            </a:xfrm>
            <a:effectLst/>
          </p:grpSpPr>
          <p:cxnSp>
            <p:nvCxnSpPr>
              <p:cNvPr id="300" name="Straight Arrow Connector 34"/>
              <p:cNvCxnSpPr/>
              <p:nvPr/>
            </p:nvCxnSpPr>
            <p:spPr bwMode="auto">
              <a:xfrm flipV="1">
                <a:off x="5878392" y="5424749"/>
                <a:ext cx="0" cy="114594"/>
              </a:xfrm>
              <a:prstGeom prst="straightConnector1">
                <a:avLst/>
              </a:prstGeom>
              <a:solidFill>
                <a:schemeClr val="tx2"/>
              </a:solidFill>
              <a:ln w="25400" cap="flat" cmpd="sng" algn="ctr">
                <a:solidFill>
                  <a:srgbClr val="7979FF"/>
                </a:solidFill>
                <a:prstDash val="solid"/>
                <a:round/>
                <a:headEnd type="none" w="med" len="med"/>
                <a:tailEnd type="triangle" w="med" len="lg"/>
              </a:ln>
              <a:effectLst/>
            </p:spPr>
          </p:cxnSp>
          <p:sp>
            <p:nvSpPr>
              <p:cNvPr id="301" name="Bent Arrow 33"/>
              <p:cNvSpPr/>
              <p:nvPr/>
            </p:nvSpPr>
            <p:spPr bwMode="auto">
              <a:xfrm rot="5400000" flipV="1">
                <a:off x="5356824" y="870846"/>
                <a:ext cx="351993" cy="1307945"/>
              </a:xfrm>
              <a:prstGeom prst="bentArrow">
                <a:avLst>
                  <a:gd name="adj1" fmla="val 0"/>
                  <a:gd name="adj2" fmla="val 0"/>
                  <a:gd name="adj3" fmla="val 0"/>
                  <a:gd name="adj4" fmla="val 19651"/>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302" name="Bent Arrow 33"/>
              <p:cNvSpPr/>
              <p:nvPr/>
            </p:nvSpPr>
            <p:spPr bwMode="auto">
              <a:xfrm rot="10800000" flipV="1">
                <a:off x="6181693" y="1346301"/>
                <a:ext cx="788021" cy="678156"/>
              </a:xfrm>
              <a:prstGeom prst="bentArrow">
                <a:avLst>
                  <a:gd name="adj1" fmla="val 0"/>
                  <a:gd name="adj2" fmla="val 0"/>
                  <a:gd name="adj3" fmla="val 0"/>
                  <a:gd name="adj4" fmla="val 5431"/>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303" name="Bent Arrow 33"/>
              <p:cNvSpPr/>
              <p:nvPr/>
            </p:nvSpPr>
            <p:spPr bwMode="auto">
              <a:xfrm rot="10800000">
                <a:off x="6736403" y="2024464"/>
                <a:ext cx="233464" cy="3757017"/>
              </a:xfrm>
              <a:prstGeom prst="bentArrow">
                <a:avLst>
                  <a:gd name="adj1" fmla="val 0"/>
                  <a:gd name="adj2" fmla="val 0"/>
                  <a:gd name="adj3" fmla="val 0"/>
                  <a:gd name="adj4" fmla="val 19871"/>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sp>
          <p:nvSpPr>
            <p:cNvPr id="299" name="Bent Arrow 33"/>
            <p:cNvSpPr/>
            <p:nvPr/>
          </p:nvSpPr>
          <p:spPr bwMode="auto">
            <a:xfrm rot="16200000">
              <a:off x="6171045" y="5230653"/>
              <a:ext cx="253103" cy="930186"/>
            </a:xfrm>
            <a:prstGeom prst="bentArrow">
              <a:avLst>
                <a:gd name="adj1" fmla="val 0"/>
                <a:gd name="adj2" fmla="val 0"/>
                <a:gd name="adj3" fmla="val 0"/>
                <a:gd name="adj4" fmla="val 19871"/>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304" name="Gruppieren 303"/>
          <p:cNvGrpSpPr/>
          <p:nvPr/>
        </p:nvGrpSpPr>
        <p:grpSpPr>
          <a:xfrm>
            <a:off x="631707" y="1510398"/>
            <a:ext cx="4028519" cy="740139"/>
            <a:chOff x="591366" y="1510398"/>
            <a:chExt cx="4028519" cy="740139"/>
          </a:xfrm>
          <a:effectLst>
            <a:glow rad="63500">
              <a:srgbClr val="0000FF">
                <a:alpha val="20000"/>
              </a:srgbClr>
            </a:glow>
          </a:effectLst>
        </p:grpSpPr>
        <p:cxnSp>
          <p:nvCxnSpPr>
            <p:cNvPr id="305" name="Gerader Verbinder 304"/>
            <p:cNvCxnSpPr/>
            <p:nvPr/>
          </p:nvCxnSpPr>
          <p:spPr bwMode="auto">
            <a:xfrm>
              <a:off x="4619885" y="1520368"/>
              <a:ext cx="0" cy="105623"/>
            </a:xfrm>
            <a:prstGeom prst="line">
              <a:avLst/>
            </a:prstGeom>
            <a:solidFill>
              <a:schemeClr val="accent1"/>
            </a:solidFill>
            <a:ln w="25400" cap="flat" cmpd="sng" algn="ctr">
              <a:solidFill>
                <a:srgbClr val="7979FF"/>
              </a:solidFill>
              <a:prstDash val="dash"/>
              <a:round/>
              <a:headEnd type="none" w="med" len="med"/>
              <a:tailEnd type="none" w="med" len="med"/>
            </a:ln>
            <a:effectLst/>
          </p:spPr>
        </p:cxnSp>
        <p:cxnSp>
          <p:nvCxnSpPr>
            <p:cNvPr id="306" name="Gerader Verbinder 305"/>
            <p:cNvCxnSpPr/>
            <p:nvPr/>
          </p:nvCxnSpPr>
          <p:spPr bwMode="auto">
            <a:xfrm>
              <a:off x="899295" y="1510398"/>
              <a:ext cx="3697630" cy="0"/>
            </a:xfrm>
            <a:prstGeom prst="line">
              <a:avLst/>
            </a:prstGeom>
            <a:solidFill>
              <a:schemeClr val="accent1"/>
            </a:solidFill>
            <a:ln w="25400" cap="flat" cmpd="sng" algn="ctr">
              <a:solidFill>
                <a:srgbClr val="7979FF"/>
              </a:solidFill>
              <a:prstDash val="dash"/>
              <a:round/>
              <a:headEnd type="none" w="med" len="med"/>
              <a:tailEnd type="none" w="med" len="med"/>
            </a:ln>
            <a:effectLst/>
          </p:spPr>
        </p:cxnSp>
        <p:cxnSp>
          <p:nvCxnSpPr>
            <p:cNvPr id="307" name="Gerader Verbinder 306"/>
            <p:cNvCxnSpPr/>
            <p:nvPr/>
          </p:nvCxnSpPr>
          <p:spPr bwMode="auto">
            <a:xfrm flipH="1">
              <a:off x="851841" y="1520368"/>
              <a:ext cx="0" cy="290771"/>
            </a:xfrm>
            <a:prstGeom prst="line">
              <a:avLst/>
            </a:prstGeom>
            <a:solidFill>
              <a:schemeClr val="accent1"/>
            </a:solidFill>
            <a:ln w="25400" cap="flat" cmpd="sng" algn="ctr">
              <a:solidFill>
                <a:srgbClr val="7979FF"/>
              </a:solidFill>
              <a:prstDash val="dash"/>
              <a:round/>
              <a:headEnd type="none" w="med" len="med"/>
              <a:tailEnd type="none" w="med" len="med"/>
            </a:ln>
            <a:effectLst/>
          </p:spPr>
        </p:cxnSp>
        <p:cxnSp>
          <p:nvCxnSpPr>
            <p:cNvPr id="308" name="Gerader Verbinder 307"/>
            <p:cNvCxnSpPr/>
            <p:nvPr/>
          </p:nvCxnSpPr>
          <p:spPr bwMode="auto">
            <a:xfrm flipV="1">
              <a:off x="594932" y="1835224"/>
              <a:ext cx="256909" cy="0"/>
            </a:xfrm>
            <a:prstGeom prst="line">
              <a:avLst/>
            </a:prstGeom>
            <a:solidFill>
              <a:schemeClr val="accent1"/>
            </a:solidFill>
            <a:ln w="25400" cap="flat" cmpd="sng" algn="ctr">
              <a:solidFill>
                <a:srgbClr val="7979FF"/>
              </a:solidFill>
              <a:prstDash val="dash"/>
              <a:round/>
              <a:headEnd type="none" w="med" len="med"/>
              <a:tailEnd type="none" w="med" len="med"/>
            </a:ln>
            <a:effectLst/>
          </p:spPr>
        </p:cxnSp>
        <p:cxnSp>
          <p:nvCxnSpPr>
            <p:cNvPr id="309" name="Gerader Verbinder 308"/>
            <p:cNvCxnSpPr/>
            <p:nvPr/>
          </p:nvCxnSpPr>
          <p:spPr bwMode="auto">
            <a:xfrm flipV="1">
              <a:off x="591366" y="1835224"/>
              <a:ext cx="0" cy="283146"/>
            </a:xfrm>
            <a:prstGeom prst="line">
              <a:avLst/>
            </a:prstGeom>
            <a:solidFill>
              <a:schemeClr val="accent1"/>
            </a:solidFill>
            <a:ln w="25400" cap="flat" cmpd="sng" algn="ctr">
              <a:solidFill>
                <a:srgbClr val="7979FF"/>
              </a:solidFill>
              <a:prstDash val="dash"/>
              <a:round/>
              <a:headEnd type="none" w="med" len="med"/>
              <a:tailEnd type="none" w="med" len="med"/>
            </a:ln>
            <a:effectLst/>
          </p:spPr>
        </p:cxnSp>
        <p:cxnSp>
          <p:nvCxnSpPr>
            <p:cNvPr id="310" name="Straight Arrow Connector 34"/>
            <p:cNvCxnSpPr/>
            <p:nvPr/>
          </p:nvCxnSpPr>
          <p:spPr bwMode="auto">
            <a:xfrm>
              <a:off x="592733" y="2127191"/>
              <a:ext cx="0" cy="123346"/>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grpSp>
      <p:grpSp>
        <p:nvGrpSpPr>
          <p:cNvPr id="311" name="Gruppieren 310"/>
          <p:cNvGrpSpPr/>
          <p:nvPr/>
        </p:nvGrpSpPr>
        <p:grpSpPr>
          <a:xfrm rot="10800000">
            <a:off x="1447581" y="3545305"/>
            <a:ext cx="4955595" cy="75694"/>
            <a:chOff x="-12442871" y="1510396"/>
            <a:chExt cx="16454927" cy="75694"/>
          </a:xfrm>
          <a:effectLst>
            <a:glow rad="63500">
              <a:srgbClr val="73B5CE">
                <a:alpha val="20000"/>
              </a:srgbClr>
            </a:glow>
          </a:effectLst>
        </p:grpSpPr>
        <p:cxnSp>
          <p:nvCxnSpPr>
            <p:cNvPr id="312" name="Gerader Verbinder 311"/>
            <p:cNvCxnSpPr/>
            <p:nvPr/>
          </p:nvCxnSpPr>
          <p:spPr bwMode="auto">
            <a:xfrm rot="10800000" flipH="1">
              <a:off x="1011658" y="1510397"/>
              <a:ext cx="3000398" cy="0"/>
            </a:xfrm>
            <a:prstGeom prst="line">
              <a:avLst/>
            </a:prstGeom>
            <a:solidFill>
              <a:schemeClr val="accent1"/>
            </a:solidFill>
            <a:ln w="25400" cap="flat" cmpd="sng" algn="ctr">
              <a:solidFill>
                <a:srgbClr val="039DD3"/>
              </a:solidFill>
              <a:prstDash val="dash"/>
              <a:round/>
              <a:headEnd type="none" w="med" len="med"/>
              <a:tailEnd type="none" w="med" len="med"/>
            </a:ln>
            <a:effectLst/>
          </p:spPr>
        </p:cxnSp>
        <p:cxnSp>
          <p:nvCxnSpPr>
            <p:cNvPr id="313" name="Gerader Verbinder 312"/>
            <p:cNvCxnSpPr/>
            <p:nvPr/>
          </p:nvCxnSpPr>
          <p:spPr bwMode="auto">
            <a:xfrm rot="10800000" flipV="1">
              <a:off x="1058374" y="1510396"/>
              <a:ext cx="0" cy="75694"/>
            </a:xfrm>
            <a:prstGeom prst="line">
              <a:avLst/>
            </a:prstGeom>
            <a:solidFill>
              <a:schemeClr val="accent1"/>
            </a:solidFill>
            <a:ln w="25400" cap="flat" cmpd="sng" algn="ctr">
              <a:solidFill>
                <a:srgbClr val="039DD3"/>
              </a:solidFill>
              <a:prstDash val="dash"/>
              <a:round/>
              <a:headEnd type="none" w="med" len="med"/>
              <a:tailEnd type="none" w="med" len="med"/>
            </a:ln>
            <a:effectLst/>
          </p:spPr>
        </p:cxnSp>
        <p:cxnSp>
          <p:nvCxnSpPr>
            <p:cNvPr id="314" name="Gerader Verbinder 313"/>
            <p:cNvCxnSpPr/>
            <p:nvPr/>
          </p:nvCxnSpPr>
          <p:spPr bwMode="auto">
            <a:xfrm rot="10800000" flipH="1">
              <a:off x="-12027446" y="1586090"/>
              <a:ext cx="13039105" cy="0"/>
            </a:xfrm>
            <a:prstGeom prst="line">
              <a:avLst/>
            </a:prstGeom>
            <a:solidFill>
              <a:schemeClr val="accent1"/>
            </a:solidFill>
            <a:ln w="25400" cap="flat" cmpd="sng" algn="ctr">
              <a:solidFill>
                <a:srgbClr val="039DD3"/>
              </a:solidFill>
              <a:prstDash val="dash"/>
              <a:round/>
              <a:headEnd type="none" w="med" len="med"/>
              <a:tailEnd type="none" w="med" len="med"/>
            </a:ln>
            <a:effectLst/>
          </p:spPr>
        </p:cxnSp>
        <p:cxnSp>
          <p:nvCxnSpPr>
            <p:cNvPr id="315" name="Straight Arrow Connector 34"/>
            <p:cNvCxnSpPr/>
            <p:nvPr/>
          </p:nvCxnSpPr>
          <p:spPr bwMode="auto">
            <a:xfrm rot="10800000">
              <a:off x="-12442871" y="1586090"/>
              <a:ext cx="375469" cy="0"/>
            </a:xfrm>
            <a:prstGeom prst="straightConnector1">
              <a:avLst/>
            </a:prstGeom>
            <a:solidFill>
              <a:schemeClr val="tx2"/>
            </a:solidFill>
            <a:ln w="25400" cap="rnd" cmpd="sng" algn="ctr">
              <a:solidFill>
                <a:srgbClr val="039DD3"/>
              </a:solidFill>
              <a:prstDash val="solid"/>
              <a:round/>
              <a:headEnd type="none" w="med" len="med"/>
              <a:tailEnd type="triangle" w="med" len="lg"/>
            </a:ln>
            <a:effectLst/>
          </p:spPr>
        </p:cxnSp>
      </p:grpSp>
      <p:sp>
        <p:nvSpPr>
          <p:cNvPr id="316" name="Abgerundetes Rechteck 1"/>
          <p:cNvSpPr/>
          <p:nvPr/>
        </p:nvSpPr>
        <p:spPr>
          <a:xfrm>
            <a:off x="7339340" y="3355794"/>
            <a:ext cx="2409902" cy="2600916"/>
          </a:xfrm>
          <a:prstGeom prst="roundRect">
            <a:avLst>
              <a:gd name="adj" fmla="val 3256"/>
            </a:avLst>
          </a:prstGeom>
          <a:solidFill>
            <a:schemeClr val="bg2">
              <a:lumMod val="40000"/>
              <a:lumOff val="60000"/>
            </a:schemeClr>
          </a:solidFill>
          <a:effectLst>
            <a:outerShdw blurRad="63500" dist="12700" dir="5400000" algn="t" rotWithShape="0">
              <a:prstClr val="black">
                <a:alpha val="23000"/>
              </a:prstClr>
            </a:outerShdw>
          </a:effectLst>
        </p:spPr>
        <p:txBody>
          <a:bodyPr wrap="square" lIns="72000" tIns="36000" rIns="0" bIns="72000">
            <a:noAutofit/>
          </a:bodyPr>
          <a:lstStyle/>
          <a:p>
            <a:pPr marL="0" lvl="1" defTabSz="964783">
              <a:spcAft>
                <a:spcPts val="300"/>
              </a:spcAft>
            </a:pPr>
            <a:r>
              <a:rPr lang="de-DE" sz="1100" b="1" dirty="0" smtClean="0">
                <a:latin typeface="Arial" panose="020B0604020202020204" pitchFamily="34" charset="0"/>
                <a:cs typeface="Arial" panose="020B0604020202020204" pitchFamily="34" charset="0"/>
              </a:rPr>
              <a:t>Verbindlichkeit schaffen </a:t>
            </a:r>
            <a:r>
              <a:rPr lang="de-DE" sz="1100" dirty="0" smtClean="0">
                <a:latin typeface="Arial" panose="020B0604020202020204" pitchFamily="34" charset="0"/>
                <a:cs typeface="Arial" panose="020B0604020202020204" pitchFamily="34" charset="0"/>
              </a:rPr>
              <a:t>(6) kann die </a:t>
            </a:r>
            <a:r>
              <a:rPr lang="de-DE" sz="1100" b="1" dirty="0">
                <a:latin typeface="Arial" panose="020B0604020202020204" pitchFamily="34" charset="0"/>
                <a:cs typeface="Arial" panose="020B0604020202020204" pitchFamily="34" charset="0"/>
              </a:rPr>
              <a:t>Klimaprojekte /</a:t>
            </a:r>
            <a:r>
              <a:rPr lang="de-DE" sz="1100" b="1" dirty="0" smtClean="0">
                <a:latin typeface="Arial" panose="020B0604020202020204" pitchFamily="34" charset="0"/>
                <a:cs typeface="Arial" panose="020B0604020202020204" pitchFamily="34" charset="0"/>
              </a:rPr>
              <a:t>Initiativen </a:t>
            </a:r>
            <a:r>
              <a:rPr lang="de-DE" sz="1100" dirty="0" smtClean="0">
                <a:latin typeface="Arial" panose="020B0604020202020204" pitchFamily="34" charset="0"/>
                <a:cs typeface="Arial" panose="020B0604020202020204" pitchFamily="34" charset="0"/>
              </a:rPr>
              <a:t>(10)</a:t>
            </a:r>
            <a:r>
              <a:rPr lang="de-DE" sz="1100" b="1" dirty="0" smtClean="0">
                <a:latin typeface="Arial" panose="020B0604020202020204" pitchFamily="34" charset="0"/>
                <a:cs typeface="Arial" panose="020B0604020202020204" pitchFamily="34" charset="0"/>
              </a:rPr>
              <a:t> </a:t>
            </a:r>
            <a:r>
              <a:rPr lang="de-DE" sz="1100" dirty="0">
                <a:latin typeface="Arial" panose="020B0604020202020204" pitchFamily="34" charset="0"/>
                <a:cs typeface="Arial" panose="020B0604020202020204" pitchFamily="34" charset="0"/>
              </a:rPr>
              <a:t>direkt </a:t>
            </a:r>
            <a:r>
              <a:rPr lang="de-DE" sz="1100" dirty="0" smtClean="0">
                <a:latin typeface="Arial" panose="020B0604020202020204" pitchFamily="34" charset="0"/>
                <a:cs typeface="Arial" panose="020B0604020202020204" pitchFamily="34" charset="0"/>
              </a:rPr>
              <a:t>ansteuern. </a:t>
            </a:r>
          </a:p>
          <a:p>
            <a:pPr marL="0" lvl="1" defTabSz="964783">
              <a:spcAft>
                <a:spcPts val="300"/>
              </a:spcAft>
            </a:pPr>
            <a:r>
              <a:rPr lang="de-DE" sz="1100" dirty="0" smtClean="0">
                <a:latin typeface="Arial" panose="020B0604020202020204" pitchFamily="34" charset="0"/>
                <a:cs typeface="Arial" panose="020B0604020202020204" pitchFamily="34" charset="0"/>
              </a:rPr>
              <a:t>Er ist ein aktiver Treiber für das System (10 von 19 (=53%) </a:t>
            </a:r>
            <a:r>
              <a:rPr lang="de-DE" sz="1100" dirty="0" err="1" smtClean="0">
                <a:latin typeface="Arial" panose="020B0604020202020204" pitchFamily="34" charset="0"/>
                <a:cs typeface="Arial" panose="020B0604020202020204" pitchFamily="34" charset="0"/>
              </a:rPr>
              <a:t>Fak</a:t>
            </a:r>
            <a:r>
              <a:rPr lang="de-DE" sz="1100" dirty="0" smtClean="0">
                <a:latin typeface="Arial" panose="020B0604020202020204" pitchFamily="34" charset="0"/>
                <a:cs typeface="Arial" panose="020B0604020202020204" pitchFamily="34" charset="0"/>
              </a:rPr>
              <a:t>-toren werden direkt beeinflusst). </a:t>
            </a:r>
          </a:p>
          <a:p>
            <a:pPr marL="0" lvl="1" defTabSz="964783">
              <a:spcAft>
                <a:spcPts val="300"/>
              </a:spcAft>
            </a:pPr>
            <a:r>
              <a:rPr lang="de-DE" sz="1100" dirty="0" smtClean="0">
                <a:latin typeface="Arial" panose="020B0604020202020204" pitchFamily="34" charset="0"/>
                <a:cs typeface="Arial" panose="020B0604020202020204" pitchFamily="34" charset="0"/>
              </a:rPr>
              <a:t>Das System lässt sich über diesen Faktor vorantreiben.</a:t>
            </a:r>
          </a:p>
          <a:p>
            <a:pPr marL="0" lvl="1" defTabSz="964783">
              <a:spcAft>
                <a:spcPts val="300"/>
              </a:spcAft>
            </a:pPr>
            <a:r>
              <a:rPr lang="de-DE" sz="1100" dirty="0" smtClean="0">
                <a:latin typeface="Arial" panose="020B0604020202020204" pitchFamily="34" charset="0"/>
                <a:cs typeface="Arial" panose="020B0604020202020204" pitchFamily="34" charset="0"/>
              </a:rPr>
              <a:t>Da er von 9 von 19 (=47%) Faktoren beeinflusst wird, sollte er zusammen mit weiteren Schlüsselfaktoren entwickelt werden (s.S.15)</a:t>
            </a:r>
          </a:p>
        </p:txBody>
      </p:sp>
      <p:sp>
        <p:nvSpPr>
          <p:cNvPr id="317" name="Abgerundetes Rechteck 1"/>
          <p:cNvSpPr/>
          <p:nvPr/>
        </p:nvSpPr>
        <p:spPr>
          <a:xfrm>
            <a:off x="7326901" y="947507"/>
            <a:ext cx="2425469" cy="2377658"/>
          </a:xfrm>
          <a:prstGeom prst="roundRect">
            <a:avLst>
              <a:gd name="adj" fmla="val 3256"/>
            </a:avLst>
          </a:prstGeom>
          <a:solidFill>
            <a:srgbClr val="BDBDFF"/>
          </a:solidFill>
          <a:effectLst>
            <a:outerShdw blurRad="63500" dist="12700" dir="5400000" algn="t" rotWithShape="0">
              <a:prstClr val="black">
                <a:alpha val="23000"/>
              </a:prstClr>
            </a:outerShdw>
          </a:effectLst>
        </p:spPr>
        <p:txBody>
          <a:bodyPr wrap="square" lIns="72000" tIns="36000" rIns="0" bIns="72000">
            <a:noAutofit/>
          </a:bodyPr>
          <a:lstStyle/>
          <a:p>
            <a:pPr marL="0" lvl="1" defTabSz="964783">
              <a:spcAft>
                <a:spcPts val="300"/>
              </a:spcAft>
            </a:pPr>
            <a:r>
              <a:rPr lang="de-DE" sz="1100" b="1" dirty="0" smtClean="0">
                <a:latin typeface="Arial" panose="020B0604020202020204" pitchFamily="34" charset="0"/>
                <a:cs typeface="Arial" panose="020B0604020202020204" pitchFamily="34" charset="0"/>
              </a:rPr>
              <a:t>Gemeinsame/Wirksame Strategie </a:t>
            </a:r>
            <a:r>
              <a:rPr lang="de-DE" sz="1100" dirty="0" smtClean="0">
                <a:latin typeface="Arial" panose="020B0604020202020204" pitchFamily="34" charset="0"/>
                <a:cs typeface="Arial" panose="020B0604020202020204" pitchFamily="34" charset="0"/>
              </a:rPr>
              <a:t>(19) ist ein Schlüssel-faktor, der die vernetztesten Faktoren direkt ansteuern kann. </a:t>
            </a:r>
          </a:p>
          <a:p>
            <a:pPr marL="0" lvl="1" defTabSz="964783">
              <a:spcAft>
                <a:spcPts val="300"/>
              </a:spcAft>
            </a:pPr>
            <a:r>
              <a:rPr lang="de-DE" sz="1100" dirty="0" smtClean="0">
                <a:latin typeface="Arial" panose="020B0604020202020204" pitchFamily="34" charset="0"/>
                <a:cs typeface="Arial" panose="020B0604020202020204" pitchFamily="34" charset="0"/>
              </a:rPr>
              <a:t>Er ist ein aktiver Treiber für das System </a:t>
            </a:r>
            <a:r>
              <a:rPr lang="de-DE" sz="1100" dirty="0" err="1" smtClean="0">
                <a:latin typeface="Arial" panose="020B0604020202020204" pitchFamily="34" charset="0"/>
                <a:cs typeface="Arial" panose="020B0604020202020204" pitchFamily="34" charset="0"/>
              </a:rPr>
              <a:t>SMARTilience</a:t>
            </a:r>
            <a:r>
              <a:rPr lang="de-DE" sz="1100" dirty="0" smtClean="0">
                <a:latin typeface="Arial" panose="020B0604020202020204" pitchFamily="34" charset="0"/>
                <a:cs typeface="Arial" panose="020B0604020202020204" pitchFamily="34" charset="0"/>
              </a:rPr>
              <a:t> (11 von 19 (=58%) Faktoren werden direkt beeinflusst). </a:t>
            </a:r>
          </a:p>
          <a:p>
            <a:pPr marL="0" lvl="1" defTabSz="964783">
              <a:spcAft>
                <a:spcPts val="300"/>
              </a:spcAft>
            </a:pPr>
            <a:r>
              <a:rPr lang="de-DE" sz="1100" dirty="0">
                <a:latin typeface="Arial" panose="020B0604020202020204" pitchFamily="34" charset="0"/>
                <a:cs typeface="Arial" panose="020B0604020202020204" pitchFamily="34" charset="0"/>
              </a:rPr>
              <a:t>Das System lässt sich am </a:t>
            </a:r>
            <a:r>
              <a:rPr lang="de-DE" sz="1100" dirty="0" smtClean="0">
                <a:latin typeface="Arial" panose="020B0604020202020204" pitchFamily="34" charset="0"/>
                <a:cs typeface="Arial" panose="020B0604020202020204" pitchFamily="34" charset="0"/>
              </a:rPr>
              <a:t>wirksamsten </a:t>
            </a:r>
            <a:r>
              <a:rPr lang="de-DE" sz="1100" dirty="0">
                <a:latin typeface="Arial" panose="020B0604020202020204" pitchFamily="34" charset="0"/>
                <a:cs typeface="Arial" panose="020B0604020202020204" pitchFamily="34" charset="0"/>
              </a:rPr>
              <a:t>über diesen Faktor entwickeln, da er nur durch </a:t>
            </a:r>
            <a:r>
              <a:rPr lang="de-DE" sz="1100" dirty="0" smtClean="0">
                <a:latin typeface="Arial" panose="020B0604020202020204" pitchFamily="34" charset="0"/>
                <a:cs typeface="Arial" panose="020B0604020202020204" pitchFamily="34" charset="0"/>
              </a:rPr>
              <a:t>6 </a:t>
            </a:r>
            <a:r>
              <a:rPr lang="de-DE" sz="1100" dirty="0">
                <a:latin typeface="Arial" panose="020B0604020202020204" pitchFamily="34" charset="0"/>
                <a:cs typeface="Arial" panose="020B0604020202020204" pitchFamily="34" charset="0"/>
              </a:rPr>
              <a:t>Faktoren </a:t>
            </a:r>
            <a:r>
              <a:rPr lang="de-DE" sz="1100" dirty="0" smtClean="0">
                <a:latin typeface="Arial" panose="020B0604020202020204" pitchFamily="34" charset="0"/>
                <a:cs typeface="Arial" panose="020B0604020202020204" pitchFamily="34" charset="0"/>
              </a:rPr>
              <a:t>(=32%) </a:t>
            </a:r>
            <a:r>
              <a:rPr lang="de-DE" sz="1100" dirty="0">
                <a:latin typeface="Arial" panose="020B0604020202020204" pitchFamily="34" charset="0"/>
                <a:cs typeface="Arial" panose="020B0604020202020204" pitchFamily="34" charset="0"/>
              </a:rPr>
              <a:t>beeinflusst </a:t>
            </a:r>
            <a:r>
              <a:rPr lang="de-DE" sz="1100" dirty="0" smtClean="0">
                <a:latin typeface="Arial" panose="020B0604020202020204" pitchFamily="34" charset="0"/>
                <a:cs typeface="Arial" panose="020B0604020202020204" pitchFamily="34" charset="0"/>
              </a:rPr>
              <a:t>wird.</a:t>
            </a:r>
          </a:p>
        </p:txBody>
      </p:sp>
      <p:grpSp>
        <p:nvGrpSpPr>
          <p:cNvPr id="318" name="Gruppieren 190"/>
          <p:cNvGrpSpPr/>
          <p:nvPr/>
        </p:nvGrpSpPr>
        <p:grpSpPr>
          <a:xfrm rot="5400000">
            <a:off x="4212664" y="2124511"/>
            <a:ext cx="686976" cy="330946"/>
            <a:chOff x="-2278427" y="1819482"/>
            <a:chExt cx="7858881" cy="2817858"/>
          </a:xfrm>
          <a:effectLst>
            <a:glow rad="127000">
              <a:srgbClr val="0000FF">
                <a:alpha val="20000"/>
              </a:srgbClr>
            </a:glow>
          </a:effectLst>
        </p:grpSpPr>
        <p:sp>
          <p:nvSpPr>
            <p:cNvPr id="319" name="Bent Arrow 33"/>
            <p:cNvSpPr/>
            <p:nvPr/>
          </p:nvSpPr>
          <p:spPr bwMode="auto">
            <a:xfrm rot="10800000" flipH="1">
              <a:off x="4626788" y="3132458"/>
              <a:ext cx="953666" cy="1504882"/>
            </a:xfrm>
            <a:prstGeom prst="bentArrow">
              <a:avLst>
                <a:gd name="adj1" fmla="val 0"/>
                <a:gd name="adj2" fmla="val 0"/>
                <a:gd name="adj3" fmla="val 25000"/>
                <a:gd name="adj4" fmla="val 5340"/>
              </a:avLst>
            </a:prstGeom>
            <a:solidFill>
              <a:schemeClr val="tx2"/>
            </a:solidFill>
            <a:ln w="5715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320" name="Bent Arrow 33"/>
            <p:cNvSpPr/>
            <p:nvPr/>
          </p:nvSpPr>
          <p:spPr bwMode="auto">
            <a:xfrm rot="16200000" flipH="1" flipV="1">
              <a:off x="1393971" y="22122"/>
              <a:ext cx="1435428" cy="5030147"/>
            </a:xfrm>
            <a:prstGeom prst="bentArrow">
              <a:avLst>
                <a:gd name="adj1" fmla="val 0"/>
                <a:gd name="adj2" fmla="val 0"/>
                <a:gd name="adj3" fmla="val 25000"/>
                <a:gd name="adj4" fmla="val 45474"/>
              </a:avLst>
            </a:prstGeom>
            <a:solidFill>
              <a:schemeClr val="tx2"/>
            </a:solidFill>
            <a:ln w="5715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321" name="Straight Arrow Connector 34"/>
            <p:cNvCxnSpPr/>
            <p:nvPr/>
          </p:nvCxnSpPr>
          <p:spPr bwMode="auto">
            <a:xfrm rot="16200000" flipV="1">
              <a:off x="-1245185" y="818893"/>
              <a:ext cx="0" cy="2066484"/>
            </a:xfrm>
            <a:prstGeom prst="straightConnector1">
              <a:avLst/>
            </a:prstGeom>
            <a:solidFill>
              <a:schemeClr val="tx2"/>
            </a:solidFill>
            <a:ln w="57150" cap="rnd" cmpd="sng" algn="ctr">
              <a:solidFill>
                <a:srgbClr val="7979FF"/>
              </a:solidFill>
              <a:prstDash val="solid"/>
              <a:round/>
              <a:headEnd type="none" w="med" len="med"/>
              <a:tailEnd type="triangle" w="med" len="lg"/>
            </a:ln>
            <a:effectLst/>
          </p:spPr>
        </p:cxnSp>
      </p:grpSp>
      <p:grpSp>
        <p:nvGrpSpPr>
          <p:cNvPr id="322" name="Gruppieren 321"/>
          <p:cNvGrpSpPr/>
          <p:nvPr/>
        </p:nvGrpSpPr>
        <p:grpSpPr>
          <a:xfrm>
            <a:off x="1264935" y="2573544"/>
            <a:ext cx="2855002" cy="874250"/>
            <a:chOff x="2844618" y="1738667"/>
            <a:chExt cx="1669688" cy="107505"/>
          </a:xfrm>
          <a:effectLst>
            <a:glow rad="63500">
              <a:srgbClr val="0000FF">
                <a:alpha val="20000"/>
              </a:srgbClr>
            </a:glow>
          </a:effectLst>
        </p:grpSpPr>
        <p:sp>
          <p:nvSpPr>
            <p:cNvPr id="323" name="Bent Arrow 33"/>
            <p:cNvSpPr/>
            <p:nvPr/>
          </p:nvSpPr>
          <p:spPr bwMode="auto">
            <a:xfrm flipV="1">
              <a:off x="4096092" y="1755550"/>
              <a:ext cx="418214" cy="16614"/>
            </a:xfrm>
            <a:prstGeom prst="bentArrow">
              <a:avLst>
                <a:gd name="adj1" fmla="val 0"/>
                <a:gd name="adj2" fmla="val 0"/>
                <a:gd name="adj3" fmla="val 25000"/>
                <a:gd name="adj4" fmla="val 61754"/>
              </a:avLst>
            </a:prstGeom>
            <a:solidFill>
              <a:schemeClr val="tx2"/>
            </a:solidFill>
            <a:ln w="5715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324" name="Bent Arrow 33"/>
            <p:cNvSpPr/>
            <p:nvPr/>
          </p:nvSpPr>
          <p:spPr bwMode="auto">
            <a:xfrm rot="5400000">
              <a:off x="3853040" y="1516425"/>
              <a:ext cx="21859" cy="466343"/>
            </a:xfrm>
            <a:prstGeom prst="bentArrow">
              <a:avLst>
                <a:gd name="adj1" fmla="val 0"/>
                <a:gd name="adj2" fmla="val 0"/>
                <a:gd name="adj3" fmla="val 25000"/>
                <a:gd name="adj4" fmla="val 45474"/>
              </a:avLst>
            </a:prstGeom>
            <a:solidFill>
              <a:schemeClr val="tx2"/>
            </a:solidFill>
            <a:ln w="5715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325" name="Straight Arrow Connector 34"/>
            <p:cNvCxnSpPr/>
            <p:nvPr/>
          </p:nvCxnSpPr>
          <p:spPr bwMode="auto">
            <a:xfrm>
              <a:off x="2844618" y="1761419"/>
              <a:ext cx="113" cy="84753"/>
            </a:xfrm>
            <a:prstGeom prst="straightConnector1">
              <a:avLst/>
            </a:prstGeom>
            <a:solidFill>
              <a:schemeClr val="tx2"/>
            </a:solidFill>
            <a:ln w="57150" cap="rnd" cmpd="sng" algn="ctr">
              <a:solidFill>
                <a:srgbClr val="7979FF"/>
              </a:solidFill>
              <a:prstDash val="solid"/>
              <a:round/>
              <a:headEnd type="none" w="med" len="med"/>
              <a:tailEnd type="triangle" w="med" len="lg"/>
            </a:ln>
            <a:effectLst/>
          </p:spPr>
        </p:cxnSp>
        <p:sp>
          <p:nvSpPr>
            <p:cNvPr id="326" name="Bent Arrow 33"/>
            <p:cNvSpPr/>
            <p:nvPr/>
          </p:nvSpPr>
          <p:spPr bwMode="auto">
            <a:xfrm>
              <a:off x="2847265" y="1738667"/>
              <a:ext cx="783534" cy="44884"/>
            </a:xfrm>
            <a:prstGeom prst="bentArrow">
              <a:avLst>
                <a:gd name="adj1" fmla="val 0"/>
                <a:gd name="adj2" fmla="val 0"/>
                <a:gd name="adj3" fmla="val 25000"/>
                <a:gd name="adj4" fmla="val 14437"/>
              </a:avLst>
            </a:prstGeom>
            <a:solidFill>
              <a:schemeClr val="tx2"/>
            </a:solidFill>
            <a:ln w="5715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21" name="Gruppieren 20"/>
          <p:cNvGrpSpPr/>
          <p:nvPr/>
        </p:nvGrpSpPr>
        <p:grpSpPr>
          <a:xfrm>
            <a:off x="1577835" y="2468566"/>
            <a:ext cx="2602192" cy="2265136"/>
            <a:chOff x="1537494" y="2468566"/>
            <a:chExt cx="2616968" cy="2265136"/>
          </a:xfrm>
          <a:effectLst>
            <a:glow rad="63500">
              <a:srgbClr val="3333FF">
                <a:alpha val="20000"/>
              </a:srgbClr>
            </a:glow>
          </a:effectLst>
        </p:grpSpPr>
        <p:cxnSp>
          <p:nvCxnSpPr>
            <p:cNvPr id="328" name="Straight Arrow Connector 34"/>
            <p:cNvCxnSpPr/>
            <p:nvPr/>
          </p:nvCxnSpPr>
          <p:spPr bwMode="auto">
            <a:xfrm flipH="1">
              <a:off x="1537494" y="4259218"/>
              <a:ext cx="638" cy="474484"/>
            </a:xfrm>
            <a:prstGeom prst="straightConnector1">
              <a:avLst/>
            </a:prstGeom>
            <a:solidFill>
              <a:schemeClr val="tx2"/>
            </a:solidFill>
            <a:ln w="25400" cap="flat" cmpd="sng" algn="ctr">
              <a:solidFill>
                <a:srgbClr val="7979FF"/>
              </a:solidFill>
              <a:prstDash val="solid"/>
              <a:round/>
              <a:headEnd type="none" w="med" len="med"/>
              <a:tailEnd type="triangle" w="med" len="lg"/>
            </a:ln>
            <a:effectLst/>
          </p:spPr>
        </p:cxnSp>
        <p:sp>
          <p:nvSpPr>
            <p:cNvPr id="330" name="Bent Arrow 33"/>
            <p:cNvSpPr/>
            <p:nvPr/>
          </p:nvSpPr>
          <p:spPr bwMode="auto">
            <a:xfrm rot="5400000">
              <a:off x="3787500" y="2252755"/>
              <a:ext cx="150448" cy="583477"/>
            </a:xfrm>
            <a:prstGeom prst="bentArrow">
              <a:avLst>
                <a:gd name="adj1" fmla="val 0"/>
                <a:gd name="adj2" fmla="val 0"/>
                <a:gd name="adj3" fmla="val 0"/>
                <a:gd name="adj4" fmla="val 49339"/>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331" name="Bent Arrow 33"/>
            <p:cNvSpPr/>
            <p:nvPr/>
          </p:nvSpPr>
          <p:spPr bwMode="auto">
            <a:xfrm rot="5400000" flipV="1">
              <a:off x="2105472" y="1901230"/>
              <a:ext cx="898172" cy="2032844"/>
            </a:xfrm>
            <a:prstGeom prst="bentArrow">
              <a:avLst>
                <a:gd name="adj1" fmla="val 0"/>
                <a:gd name="adj2" fmla="val 0"/>
                <a:gd name="adj3" fmla="val 0"/>
                <a:gd name="adj4" fmla="val 8329"/>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14" name="Gerader Verbinder 13"/>
            <p:cNvCxnSpPr/>
            <p:nvPr/>
          </p:nvCxnSpPr>
          <p:spPr bwMode="auto">
            <a:xfrm>
              <a:off x="1537643" y="3489762"/>
              <a:ext cx="0" cy="672822"/>
            </a:xfrm>
            <a:prstGeom prst="line">
              <a:avLst/>
            </a:prstGeom>
            <a:solidFill>
              <a:schemeClr val="accent1"/>
            </a:solidFill>
            <a:ln w="25400" cap="flat" cmpd="sng" algn="ctr">
              <a:solidFill>
                <a:srgbClr val="7979FF"/>
              </a:solidFill>
              <a:prstDash val="solid"/>
              <a:round/>
              <a:headEnd type="none" w="med" len="med"/>
              <a:tailEnd type="none" w="med" len="med"/>
            </a:ln>
            <a:effectLst/>
          </p:spPr>
        </p:cxnSp>
      </p:grpSp>
      <p:grpSp>
        <p:nvGrpSpPr>
          <p:cNvPr id="332" name="Gruppieren 190"/>
          <p:cNvGrpSpPr/>
          <p:nvPr/>
        </p:nvGrpSpPr>
        <p:grpSpPr>
          <a:xfrm rot="10800000" flipH="1" flipV="1">
            <a:off x="2891482" y="2120809"/>
            <a:ext cx="1413223" cy="492935"/>
            <a:chOff x="-2278427" y="1921035"/>
            <a:chExt cx="3873071" cy="1333869"/>
          </a:xfrm>
          <a:effectLst>
            <a:glow rad="63500">
              <a:srgbClr val="0000FF">
                <a:alpha val="20000"/>
              </a:srgbClr>
            </a:glow>
          </a:effectLst>
        </p:grpSpPr>
        <p:sp>
          <p:nvSpPr>
            <p:cNvPr id="333" name="Bent Arrow 33"/>
            <p:cNvSpPr/>
            <p:nvPr/>
          </p:nvSpPr>
          <p:spPr bwMode="auto">
            <a:xfrm rot="16200000" flipH="1" flipV="1">
              <a:off x="-71302" y="1588959"/>
              <a:ext cx="1333869" cy="1998022"/>
            </a:xfrm>
            <a:prstGeom prst="bentArrow">
              <a:avLst>
                <a:gd name="adj1" fmla="val 0"/>
                <a:gd name="adj2" fmla="val 0"/>
                <a:gd name="adj3" fmla="val 25000"/>
                <a:gd name="adj4" fmla="val 15210"/>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334" name="Straight Arrow Connector 34"/>
            <p:cNvCxnSpPr/>
            <p:nvPr/>
          </p:nvCxnSpPr>
          <p:spPr bwMode="auto">
            <a:xfrm rot="16200000" flipV="1">
              <a:off x="-1245185" y="887793"/>
              <a:ext cx="0" cy="2066484"/>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grpSp>
      <p:grpSp>
        <p:nvGrpSpPr>
          <p:cNvPr id="335" name="Gruppieren 334"/>
          <p:cNvGrpSpPr/>
          <p:nvPr/>
        </p:nvGrpSpPr>
        <p:grpSpPr>
          <a:xfrm rot="10800000">
            <a:off x="4349264" y="1762621"/>
            <a:ext cx="1660331" cy="864805"/>
            <a:chOff x="4476259" y="2743310"/>
            <a:chExt cx="350247" cy="1724466"/>
          </a:xfrm>
          <a:effectLst>
            <a:glow rad="63500">
              <a:srgbClr val="0000FF">
                <a:alpha val="20000"/>
              </a:srgbClr>
            </a:glow>
          </a:effectLst>
        </p:grpSpPr>
        <p:sp>
          <p:nvSpPr>
            <p:cNvPr id="336" name="Bent Arrow 33"/>
            <p:cNvSpPr/>
            <p:nvPr/>
          </p:nvSpPr>
          <p:spPr bwMode="auto">
            <a:xfrm rot="5400000" flipH="1">
              <a:off x="4228563" y="3160451"/>
              <a:ext cx="1015084" cy="180802"/>
            </a:xfrm>
            <a:prstGeom prst="bentArrow">
              <a:avLst>
                <a:gd name="adj1" fmla="val 0"/>
                <a:gd name="adj2" fmla="val 0"/>
                <a:gd name="adj3" fmla="val 25000"/>
                <a:gd name="adj4" fmla="val 13166"/>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337" name="Bent Arrow 33"/>
            <p:cNvSpPr/>
            <p:nvPr/>
          </p:nvSpPr>
          <p:spPr bwMode="auto">
            <a:xfrm rot="10800000" flipH="1" flipV="1">
              <a:off x="4476487" y="3753529"/>
              <a:ext cx="174449" cy="503697"/>
            </a:xfrm>
            <a:prstGeom prst="bentArrow">
              <a:avLst>
                <a:gd name="adj1" fmla="val 0"/>
                <a:gd name="adj2" fmla="val 0"/>
                <a:gd name="adj3" fmla="val 25000"/>
                <a:gd name="adj4" fmla="val 26253"/>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338" name="Straight Arrow Connector 34"/>
            <p:cNvCxnSpPr/>
            <p:nvPr/>
          </p:nvCxnSpPr>
          <p:spPr bwMode="auto">
            <a:xfrm>
              <a:off x="4476259" y="4319189"/>
              <a:ext cx="0" cy="148587"/>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grpSp>
      <p:grpSp>
        <p:nvGrpSpPr>
          <p:cNvPr id="340" name="Gruppieren 190"/>
          <p:cNvGrpSpPr/>
          <p:nvPr/>
        </p:nvGrpSpPr>
        <p:grpSpPr>
          <a:xfrm rot="10800000" flipV="1">
            <a:off x="4479438" y="2549080"/>
            <a:ext cx="1267585" cy="88622"/>
            <a:chOff x="-2278427" y="1921035"/>
            <a:chExt cx="3806014" cy="1198909"/>
          </a:xfrm>
          <a:effectLst>
            <a:glow rad="63500">
              <a:srgbClr val="0000FF">
                <a:alpha val="20000"/>
              </a:srgbClr>
            </a:glow>
          </a:effectLst>
        </p:grpSpPr>
        <p:sp>
          <p:nvSpPr>
            <p:cNvPr id="341" name="Bent Arrow 33"/>
            <p:cNvSpPr/>
            <p:nvPr/>
          </p:nvSpPr>
          <p:spPr bwMode="auto">
            <a:xfrm rot="16200000" flipH="1" flipV="1">
              <a:off x="-37345" y="1555012"/>
              <a:ext cx="1198896" cy="1930968"/>
            </a:xfrm>
            <a:prstGeom prst="bentArrow">
              <a:avLst>
                <a:gd name="adj1" fmla="val 0"/>
                <a:gd name="adj2" fmla="val 0"/>
                <a:gd name="adj3" fmla="val 25000"/>
                <a:gd name="adj4" fmla="val 75000"/>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342" name="Straight Arrow Connector 34"/>
            <p:cNvCxnSpPr/>
            <p:nvPr/>
          </p:nvCxnSpPr>
          <p:spPr bwMode="auto">
            <a:xfrm rot="16200000" flipV="1">
              <a:off x="-1245185" y="887793"/>
              <a:ext cx="0" cy="2066484"/>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grpSp>
      <p:cxnSp>
        <p:nvCxnSpPr>
          <p:cNvPr id="23" name="Gerade Verbindung mit Pfeil 22"/>
          <p:cNvCxnSpPr/>
          <p:nvPr/>
        </p:nvCxnSpPr>
        <p:spPr bwMode="auto">
          <a:xfrm>
            <a:off x="4474100" y="2991253"/>
            <a:ext cx="5338" cy="1476523"/>
          </a:xfrm>
          <a:prstGeom prst="straightConnector1">
            <a:avLst/>
          </a:prstGeom>
          <a:solidFill>
            <a:schemeClr val="accent1"/>
          </a:solidFill>
          <a:ln w="25400" cap="flat" cmpd="sng" algn="ctr">
            <a:solidFill>
              <a:srgbClr val="7979FF"/>
            </a:solidFill>
            <a:prstDash val="solid"/>
            <a:round/>
            <a:headEnd type="none" w="med" len="med"/>
            <a:tailEnd type="triangle" w="med" len="lg"/>
          </a:ln>
          <a:effectLst>
            <a:glow rad="63500">
              <a:srgbClr val="0000FF">
                <a:alpha val="20000"/>
              </a:srgbClr>
            </a:glow>
          </a:effectLst>
        </p:spPr>
      </p:cxnSp>
      <p:grpSp>
        <p:nvGrpSpPr>
          <p:cNvPr id="343" name="Gruppieren 342"/>
          <p:cNvGrpSpPr/>
          <p:nvPr/>
        </p:nvGrpSpPr>
        <p:grpSpPr>
          <a:xfrm>
            <a:off x="3764888" y="2990034"/>
            <a:ext cx="625553" cy="750250"/>
            <a:chOff x="4476259" y="2915903"/>
            <a:chExt cx="350247" cy="1551873"/>
          </a:xfrm>
          <a:effectLst>
            <a:glow rad="63500">
              <a:srgbClr val="0000FF">
                <a:alpha val="20000"/>
              </a:srgbClr>
            </a:glow>
          </a:effectLst>
        </p:grpSpPr>
        <p:sp>
          <p:nvSpPr>
            <p:cNvPr id="344" name="Bent Arrow 33"/>
            <p:cNvSpPr/>
            <p:nvPr/>
          </p:nvSpPr>
          <p:spPr bwMode="auto">
            <a:xfrm rot="5400000" flipH="1">
              <a:off x="4359299" y="3202308"/>
              <a:ext cx="753611" cy="180802"/>
            </a:xfrm>
            <a:prstGeom prst="bentArrow">
              <a:avLst>
                <a:gd name="adj1" fmla="val 0"/>
                <a:gd name="adj2" fmla="val 0"/>
                <a:gd name="adj3" fmla="val 25000"/>
                <a:gd name="adj4" fmla="val 24803"/>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345" name="Bent Arrow 33"/>
            <p:cNvSpPr/>
            <p:nvPr/>
          </p:nvSpPr>
          <p:spPr bwMode="auto">
            <a:xfrm rot="10800000" flipH="1" flipV="1">
              <a:off x="4476487" y="3669517"/>
              <a:ext cx="174449" cy="587711"/>
            </a:xfrm>
            <a:prstGeom prst="bentArrow">
              <a:avLst>
                <a:gd name="adj1" fmla="val 0"/>
                <a:gd name="adj2" fmla="val 0"/>
                <a:gd name="adj3" fmla="val 25000"/>
                <a:gd name="adj4" fmla="val 26253"/>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346" name="Straight Arrow Connector 34"/>
            <p:cNvCxnSpPr/>
            <p:nvPr/>
          </p:nvCxnSpPr>
          <p:spPr bwMode="auto">
            <a:xfrm>
              <a:off x="4476259" y="4319189"/>
              <a:ext cx="0" cy="148587"/>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grpSp>
      <p:grpSp>
        <p:nvGrpSpPr>
          <p:cNvPr id="347" name="Gruppieren 346"/>
          <p:cNvGrpSpPr/>
          <p:nvPr/>
        </p:nvGrpSpPr>
        <p:grpSpPr>
          <a:xfrm>
            <a:off x="1004849" y="2990038"/>
            <a:ext cx="3175176" cy="1397883"/>
            <a:chOff x="3770920" y="2743206"/>
            <a:chExt cx="987765" cy="1109880"/>
          </a:xfrm>
          <a:effectLst>
            <a:glow rad="63500">
              <a:srgbClr val="0000FF">
                <a:alpha val="20000"/>
              </a:srgbClr>
            </a:glow>
          </a:effectLst>
        </p:grpSpPr>
        <p:cxnSp>
          <p:nvCxnSpPr>
            <p:cNvPr id="348" name="Straight Arrow Connector 34"/>
            <p:cNvCxnSpPr/>
            <p:nvPr/>
          </p:nvCxnSpPr>
          <p:spPr bwMode="auto">
            <a:xfrm rot="16200000" flipV="1">
              <a:off x="3898046" y="3724312"/>
              <a:ext cx="0" cy="254251"/>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sp>
          <p:nvSpPr>
            <p:cNvPr id="349" name="Bent Arrow 33"/>
            <p:cNvSpPr/>
            <p:nvPr/>
          </p:nvSpPr>
          <p:spPr bwMode="auto">
            <a:xfrm rot="16200000" flipV="1">
              <a:off x="3832127" y="2926527"/>
              <a:ext cx="1109880" cy="743237"/>
            </a:xfrm>
            <a:prstGeom prst="bentArrow">
              <a:avLst>
                <a:gd name="adj1" fmla="val 0"/>
                <a:gd name="adj2" fmla="val 0"/>
                <a:gd name="adj3" fmla="val 25000"/>
                <a:gd name="adj4" fmla="val 2778"/>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351" name="Gruppieren 350"/>
          <p:cNvGrpSpPr/>
          <p:nvPr/>
        </p:nvGrpSpPr>
        <p:grpSpPr>
          <a:xfrm flipH="1">
            <a:off x="4573666" y="2787030"/>
            <a:ext cx="2017140" cy="489338"/>
            <a:chOff x="591366" y="1835224"/>
            <a:chExt cx="260475" cy="415313"/>
          </a:xfrm>
          <a:effectLst>
            <a:glow rad="63500">
              <a:srgbClr val="0000FF">
                <a:alpha val="20000"/>
              </a:srgbClr>
            </a:glow>
          </a:effectLst>
        </p:grpSpPr>
        <p:cxnSp>
          <p:nvCxnSpPr>
            <p:cNvPr id="355" name="Gerader Verbinder 354"/>
            <p:cNvCxnSpPr/>
            <p:nvPr/>
          </p:nvCxnSpPr>
          <p:spPr bwMode="auto">
            <a:xfrm flipV="1">
              <a:off x="594932" y="1835224"/>
              <a:ext cx="256909" cy="0"/>
            </a:xfrm>
            <a:prstGeom prst="line">
              <a:avLst/>
            </a:prstGeom>
            <a:solidFill>
              <a:schemeClr val="accent1"/>
            </a:solidFill>
            <a:ln w="25400" cap="flat" cmpd="sng" algn="ctr">
              <a:solidFill>
                <a:srgbClr val="7979FF"/>
              </a:solidFill>
              <a:prstDash val="dash"/>
              <a:round/>
              <a:headEnd type="none" w="med" len="med"/>
              <a:tailEnd type="none" w="med" len="med"/>
            </a:ln>
            <a:effectLst/>
          </p:spPr>
        </p:cxnSp>
        <p:cxnSp>
          <p:nvCxnSpPr>
            <p:cNvPr id="356" name="Gerader Verbinder 355"/>
            <p:cNvCxnSpPr/>
            <p:nvPr/>
          </p:nvCxnSpPr>
          <p:spPr bwMode="auto">
            <a:xfrm flipV="1">
              <a:off x="591366" y="1835224"/>
              <a:ext cx="0" cy="283146"/>
            </a:xfrm>
            <a:prstGeom prst="line">
              <a:avLst/>
            </a:prstGeom>
            <a:solidFill>
              <a:schemeClr val="accent1"/>
            </a:solidFill>
            <a:ln w="25400" cap="flat" cmpd="sng" algn="ctr">
              <a:solidFill>
                <a:srgbClr val="7979FF"/>
              </a:solidFill>
              <a:prstDash val="dash"/>
              <a:round/>
              <a:headEnd type="none" w="med" len="med"/>
              <a:tailEnd type="none" w="med" len="med"/>
            </a:ln>
            <a:effectLst/>
          </p:spPr>
        </p:cxnSp>
        <p:cxnSp>
          <p:nvCxnSpPr>
            <p:cNvPr id="357" name="Straight Arrow Connector 34"/>
            <p:cNvCxnSpPr/>
            <p:nvPr/>
          </p:nvCxnSpPr>
          <p:spPr bwMode="auto">
            <a:xfrm>
              <a:off x="592733" y="2127191"/>
              <a:ext cx="0" cy="123346"/>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grpSp>
      <p:grpSp>
        <p:nvGrpSpPr>
          <p:cNvPr id="358" name="Gruppieren 149"/>
          <p:cNvGrpSpPr/>
          <p:nvPr/>
        </p:nvGrpSpPr>
        <p:grpSpPr>
          <a:xfrm rot="5400000" flipH="1">
            <a:off x="2405599" y="2685261"/>
            <a:ext cx="1562927" cy="2281689"/>
            <a:chOff x="4515738" y="4294447"/>
            <a:chExt cx="1546385" cy="1078278"/>
          </a:xfrm>
          <a:effectLst>
            <a:glow rad="63500">
              <a:srgbClr val="C00000">
                <a:alpha val="20000"/>
              </a:srgbClr>
            </a:glow>
          </a:effectLst>
        </p:grpSpPr>
        <p:sp>
          <p:nvSpPr>
            <p:cNvPr id="359" name="Bent Arrow 33"/>
            <p:cNvSpPr/>
            <p:nvPr/>
          </p:nvSpPr>
          <p:spPr bwMode="auto">
            <a:xfrm flipV="1">
              <a:off x="4515738" y="4294447"/>
              <a:ext cx="1019157" cy="1078275"/>
            </a:xfrm>
            <a:prstGeom prst="bentArrow">
              <a:avLst>
                <a:gd name="adj1" fmla="val 0"/>
                <a:gd name="adj2" fmla="val 0"/>
                <a:gd name="adj3" fmla="val 0"/>
                <a:gd name="adj4" fmla="val 9298"/>
              </a:avLst>
            </a:prstGeom>
            <a:solidFill>
              <a:schemeClr val="tx2"/>
            </a:solidFill>
            <a:ln w="25400" cap="flat" cmpd="sng" algn="ctr">
              <a:solidFill>
                <a:srgbClr val="C00000"/>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360" name="Straight Arrow Connector 34"/>
            <p:cNvCxnSpPr/>
            <p:nvPr/>
          </p:nvCxnSpPr>
          <p:spPr bwMode="auto">
            <a:xfrm rot="5400000" flipH="1" flipV="1">
              <a:off x="5798509" y="5109111"/>
              <a:ext cx="0" cy="527228"/>
            </a:xfrm>
            <a:prstGeom prst="straightConnector1">
              <a:avLst/>
            </a:prstGeom>
            <a:solidFill>
              <a:schemeClr val="tx2"/>
            </a:solidFill>
            <a:ln w="25400" cap="flat" cmpd="sng" algn="ctr">
              <a:solidFill>
                <a:srgbClr val="C00000"/>
              </a:solidFill>
              <a:prstDash val="solid"/>
              <a:round/>
              <a:headEnd type="none" w="med" len="med"/>
              <a:tailEnd type="triangle" w="med" len="lg"/>
            </a:ln>
            <a:effectLst/>
          </p:spPr>
        </p:cxnSp>
      </p:grpSp>
      <p:grpSp>
        <p:nvGrpSpPr>
          <p:cNvPr id="32" name="Gruppieren 31"/>
          <p:cNvGrpSpPr/>
          <p:nvPr/>
        </p:nvGrpSpPr>
        <p:grpSpPr>
          <a:xfrm>
            <a:off x="4555058" y="1891803"/>
            <a:ext cx="360482" cy="2556859"/>
            <a:chOff x="4514717" y="1891803"/>
            <a:chExt cx="360482" cy="2556859"/>
          </a:xfrm>
          <a:effectLst>
            <a:glow rad="127000">
              <a:srgbClr val="C00000">
                <a:alpha val="20000"/>
              </a:srgbClr>
            </a:glow>
          </a:effectLst>
        </p:grpSpPr>
        <p:cxnSp>
          <p:nvCxnSpPr>
            <p:cNvPr id="364" name="Straight Arrow Connector 34"/>
            <p:cNvCxnSpPr/>
            <p:nvPr/>
          </p:nvCxnSpPr>
          <p:spPr bwMode="auto">
            <a:xfrm flipV="1">
              <a:off x="4871065" y="1891803"/>
              <a:ext cx="0" cy="735624"/>
            </a:xfrm>
            <a:prstGeom prst="straightConnector1">
              <a:avLst/>
            </a:prstGeom>
            <a:solidFill>
              <a:schemeClr val="tx2"/>
            </a:solidFill>
            <a:ln w="57150" cap="flat" cmpd="sng" algn="ctr">
              <a:solidFill>
                <a:srgbClr val="D60000"/>
              </a:solidFill>
              <a:prstDash val="solid"/>
              <a:round/>
              <a:headEnd type="none" w="med" len="med"/>
              <a:tailEnd type="triangle" w="med" len="lg"/>
            </a:ln>
            <a:effectLst/>
          </p:spPr>
        </p:cxnSp>
        <p:sp>
          <p:nvSpPr>
            <p:cNvPr id="365" name="Bent Arrow 33"/>
            <p:cNvSpPr/>
            <p:nvPr/>
          </p:nvSpPr>
          <p:spPr bwMode="auto">
            <a:xfrm flipH="1" flipV="1">
              <a:off x="4696593" y="2737344"/>
              <a:ext cx="178606" cy="1317605"/>
            </a:xfrm>
            <a:prstGeom prst="bentArrow">
              <a:avLst>
                <a:gd name="adj1" fmla="val 0"/>
                <a:gd name="adj2" fmla="val 0"/>
                <a:gd name="adj3" fmla="val 0"/>
                <a:gd name="adj4" fmla="val 41956"/>
              </a:avLst>
            </a:prstGeom>
            <a:solidFill>
              <a:schemeClr val="tx2"/>
            </a:solidFill>
            <a:ln w="57150" cap="flat" cmpd="sng" algn="ctr">
              <a:solidFill>
                <a:srgbClr val="D60000"/>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363" name="Bent Arrow 33"/>
            <p:cNvSpPr/>
            <p:nvPr/>
          </p:nvSpPr>
          <p:spPr bwMode="auto">
            <a:xfrm rot="10800000" flipH="1" flipV="1">
              <a:off x="4514717" y="4054951"/>
              <a:ext cx="193415" cy="393711"/>
            </a:xfrm>
            <a:prstGeom prst="bentArrow">
              <a:avLst>
                <a:gd name="adj1" fmla="val 0"/>
                <a:gd name="adj2" fmla="val 0"/>
                <a:gd name="adj3" fmla="val 0"/>
                <a:gd name="adj4" fmla="val 58072"/>
              </a:avLst>
            </a:prstGeom>
            <a:solidFill>
              <a:schemeClr val="tx2"/>
            </a:solidFill>
            <a:ln w="57150" cap="flat" cmpd="sng" algn="ctr">
              <a:solidFill>
                <a:srgbClr val="D60000"/>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366" name="Gruppieren 149"/>
          <p:cNvGrpSpPr/>
          <p:nvPr/>
        </p:nvGrpSpPr>
        <p:grpSpPr>
          <a:xfrm rot="5400000" flipH="1" flipV="1">
            <a:off x="4334345" y="2993835"/>
            <a:ext cx="2135411" cy="1232605"/>
            <a:chOff x="4515738" y="4398027"/>
            <a:chExt cx="1546387" cy="974702"/>
          </a:xfrm>
          <a:effectLst>
            <a:glow rad="63500">
              <a:srgbClr val="FF0000">
                <a:alpha val="20000"/>
              </a:srgbClr>
            </a:glow>
          </a:effectLst>
        </p:grpSpPr>
        <p:sp>
          <p:nvSpPr>
            <p:cNvPr id="367" name="Bent Arrow 33"/>
            <p:cNvSpPr/>
            <p:nvPr/>
          </p:nvSpPr>
          <p:spPr bwMode="auto">
            <a:xfrm flipV="1">
              <a:off x="4515738" y="4398027"/>
              <a:ext cx="1157889" cy="974694"/>
            </a:xfrm>
            <a:prstGeom prst="bentArrow">
              <a:avLst>
                <a:gd name="adj1" fmla="val 0"/>
                <a:gd name="adj2" fmla="val 0"/>
                <a:gd name="adj3" fmla="val 0"/>
                <a:gd name="adj4" fmla="val 4104"/>
              </a:avLst>
            </a:prstGeom>
            <a:solidFill>
              <a:schemeClr val="tx2"/>
            </a:solidFill>
            <a:ln w="25400" cap="flat" cmpd="sng" algn="ctr">
              <a:solidFill>
                <a:srgbClr val="C00000"/>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368" name="Straight Arrow Connector 34"/>
            <p:cNvCxnSpPr/>
            <p:nvPr/>
          </p:nvCxnSpPr>
          <p:spPr bwMode="auto">
            <a:xfrm rot="16200000">
              <a:off x="5918699" y="5229302"/>
              <a:ext cx="2" cy="286851"/>
            </a:xfrm>
            <a:prstGeom prst="straightConnector1">
              <a:avLst/>
            </a:prstGeom>
            <a:solidFill>
              <a:schemeClr val="tx2"/>
            </a:solidFill>
            <a:ln w="25400" cap="flat" cmpd="sng" algn="ctr">
              <a:solidFill>
                <a:srgbClr val="C00000"/>
              </a:solidFill>
              <a:prstDash val="solid"/>
              <a:round/>
              <a:headEnd type="none" w="med" len="med"/>
              <a:tailEnd type="triangle" w="med" len="lg"/>
            </a:ln>
            <a:effectLst/>
          </p:spPr>
        </p:cxnSp>
      </p:grpSp>
      <p:grpSp>
        <p:nvGrpSpPr>
          <p:cNvPr id="369" name="Gruppieren 204"/>
          <p:cNvGrpSpPr/>
          <p:nvPr/>
        </p:nvGrpSpPr>
        <p:grpSpPr>
          <a:xfrm rot="10800000" flipV="1">
            <a:off x="4785750" y="1671703"/>
            <a:ext cx="2188723" cy="3085231"/>
            <a:chOff x="1594614" y="1921028"/>
            <a:chExt cx="52179321" cy="2716316"/>
          </a:xfrm>
          <a:effectLst>
            <a:glow rad="63500">
              <a:srgbClr val="C00000">
                <a:alpha val="20000"/>
              </a:srgbClr>
            </a:glow>
          </a:effectLst>
        </p:grpSpPr>
        <p:sp>
          <p:nvSpPr>
            <p:cNvPr id="370" name="Bent Arrow 33"/>
            <p:cNvSpPr/>
            <p:nvPr/>
          </p:nvSpPr>
          <p:spPr bwMode="auto">
            <a:xfrm rot="10800000" flipH="1">
              <a:off x="1594614" y="3254903"/>
              <a:ext cx="52179321" cy="1382441"/>
            </a:xfrm>
            <a:prstGeom prst="bentArrow">
              <a:avLst>
                <a:gd name="adj1" fmla="val 0"/>
                <a:gd name="adj2" fmla="val 0"/>
                <a:gd name="adj3" fmla="val 25000"/>
                <a:gd name="adj4" fmla="val 5081"/>
              </a:avLst>
            </a:prstGeom>
            <a:solidFill>
              <a:schemeClr val="tx2"/>
            </a:solidFill>
            <a:ln w="25400" cap="flat" cmpd="sng" algn="ctr">
              <a:solidFill>
                <a:srgbClr val="C00000"/>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371" name="Bent Arrow 33"/>
            <p:cNvSpPr/>
            <p:nvPr/>
          </p:nvSpPr>
          <p:spPr bwMode="auto">
            <a:xfrm rot="16200000" flipH="1">
              <a:off x="7888492" y="-4372842"/>
              <a:ext cx="1333869" cy="13921626"/>
            </a:xfrm>
            <a:prstGeom prst="bentArrow">
              <a:avLst>
                <a:gd name="adj1" fmla="val 0"/>
                <a:gd name="adj2" fmla="val 0"/>
                <a:gd name="adj3" fmla="val 25000"/>
                <a:gd name="adj4" fmla="val 20563"/>
              </a:avLst>
            </a:prstGeom>
            <a:solidFill>
              <a:schemeClr val="tx2"/>
            </a:solidFill>
            <a:ln w="25400" cap="flat" cmpd="sng" algn="ctr">
              <a:solidFill>
                <a:srgbClr val="C00000"/>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372" name="Straight Arrow Connector 34"/>
            <p:cNvCxnSpPr/>
            <p:nvPr/>
          </p:nvCxnSpPr>
          <p:spPr bwMode="auto">
            <a:xfrm rot="16200000">
              <a:off x="15905305" y="1593539"/>
              <a:ext cx="0" cy="654978"/>
            </a:xfrm>
            <a:prstGeom prst="straightConnector1">
              <a:avLst/>
            </a:prstGeom>
            <a:solidFill>
              <a:schemeClr val="tx2"/>
            </a:solidFill>
            <a:ln w="25400" cap="rnd" cmpd="sng" algn="ctr">
              <a:solidFill>
                <a:srgbClr val="C00000"/>
              </a:solidFill>
              <a:prstDash val="solid"/>
              <a:round/>
              <a:headEnd type="none" w="med" len="med"/>
              <a:tailEnd type="triangle" w="med" len="lg"/>
            </a:ln>
            <a:effectLst/>
          </p:spPr>
        </p:cxnSp>
      </p:grpSp>
      <p:grpSp>
        <p:nvGrpSpPr>
          <p:cNvPr id="373" name="Gruppieren 287"/>
          <p:cNvGrpSpPr/>
          <p:nvPr/>
        </p:nvGrpSpPr>
        <p:grpSpPr>
          <a:xfrm rot="10800000" flipH="1">
            <a:off x="4668012" y="3280472"/>
            <a:ext cx="540231" cy="1157220"/>
            <a:chOff x="2640784" y="2471798"/>
            <a:chExt cx="813522" cy="2549332"/>
          </a:xfrm>
          <a:effectLst>
            <a:glow rad="63500">
              <a:srgbClr val="C00000">
                <a:alpha val="20000"/>
              </a:srgbClr>
            </a:glow>
          </a:effectLst>
        </p:grpSpPr>
        <p:grpSp>
          <p:nvGrpSpPr>
            <p:cNvPr id="374" name="Gruppieren 288"/>
            <p:cNvGrpSpPr/>
            <p:nvPr/>
          </p:nvGrpSpPr>
          <p:grpSpPr>
            <a:xfrm>
              <a:off x="3072497" y="3252094"/>
              <a:ext cx="381809" cy="1769036"/>
              <a:chOff x="4591449" y="2159578"/>
              <a:chExt cx="112312" cy="1546959"/>
            </a:xfrm>
          </p:grpSpPr>
          <p:cxnSp>
            <p:nvCxnSpPr>
              <p:cNvPr id="376" name="Straight Arrow Connector 34"/>
              <p:cNvCxnSpPr/>
              <p:nvPr/>
            </p:nvCxnSpPr>
            <p:spPr bwMode="auto">
              <a:xfrm>
                <a:off x="4703759" y="3693039"/>
                <a:ext cx="0" cy="13498"/>
              </a:xfrm>
              <a:prstGeom prst="straightConnector1">
                <a:avLst/>
              </a:prstGeom>
              <a:solidFill>
                <a:schemeClr val="tx2"/>
              </a:solidFill>
              <a:ln w="25400" cap="flat" cmpd="sng" algn="ctr">
                <a:solidFill>
                  <a:srgbClr val="C00000"/>
                </a:solidFill>
                <a:prstDash val="solid"/>
                <a:round/>
                <a:headEnd type="none" w="med" len="med"/>
                <a:tailEnd type="triangle" w="med" len="lg"/>
              </a:ln>
              <a:effectLst/>
            </p:spPr>
          </p:cxnSp>
          <p:sp>
            <p:nvSpPr>
              <p:cNvPr id="377" name="Bent Arrow 33"/>
              <p:cNvSpPr/>
              <p:nvPr/>
            </p:nvSpPr>
            <p:spPr bwMode="auto">
              <a:xfrm rot="10800000" flipV="1">
                <a:off x="4591449" y="2159578"/>
                <a:ext cx="112312" cy="1435594"/>
              </a:xfrm>
              <a:prstGeom prst="bentArrow">
                <a:avLst>
                  <a:gd name="adj1" fmla="val 0"/>
                  <a:gd name="adj2" fmla="val 0"/>
                  <a:gd name="adj3" fmla="val 0"/>
                  <a:gd name="adj4" fmla="val 31758"/>
                </a:avLst>
              </a:prstGeom>
              <a:solidFill>
                <a:schemeClr val="tx2"/>
              </a:solidFill>
              <a:ln w="25400" cap="flat" cmpd="sng" algn="ctr">
                <a:solidFill>
                  <a:srgbClr val="C00000"/>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sp>
          <p:nvSpPr>
            <p:cNvPr id="375" name="Bent Arrow 33"/>
            <p:cNvSpPr/>
            <p:nvPr/>
          </p:nvSpPr>
          <p:spPr bwMode="auto">
            <a:xfrm flipV="1">
              <a:off x="2640784" y="2471798"/>
              <a:ext cx="431695" cy="780296"/>
            </a:xfrm>
            <a:prstGeom prst="bentArrow">
              <a:avLst>
                <a:gd name="adj1" fmla="val 0"/>
                <a:gd name="adj2" fmla="val 0"/>
                <a:gd name="adj3" fmla="val 0"/>
                <a:gd name="adj4" fmla="val 14073"/>
              </a:avLst>
            </a:prstGeom>
            <a:solidFill>
              <a:schemeClr val="tx2"/>
            </a:solidFill>
            <a:ln w="25400" cap="flat" cmpd="sng" algn="ctr">
              <a:solidFill>
                <a:srgbClr val="C00000"/>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378" name="Gruppieren 287"/>
          <p:cNvGrpSpPr/>
          <p:nvPr/>
        </p:nvGrpSpPr>
        <p:grpSpPr>
          <a:xfrm>
            <a:off x="4718724" y="4802038"/>
            <a:ext cx="866571" cy="389325"/>
            <a:chOff x="2640784" y="2471791"/>
            <a:chExt cx="813522" cy="2549339"/>
          </a:xfrm>
          <a:effectLst>
            <a:glow rad="63500">
              <a:srgbClr val="C00000">
                <a:alpha val="20000"/>
              </a:srgbClr>
            </a:glow>
          </a:effectLst>
        </p:grpSpPr>
        <p:grpSp>
          <p:nvGrpSpPr>
            <p:cNvPr id="379" name="Gruppieren 288"/>
            <p:cNvGrpSpPr/>
            <p:nvPr/>
          </p:nvGrpSpPr>
          <p:grpSpPr>
            <a:xfrm>
              <a:off x="3072497" y="3610812"/>
              <a:ext cx="381809" cy="1410318"/>
              <a:chOff x="4591449" y="2473264"/>
              <a:chExt cx="112312" cy="1233273"/>
            </a:xfrm>
          </p:grpSpPr>
          <p:cxnSp>
            <p:nvCxnSpPr>
              <p:cNvPr id="381" name="Straight Arrow Connector 34"/>
              <p:cNvCxnSpPr/>
              <p:nvPr/>
            </p:nvCxnSpPr>
            <p:spPr bwMode="auto">
              <a:xfrm>
                <a:off x="4703759" y="3693039"/>
                <a:ext cx="0" cy="13498"/>
              </a:xfrm>
              <a:prstGeom prst="straightConnector1">
                <a:avLst/>
              </a:prstGeom>
              <a:solidFill>
                <a:schemeClr val="tx2"/>
              </a:solidFill>
              <a:ln w="25400" cap="flat" cmpd="sng" algn="ctr">
                <a:solidFill>
                  <a:srgbClr val="C00000"/>
                </a:solidFill>
                <a:prstDash val="solid"/>
                <a:round/>
                <a:headEnd type="none" w="med" len="med"/>
                <a:tailEnd type="triangle" w="med" len="lg"/>
              </a:ln>
              <a:effectLst/>
            </p:spPr>
          </p:cxnSp>
          <p:sp>
            <p:nvSpPr>
              <p:cNvPr id="382" name="Bent Arrow 33"/>
              <p:cNvSpPr/>
              <p:nvPr/>
            </p:nvSpPr>
            <p:spPr bwMode="auto">
              <a:xfrm rot="10800000" flipV="1">
                <a:off x="4591449" y="2473264"/>
                <a:ext cx="112312" cy="1121906"/>
              </a:xfrm>
              <a:prstGeom prst="bentArrow">
                <a:avLst>
                  <a:gd name="adj1" fmla="val 0"/>
                  <a:gd name="adj2" fmla="val 0"/>
                  <a:gd name="adj3" fmla="val 0"/>
                  <a:gd name="adj4" fmla="val 31758"/>
                </a:avLst>
              </a:prstGeom>
              <a:solidFill>
                <a:schemeClr val="tx2"/>
              </a:solidFill>
              <a:ln w="25400" cap="flat" cmpd="sng" algn="ctr">
                <a:solidFill>
                  <a:srgbClr val="C00000"/>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sp>
          <p:nvSpPr>
            <p:cNvPr id="380" name="Bent Arrow 33"/>
            <p:cNvSpPr/>
            <p:nvPr/>
          </p:nvSpPr>
          <p:spPr bwMode="auto">
            <a:xfrm flipV="1">
              <a:off x="2640784" y="2471791"/>
              <a:ext cx="431695" cy="1139022"/>
            </a:xfrm>
            <a:prstGeom prst="bentArrow">
              <a:avLst>
                <a:gd name="adj1" fmla="val 0"/>
                <a:gd name="adj2" fmla="val 0"/>
                <a:gd name="adj3" fmla="val 0"/>
                <a:gd name="adj4" fmla="val 30762"/>
              </a:avLst>
            </a:prstGeom>
            <a:solidFill>
              <a:schemeClr val="tx2"/>
            </a:solidFill>
            <a:ln w="25400" cap="flat" cmpd="sng" algn="ctr">
              <a:solidFill>
                <a:srgbClr val="C00000"/>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387" name="Gruppieren 288"/>
          <p:cNvGrpSpPr/>
          <p:nvPr/>
        </p:nvGrpSpPr>
        <p:grpSpPr>
          <a:xfrm rot="16200000" flipH="1" flipV="1">
            <a:off x="2983608" y="3600369"/>
            <a:ext cx="210050" cy="2610477"/>
            <a:chOff x="4599957" y="2159580"/>
            <a:chExt cx="103910" cy="1546957"/>
          </a:xfrm>
          <a:effectLst>
            <a:glow rad="63500">
              <a:srgbClr val="C00000">
                <a:alpha val="20000"/>
              </a:srgbClr>
            </a:glow>
          </a:effectLst>
        </p:grpSpPr>
        <p:cxnSp>
          <p:nvCxnSpPr>
            <p:cNvPr id="389" name="Straight Arrow Connector 34"/>
            <p:cNvCxnSpPr/>
            <p:nvPr/>
          </p:nvCxnSpPr>
          <p:spPr bwMode="auto">
            <a:xfrm>
              <a:off x="4703759" y="3693039"/>
              <a:ext cx="0" cy="13498"/>
            </a:xfrm>
            <a:prstGeom prst="straightConnector1">
              <a:avLst/>
            </a:prstGeom>
            <a:solidFill>
              <a:schemeClr val="tx2"/>
            </a:solidFill>
            <a:ln w="25400" cap="flat" cmpd="sng" algn="ctr">
              <a:solidFill>
                <a:srgbClr val="C00000"/>
              </a:solidFill>
              <a:prstDash val="solid"/>
              <a:round/>
              <a:headEnd type="none" w="med" len="med"/>
              <a:tailEnd type="triangle" w="med" len="lg"/>
            </a:ln>
            <a:effectLst/>
          </p:spPr>
        </p:cxnSp>
        <p:sp>
          <p:nvSpPr>
            <p:cNvPr id="390" name="Bent Arrow 33"/>
            <p:cNvSpPr/>
            <p:nvPr/>
          </p:nvSpPr>
          <p:spPr bwMode="auto">
            <a:xfrm rot="10800000" flipV="1">
              <a:off x="4599957" y="2159580"/>
              <a:ext cx="103910" cy="1481500"/>
            </a:xfrm>
            <a:prstGeom prst="bentArrow">
              <a:avLst>
                <a:gd name="adj1" fmla="val 0"/>
                <a:gd name="adj2" fmla="val 0"/>
                <a:gd name="adj3" fmla="val 0"/>
                <a:gd name="adj4" fmla="val 31758"/>
              </a:avLst>
            </a:prstGeom>
            <a:solidFill>
              <a:schemeClr val="tx2"/>
            </a:solidFill>
            <a:ln w="25400" cap="flat" cmpd="sng" algn="ctr">
              <a:solidFill>
                <a:srgbClr val="C00000"/>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391" name="Gruppieren 287"/>
          <p:cNvGrpSpPr/>
          <p:nvPr/>
        </p:nvGrpSpPr>
        <p:grpSpPr>
          <a:xfrm flipH="1" flipV="1">
            <a:off x="3804308" y="4019814"/>
            <a:ext cx="623811" cy="409927"/>
            <a:chOff x="2640785" y="2471785"/>
            <a:chExt cx="813521" cy="2549343"/>
          </a:xfrm>
          <a:effectLst>
            <a:glow rad="63500">
              <a:srgbClr val="C00000">
                <a:alpha val="20000"/>
              </a:srgbClr>
            </a:glow>
          </a:effectLst>
        </p:grpSpPr>
        <p:grpSp>
          <p:nvGrpSpPr>
            <p:cNvPr id="392" name="Gruppieren 288"/>
            <p:cNvGrpSpPr/>
            <p:nvPr/>
          </p:nvGrpSpPr>
          <p:grpSpPr>
            <a:xfrm>
              <a:off x="3072497" y="3828084"/>
              <a:ext cx="381809" cy="1193044"/>
              <a:chOff x="4591449" y="2663262"/>
              <a:chExt cx="112312" cy="1043275"/>
            </a:xfrm>
          </p:grpSpPr>
          <p:cxnSp>
            <p:nvCxnSpPr>
              <p:cNvPr id="394" name="Straight Arrow Connector 34"/>
              <p:cNvCxnSpPr/>
              <p:nvPr/>
            </p:nvCxnSpPr>
            <p:spPr bwMode="auto">
              <a:xfrm>
                <a:off x="4703759" y="3693039"/>
                <a:ext cx="0" cy="13498"/>
              </a:xfrm>
              <a:prstGeom prst="straightConnector1">
                <a:avLst/>
              </a:prstGeom>
              <a:solidFill>
                <a:schemeClr val="tx2"/>
              </a:solidFill>
              <a:ln w="25400" cap="flat" cmpd="sng" algn="ctr">
                <a:solidFill>
                  <a:srgbClr val="C00000"/>
                </a:solidFill>
                <a:prstDash val="solid"/>
                <a:round/>
                <a:headEnd type="none" w="med" len="med"/>
                <a:tailEnd type="triangle" w="med" len="lg"/>
              </a:ln>
              <a:effectLst/>
            </p:spPr>
          </p:cxnSp>
          <p:sp>
            <p:nvSpPr>
              <p:cNvPr id="395" name="Bent Arrow 33"/>
              <p:cNvSpPr/>
              <p:nvPr/>
            </p:nvSpPr>
            <p:spPr bwMode="auto">
              <a:xfrm rot="10800000" flipV="1">
                <a:off x="4591449" y="2663262"/>
                <a:ext cx="112312" cy="931914"/>
              </a:xfrm>
              <a:prstGeom prst="bentArrow">
                <a:avLst>
                  <a:gd name="adj1" fmla="val 0"/>
                  <a:gd name="adj2" fmla="val 0"/>
                  <a:gd name="adj3" fmla="val 0"/>
                  <a:gd name="adj4" fmla="val 31758"/>
                </a:avLst>
              </a:prstGeom>
              <a:solidFill>
                <a:schemeClr val="tx2"/>
              </a:solidFill>
              <a:ln w="25400" cap="flat" cmpd="sng" algn="ctr">
                <a:solidFill>
                  <a:srgbClr val="C00000"/>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sp>
          <p:nvSpPr>
            <p:cNvPr id="393" name="Bent Arrow 33"/>
            <p:cNvSpPr/>
            <p:nvPr/>
          </p:nvSpPr>
          <p:spPr bwMode="auto">
            <a:xfrm flipV="1">
              <a:off x="2640785" y="2471785"/>
              <a:ext cx="431694" cy="1356293"/>
            </a:xfrm>
            <a:prstGeom prst="bentArrow">
              <a:avLst>
                <a:gd name="adj1" fmla="val 0"/>
                <a:gd name="adj2" fmla="val 0"/>
                <a:gd name="adj3" fmla="val 0"/>
                <a:gd name="adj4" fmla="val 30762"/>
              </a:avLst>
            </a:prstGeom>
            <a:solidFill>
              <a:schemeClr val="tx2"/>
            </a:solidFill>
            <a:ln w="25400" cap="flat" cmpd="sng" algn="ctr">
              <a:solidFill>
                <a:srgbClr val="C00000"/>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grpSp>
      <p:grpSp>
        <p:nvGrpSpPr>
          <p:cNvPr id="396" name="Gruppieren 204"/>
          <p:cNvGrpSpPr/>
          <p:nvPr/>
        </p:nvGrpSpPr>
        <p:grpSpPr>
          <a:xfrm rot="16200000">
            <a:off x="2050339" y="3271588"/>
            <a:ext cx="1334953" cy="3651264"/>
            <a:chOff x="1594614" y="1921028"/>
            <a:chExt cx="14638180" cy="2716315"/>
          </a:xfrm>
          <a:effectLst>
            <a:glow rad="63500">
              <a:srgbClr val="C00000">
                <a:alpha val="20000"/>
              </a:srgbClr>
            </a:glow>
          </a:effectLst>
        </p:grpSpPr>
        <p:sp>
          <p:nvSpPr>
            <p:cNvPr id="397" name="Bent Arrow 33"/>
            <p:cNvSpPr/>
            <p:nvPr/>
          </p:nvSpPr>
          <p:spPr bwMode="auto">
            <a:xfrm rot="10800000" flipH="1">
              <a:off x="1594614" y="3254902"/>
              <a:ext cx="10571803" cy="1382441"/>
            </a:xfrm>
            <a:prstGeom prst="bentArrow">
              <a:avLst>
                <a:gd name="adj1" fmla="val 0"/>
                <a:gd name="adj2" fmla="val 0"/>
                <a:gd name="adj3" fmla="val 25000"/>
                <a:gd name="adj4" fmla="val 7105"/>
              </a:avLst>
            </a:prstGeom>
            <a:solidFill>
              <a:schemeClr val="tx2"/>
            </a:solidFill>
            <a:ln w="25400" cap="flat" cmpd="sng" algn="ctr">
              <a:solidFill>
                <a:srgbClr val="C00000"/>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398" name="Bent Arrow 33"/>
            <p:cNvSpPr/>
            <p:nvPr/>
          </p:nvSpPr>
          <p:spPr bwMode="auto">
            <a:xfrm rot="16200000" flipH="1">
              <a:off x="7888494" y="-4372844"/>
              <a:ext cx="1333869" cy="13921630"/>
            </a:xfrm>
            <a:prstGeom prst="bentArrow">
              <a:avLst>
                <a:gd name="adj1" fmla="val 0"/>
                <a:gd name="adj2" fmla="val 0"/>
                <a:gd name="adj3" fmla="val 25000"/>
                <a:gd name="adj4" fmla="val 4123"/>
              </a:avLst>
            </a:prstGeom>
            <a:solidFill>
              <a:schemeClr val="tx2"/>
            </a:solidFill>
            <a:ln w="25400" cap="flat" cmpd="sng" algn="ctr">
              <a:solidFill>
                <a:srgbClr val="C00000"/>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399" name="Straight Arrow Connector 34"/>
            <p:cNvCxnSpPr/>
            <p:nvPr/>
          </p:nvCxnSpPr>
          <p:spPr bwMode="auto">
            <a:xfrm rot="16200000">
              <a:off x="15905305" y="1593539"/>
              <a:ext cx="0" cy="654978"/>
            </a:xfrm>
            <a:prstGeom prst="straightConnector1">
              <a:avLst/>
            </a:prstGeom>
            <a:solidFill>
              <a:schemeClr val="tx2"/>
            </a:solidFill>
            <a:ln w="25400" cap="rnd" cmpd="sng" algn="ctr">
              <a:solidFill>
                <a:srgbClr val="C00000"/>
              </a:solidFill>
              <a:prstDash val="solid"/>
              <a:round/>
              <a:headEnd type="none" w="med" len="med"/>
              <a:tailEnd type="triangle" w="med" len="lg"/>
            </a:ln>
            <a:effectLst/>
          </p:spPr>
        </p:cxnSp>
      </p:grpSp>
      <p:grpSp>
        <p:nvGrpSpPr>
          <p:cNvPr id="400" name="Gruppieren 399"/>
          <p:cNvGrpSpPr/>
          <p:nvPr/>
        </p:nvGrpSpPr>
        <p:grpSpPr>
          <a:xfrm rot="10800000">
            <a:off x="4720572" y="3526964"/>
            <a:ext cx="1789375" cy="902663"/>
            <a:chOff x="592692" y="1515266"/>
            <a:chExt cx="259603" cy="735271"/>
          </a:xfrm>
          <a:effectLst>
            <a:glow rad="63500">
              <a:srgbClr val="C00000">
                <a:alpha val="20000"/>
              </a:srgbClr>
            </a:glow>
          </a:effectLst>
        </p:grpSpPr>
        <p:cxnSp>
          <p:nvCxnSpPr>
            <p:cNvPr id="403" name="Gerader Verbinder 402"/>
            <p:cNvCxnSpPr/>
            <p:nvPr/>
          </p:nvCxnSpPr>
          <p:spPr bwMode="auto">
            <a:xfrm rot="10800000" flipV="1">
              <a:off x="852295" y="1515266"/>
              <a:ext cx="0" cy="247143"/>
            </a:xfrm>
            <a:prstGeom prst="line">
              <a:avLst/>
            </a:prstGeom>
            <a:solidFill>
              <a:schemeClr val="accent1"/>
            </a:solidFill>
            <a:ln w="25400" cap="flat" cmpd="sng" algn="ctr">
              <a:solidFill>
                <a:srgbClr val="C00000"/>
              </a:solidFill>
              <a:prstDash val="dash"/>
              <a:round/>
              <a:headEnd type="none" w="med" len="med"/>
              <a:tailEnd type="none" w="med" len="med"/>
            </a:ln>
            <a:effectLst/>
          </p:spPr>
        </p:cxnSp>
        <p:cxnSp>
          <p:nvCxnSpPr>
            <p:cNvPr id="404" name="Gerader Verbinder 403"/>
            <p:cNvCxnSpPr/>
            <p:nvPr/>
          </p:nvCxnSpPr>
          <p:spPr bwMode="auto">
            <a:xfrm flipV="1">
              <a:off x="594932" y="1770063"/>
              <a:ext cx="256909" cy="0"/>
            </a:xfrm>
            <a:prstGeom prst="line">
              <a:avLst/>
            </a:prstGeom>
            <a:solidFill>
              <a:schemeClr val="accent1"/>
            </a:solidFill>
            <a:ln w="25400" cap="flat" cmpd="sng" algn="ctr">
              <a:solidFill>
                <a:srgbClr val="C00000"/>
              </a:solidFill>
              <a:prstDash val="dash"/>
              <a:round/>
              <a:headEnd type="none" w="med" len="med"/>
              <a:tailEnd type="none" w="med" len="med"/>
            </a:ln>
            <a:effectLst/>
          </p:spPr>
        </p:cxnSp>
        <p:cxnSp>
          <p:nvCxnSpPr>
            <p:cNvPr id="405" name="Gerader Verbinder 404"/>
            <p:cNvCxnSpPr/>
            <p:nvPr/>
          </p:nvCxnSpPr>
          <p:spPr bwMode="auto">
            <a:xfrm rot="10800000">
              <a:off x="592692" y="1766482"/>
              <a:ext cx="0" cy="351889"/>
            </a:xfrm>
            <a:prstGeom prst="line">
              <a:avLst/>
            </a:prstGeom>
            <a:solidFill>
              <a:schemeClr val="accent1"/>
            </a:solidFill>
            <a:ln w="25400" cap="flat" cmpd="sng" algn="ctr">
              <a:solidFill>
                <a:srgbClr val="C00000"/>
              </a:solidFill>
              <a:prstDash val="dash"/>
              <a:round/>
              <a:headEnd type="none" w="med" len="med"/>
              <a:tailEnd type="none" w="med" len="med"/>
            </a:ln>
            <a:effectLst/>
          </p:spPr>
        </p:cxnSp>
        <p:cxnSp>
          <p:nvCxnSpPr>
            <p:cNvPr id="406" name="Straight Arrow Connector 34"/>
            <p:cNvCxnSpPr/>
            <p:nvPr/>
          </p:nvCxnSpPr>
          <p:spPr bwMode="auto">
            <a:xfrm>
              <a:off x="592733" y="2127191"/>
              <a:ext cx="0" cy="123346"/>
            </a:xfrm>
            <a:prstGeom prst="straightConnector1">
              <a:avLst/>
            </a:prstGeom>
            <a:solidFill>
              <a:schemeClr val="tx2"/>
            </a:solidFill>
            <a:ln w="25400" cap="rnd" cmpd="sng" algn="ctr">
              <a:solidFill>
                <a:srgbClr val="C00000"/>
              </a:solidFill>
              <a:prstDash val="solid"/>
              <a:round/>
              <a:headEnd type="none" w="med" len="med"/>
              <a:tailEnd type="triangle" w="med" len="lg"/>
            </a:ln>
            <a:effectLst/>
          </p:spPr>
        </p:cxnSp>
      </p:grpSp>
      <p:sp>
        <p:nvSpPr>
          <p:cNvPr id="352" name="Abgerundetes Rechteck 1"/>
          <p:cNvSpPr/>
          <p:nvPr/>
        </p:nvSpPr>
        <p:spPr>
          <a:xfrm>
            <a:off x="7896556" y="5983604"/>
            <a:ext cx="1834820" cy="318506"/>
          </a:xfrm>
          <a:prstGeom prst="roundRect">
            <a:avLst>
              <a:gd name="adj" fmla="val 3256"/>
            </a:avLst>
          </a:prstGeom>
          <a:solidFill>
            <a:srgbClr val="FF6600"/>
          </a:solidFill>
          <a:effectLst>
            <a:outerShdw blurRad="63500" dist="12700" dir="5400000" algn="t" rotWithShape="0">
              <a:prstClr val="black">
                <a:alpha val="23000"/>
              </a:prstClr>
            </a:outerShdw>
          </a:effectLst>
        </p:spPr>
        <p:txBody>
          <a:bodyPr wrap="square" lIns="47531" tIns="23766" rIns="0" bIns="47531" anchor="ctr">
            <a:noAutofit/>
          </a:bodyPr>
          <a:lstStyle/>
          <a:p>
            <a:pPr lvl="0" defTabSz="742950" eaLnBrk="1" hangingPunct="1">
              <a:spcAft>
                <a:spcPct val="0"/>
              </a:spcAft>
              <a:defRPr/>
            </a:pPr>
            <a:r>
              <a:rPr lang="de-DE" sz="1100" b="1" kern="0" dirty="0">
                <a:solidFill>
                  <a:srgbClr val="000000"/>
                </a:solidFill>
                <a:latin typeface="Arial" panose="020B0604020202020204" pitchFamily="34" charset="0"/>
                <a:cs typeface="Arial" panose="020B0604020202020204" pitchFamily="34" charset="0"/>
              </a:rPr>
              <a:t>K</a:t>
            </a:r>
            <a:r>
              <a:rPr lang="de-DE" sz="1100" b="1" kern="0" dirty="0" smtClean="0">
                <a:solidFill>
                  <a:srgbClr val="000000"/>
                </a:solidFill>
                <a:latin typeface="Arial" panose="020B0604020202020204" pitchFamily="34" charset="0"/>
                <a:cs typeface="Arial" panose="020B0604020202020204" pitchFamily="34" charset="0"/>
              </a:rPr>
              <a:t>licken Sie </a:t>
            </a:r>
            <a:r>
              <a:rPr lang="de-DE" sz="1100" b="1" kern="0" dirty="0">
                <a:solidFill>
                  <a:srgbClr val="000000"/>
                </a:solidFill>
                <a:latin typeface="Arial" panose="020B0604020202020204" pitchFamily="34" charset="0"/>
                <a:cs typeface="Arial" panose="020B0604020202020204" pitchFamily="34" charset="0"/>
              </a:rPr>
              <a:t>8</a:t>
            </a:r>
            <a:r>
              <a:rPr lang="de-DE" sz="1100" b="1" kern="0" dirty="0" smtClean="0">
                <a:solidFill>
                  <a:srgbClr val="000000"/>
                </a:solidFill>
                <a:latin typeface="Arial" panose="020B0604020202020204" pitchFamily="34" charset="0"/>
                <a:cs typeface="Arial" panose="020B0604020202020204" pitchFamily="34" charset="0"/>
              </a:rPr>
              <a:t>x, </a:t>
            </a:r>
            <a:r>
              <a:rPr lang="de-DE" sz="1100" b="1" kern="0" dirty="0">
                <a:solidFill>
                  <a:srgbClr val="000000"/>
                </a:solidFill>
                <a:latin typeface="Arial" panose="020B0604020202020204" pitchFamily="34" charset="0"/>
                <a:cs typeface="Arial" panose="020B0604020202020204" pitchFamily="34" charset="0"/>
              </a:rPr>
              <a:t>um die </a:t>
            </a:r>
            <a:r>
              <a:rPr lang="de-DE" sz="1100" b="1" kern="0" dirty="0" smtClean="0">
                <a:solidFill>
                  <a:srgbClr val="000000"/>
                </a:solidFill>
                <a:latin typeface="Arial" panose="020B0604020202020204" pitchFamily="34" charset="0"/>
                <a:cs typeface="Arial" panose="020B0604020202020204" pitchFamily="34" charset="0"/>
              </a:rPr>
              <a:t>Systemdynamik </a:t>
            </a:r>
            <a:r>
              <a:rPr lang="de-DE" sz="1100" b="1" kern="0" dirty="0">
                <a:solidFill>
                  <a:srgbClr val="000000"/>
                </a:solidFill>
                <a:latin typeface="Arial" panose="020B0604020202020204" pitchFamily="34" charset="0"/>
                <a:cs typeface="Arial" panose="020B0604020202020204" pitchFamily="34" charset="0"/>
              </a:rPr>
              <a:t>zu sehen. </a:t>
            </a:r>
          </a:p>
        </p:txBody>
      </p:sp>
      <p:grpSp>
        <p:nvGrpSpPr>
          <p:cNvPr id="350" name="Gruppieren 349"/>
          <p:cNvGrpSpPr/>
          <p:nvPr/>
        </p:nvGrpSpPr>
        <p:grpSpPr>
          <a:xfrm rot="5400000" flipH="1">
            <a:off x="3105012" y="1906562"/>
            <a:ext cx="55882" cy="1959983"/>
            <a:chOff x="4418052" y="2915904"/>
            <a:chExt cx="428089" cy="1541910"/>
          </a:xfrm>
          <a:effectLst>
            <a:glow rad="63500">
              <a:srgbClr val="0000FF">
                <a:alpha val="20000"/>
              </a:srgbClr>
            </a:glow>
          </a:effectLst>
        </p:grpSpPr>
        <p:sp>
          <p:nvSpPr>
            <p:cNvPr id="353" name="Bent Arrow 33"/>
            <p:cNvSpPr/>
            <p:nvPr/>
          </p:nvSpPr>
          <p:spPr bwMode="auto">
            <a:xfrm rot="5400000" flipH="1">
              <a:off x="4134228" y="3199728"/>
              <a:ext cx="917896" cy="350248"/>
            </a:xfrm>
            <a:prstGeom prst="bentArrow">
              <a:avLst>
                <a:gd name="adj1" fmla="val 0"/>
                <a:gd name="adj2" fmla="val 0"/>
                <a:gd name="adj3" fmla="val 25000"/>
                <a:gd name="adj4" fmla="val 24803"/>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sp>
          <p:nvSpPr>
            <p:cNvPr id="362" name="Bent Arrow 33"/>
            <p:cNvSpPr/>
            <p:nvPr/>
          </p:nvSpPr>
          <p:spPr bwMode="auto">
            <a:xfrm rot="10800000" flipH="1" flipV="1">
              <a:off x="4495896" y="3833799"/>
              <a:ext cx="350245" cy="486668"/>
            </a:xfrm>
            <a:prstGeom prst="bentArrow">
              <a:avLst>
                <a:gd name="adj1" fmla="val 0"/>
                <a:gd name="adj2" fmla="val 0"/>
                <a:gd name="adj3" fmla="val 25000"/>
                <a:gd name="adj4" fmla="val 26253"/>
              </a:avLst>
            </a:prstGeom>
            <a:solidFill>
              <a:schemeClr val="tx2"/>
            </a:solidFill>
            <a:ln w="25400" cap="flat" cmpd="sng" algn="ctr">
              <a:solidFill>
                <a:srgbClr val="7979FF"/>
              </a:solidFill>
              <a:prstDash val="solid"/>
              <a:bevel/>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algn="ctr">
                <a:spcBef>
                  <a:spcPts val="0"/>
                </a:spcBef>
                <a:spcAft>
                  <a:spcPts val="0"/>
                </a:spcAft>
              </a:pPr>
              <a:endParaRPr lang="de-DE" sz="1200" b="1" dirty="0" smtClean="0">
                <a:solidFill>
                  <a:srgbClr val="FFFFFF"/>
                </a:solidFill>
              </a:endParaRPr>
            </a:p>
          </p:txBody>
        </p:sp>
        <p:cxnSp>
          <p:nvCxnSpPr>
            <p:cNvPr id="383" name="Straight Arrow Connector 34"/>
            <p:cNvCxnSpPr/>
            <p:nvPr/>
          </p:nvCxnSpPr>
          <p:spPr bwMode="auto">
            <a:xfrm>
              <a:off x="4495658" y="4309227"/>
              <a:ext cx="0" cy="148587"/>
            </a:xfrm>
            <a:prstGeom prst="straightConnector1">
              <a:avLst/>
            </a:prstGeom>
            <a:solidFill>
              <a:schemeClr val="tx2"/>
            </a:solidFill>
            <a:ln w="25400" cap="rnd" cmpd="sng" algn="ctr">
              <a:solidFill>
                <a:srgbClr val="7979FF"/>
              </a:solidFill>
              <a:prstDash val="solid"/>
              <a:round/>
              <a:headEnd type="none" w="med" len="med"/>
              <a:tailEnd type="triangle" w="med" len="lg"/>
            </a:ln>
            <a:effectLst/>
          </p:spPr>
        </p:cxnSp>
      </p:grpSp>
      <p:sp>
        <p:nvSpPr>
          <p:cNvPr id="384" name="Textfeld 35"/>
          <p:cNvSpPr txBox="1"/>
          <p:nvPr/>
        </p:nvSpPr>
        <p:spPr>
          <a:xfrm>
            <a:off x="5307861" y="6124177"/>
            <a:ext cx="1667123" cy="138499"/>
          </a:xfrm>
          <a:prstGeom prst="rect">
            <a:avLst/>
          </a:prstGeom>
          <a:ln algn="ctr"/>
        </p:spPr>
        <p:txBody>
          <a:bodyPr wrap="none" lIns="0" tIns="0" rIns="0" bIns="0" rtlCol="0" anchor="t">
            <a:spAutoFit/>
          </a:bodyPr>
          <a:lstStyle/>
          <a:p>
            <a:pPr eaLnBrk="1" hangingPunct="1">
              <a:spcAft>
                <a:spcPct val="0"/>
              </a:spcAft>
            </a:pPr>
            <a:r>
              <a:rPr kumimoji="0" lang="de-DE" sz="900" i="0" u="none" strike="noStrike" kern="0" cap="none" spc="0" normalizeH="0" baseline="0" noProof="0" dirty="0" smtClean="0">
                <a:ln>
                  <a:noFill/>
                </a:ln>
                <a:solidFill>
                  <a:schemeClr val="tx1"/>
                </a:solidFill>
                <a:effectLst/>
                <a:uLnTx/>
                <a:uFillTx/>
                <a:latin typeface="Arial" panose="020B0604020202020204" pitchFamily="34" charset="0"/>
                <a:ea typeface="+mj-ea"/>
                <a:cs typeface="Arial" panose="020B0604020202020204" pitchFamily="34" charset="0"/>
              </a:rPr>
              <a:t>Beschreibung der Faktoren: </a:t>
            </a:r>
            <a:r>
              <a:rPr lang="de-DE" sz="900" kern="0" dirty="0">
                <a:latin typeface="Arial" panose="020B0604020202020204" pitchFamily="34" charset="0"/>
                <a:cs typeface="Arial" panose="020B0604020202020204" pitchFamily="34" charset="0"/>
                <a:hlinkClick r:id="" action="ppaction://noaction"/>
              </a:rPr>
              <a:t>Link</a:t>
            </a:r>
            <a:endParaRPr lang="de-DE" sz="900" kern="0" dirty="0">
              <a:latin typeface="Arial" panose="020B0604020202020204" pitchFamily="34" charset="0"/>
              <a:cs typeface="Arial" panose="020B0604020202020204" pitchFamily="34" charset="0"/>
            </a:endParaRPr>
          </a:p>
        </p:txBody>
      </p:sp>
      <p:cxnSp>
        <p:nvCxnSpPr>
          <p:cNvPr id="385" name="Gerade Verbindung mit Pfeil 8"/>
          <p:cNvCxnSpPr/>
          <p:nvPr/>
        </p:nvCxnSpPr>
        <p:spPr bwMode="auto">
          <a:xfrm>
            <a:off x="5093085" y="6702736"/>
            <a:ext cx="252000" cy="0"/>
          </a:xfrm>
          <a:prstGeom prst="straightConnector1">
            <a:avLst/>
          </a:prstGeom>
          <a:noFill/>
          <a:ln w="9525" cap="rnd" cmpd="sng" algn="ctr">
            <a:solidFill>
              <a:schemeClr val="tx1"/>
            </a:solidFill>
            <a:prstDash val="sysDash"/>
            <a:round/>
            <a:headEnd type="none" w="med" len="med"/>
            <a:tailEnd type="triangle" w="sm" len="med"/>
          </a:ln>
          <a:effectLst/>
        </p:spPr>
      </p:cxnSp>
      <p:cxnSp>
        <p:nvCxnSpPr>
          <p:cNvPr id="386" name="Gerade Verbindung mit Pfeil 41"/>
          <p:cNvCxnSpPr/>
          <p:nvPr/>
        </p:nvCxnSpPr>
        <p:spPr bwMode="auto">
          <a:xfrm>
            <a:off x="5093085" y="6525721"/>
            <a:ext cx="256708" cy="0"/>
          </a:xfrm>
          <a:prstGeom prst="straightConnector1">
            <a:avLst/>
          </a:prstGeom>
          <a:noFill/>
          <a:ln w="9525" cap="rnd" cmpd="sng" algn="ctr">
            <a:solidFill>
              <a:schemeClr val="tx1"/>
            </a:solidFill>
            <a:prstDash val="solid"/>
            <a:round/>
            <a:headEnd type="none" w="med" len="med"/>
            <a:tailEnd type="triangle" w="sm" len="med"/>
          </a:ln>
          <a:effectLst/>
        </p:spPr>
      </p:cxnSp>
      <p:sp>
        <p:nvSpPr>
          <p:cNvPr id="388" name="Rechteck 42"/>
          <p:cNvSpPr/>
          <p:nvPr/>
        </p:nvSpPr>
        <p:spPr>
          <a:xfrm>
            <a:off x="5307861" y="6420432"/>
            <a:ext cx="4201662" cy="408060"/>
          </a:xfrm>
          <a:prstGeom prst="rect">
            <a:avLst/>
          </a:prstGeom>
        </p:spPr>
        <p:txBody>
          <a:bodyPr wrap="square">
            <a:spAutoFit/>
          </a:bodyPr>
          <a:lstStyle/>
          <a:p>
            <a:pPr>
              <a:lnSpc>
                <a:spcPct val="114000"/>
              </a:lnSpc>
              <a:spcAft>
                <a:spcPts val="0"/>
              </a:spcAft>
            </a:pPr>
            <a:r>
              <a:rPr lang="de-DE" sz="900" b="1" dirty="0" smtClean="0">
                <a:solidFill>
                  <a:srgbClr val="000000"/>
                </a:solidFill>
                <a:latin typeface="Arial" panose="020B0604020202020204" pitchFamily="34" charset="0"/>
                <a:cs typeface="Arial" panose="020B0604020202020204" pitchFamily="34" charset="0"/>
              </a:rPr>
              <a:t>Gleichgerichtete Beziehung</a:t>
            </a:r>
            <a:r>
              <a:rPr lang="de-DE" sz="900" dirty="0" smtClean="0">
                <a:solidFill>
                  <a:srgbClr val="000000"/>
                </a:solidFill>
                <a:latin typeface="Arial" panose="020B0604020202020204" pitchFamily="34" charset="0"/>
                <a:cs typeface="Arial" panose="020B0604020202020204" pitchFamily="34" charset="0"/>
              </a:rPr>
              <a:t>: Je mehr, desto mehr / je weniger, desto weniger</a:t>
            </a:r>
            <a:br>
              <a:rPr lang="de-DE" sz="900" dirty="0" smtClean="0">
                <a:solidFill>
                  <a:srgbClr val="000000"/>
                </a:solidFill>
                <a:latin typeface="Arial" panose="020B0604020202020204" pitchFamily="34" charset="0"/>
                <a:cs typeface="Arial" panose="020B0604020202020204" pitchFamily="34" charset="0"/>
              </a:rPr>
            </a:br>
            <a:r>
              <a:rPr lang="de-DE" sz="900" b="1" dirty="0" smtClean="0">
                <a:solidFill>
                  <a:srgbClr val="000000"/>
                </a:solidFill>
                <a:latin typeface="Arial" panose="020B0604020202020204" pitchFamily="34" charset="0"/>
                <a:cs typeface="Arial" panose="020B0604020202020204" pitchFamily="34" charset="0"/>
              </a:rPr>
              <a:t>Gegengerichtete </a:t>
            </a:r>
            <a:r>
              <a:rPr lang="de-DE" sz="900" b="1" dirty="0">
                <a:solidFill>
                  <a:srgbClr val="000000"/>
                </a:solidFill>
                <a:latin typeface="Arial" panose="020B0604020202020204" pitchFamily="34" charset="0"/>
                <a:cs typeface="Arial" panose="020B0604020202020204" pitchFamily="34" charset="0"/>
              </a:rPr>
              <a:t>Beziehung</a:t>
            </a:r>
            <a:r>
              <a:rPr lang="de-DE" sz="900" dirty="0">
                <a:solidFill>
                  <a:srgbClr val="000000"/>
                </a:solidFill>
                <a:latin typeface="Arial" panose="020B0604020202020204" pitchFamily="34" charset="0"/>
                <a:cs typeface="Arial" panose="020B0604020202020204" pitchFamily="34" charset="0"/>
              </a:rPr>
              <a:t>: Je mehr, desto weniger / je weniger, desto </a:t>
            </a:r>
            <a:r>
              <a:rPr lang="de-DE" sz="900" dirty="0" smtClean="0">
                <a:solidFill>
                  <a:srgbClr val="000000"/>
                </a:solidFill>
                <a:latin typeface="Arial" panose="020B0604020202020204" pitchFamily="34" charset="0"/>
                <a:cs typeface="Arial" panose="020B0604020202020204" pitchFamily="34" charset="0"/>
              </a:rPr>
              <a:t>mehr</a:t>
            </a:r>
            <a:endParaRPr lang="de-DE" sz="900" dirty="0">
              <a:solidFill>
                <a:srgbClr val="000000"/>
              </a:solidFill>
              <a:latin typeface="Arial" panose="020B0604020202020204" pitchFamily="34" charset="0"/>
              <a:cs typeface="Arial" panose="020B0604020202020204" pitchFamily="34" charset="0"/>
            </a:endParaRPr>
          </a:p>
        </p:txBody>
      </p:sp>
      <p:sp>
        <p:nvSpPr>
          <p:cNvPr id="401" name="Rechteck 42"/>
          <p:cNvSpPr/>
          <p:nvPr/>
        </p:nvSpPr>
        <p:spPr>
          <a:xfrm>
            <a:off x="98200" y="6420432"/>
            <a:ext cx="5062813" cy="408060"/>
          </a:xfrm>
          <a:prstGeom prst="rect">
            <a:avLst/>
          </a:prstGeom>
          <a:solidFill>
            <a:schemeClr val="bg1"/>
          </a:solidFill>
          <a:ln>
            <a:noFill/>
          </a:ln>
        </p:spPr>
        <p:txBody>
          <a:bodyPr wrap="square" lIns="45720" tIns="45720" rIns="45720" bIns="45720" anchor="ctr" anchorCtr="1">
            <a:spAutoFit/>
          </a:bodyPr>
          <a:lstStyle/>
          <a:p>
            <a:pPr>
              <a:lnSpc>
                <a:spcPct val="114000"/>
              </a:lnSpc>
              <a:spcAft>
                <a:spcPts val="0"/>
              </a:spcAft>
            </a:pPr>
            <a:r>
              <a:rPr lang="de-DE" sz="900" b="1" dirty="0" smtClean="0">
                <a:solidFill>
                  <a:srgbClr val="000000"/>
                </a:solidFill>
                <a:latin typeface="Arial" panose="020B0604020202020204" pitchFamily="34" charset="0"/>
                <a:cs typeface="Arial" panose="020B0604020202020204" pitchFamily="34" charset="0"/>
              </a:rPr>
              <a:t>Farben gemäss GMM: </a:t>
            </a:r>
            <a:r>
              <a:rPr lang="de-DE" sz="900" b="1" dirty="0" smtClean="0">
                <a:solidFill>
                  <a:srgbClr val="0000FF"/>
                </a:solidFill>
                <a:latin typeface="Arial" panose="020B0604020202020204" pitchFamily="34" charset="0"/>
                <a:cs typeface="Arial" panose="020B0604020202020204" pitchFamily="34" charset="0"/>
              </a:rPr>
              <a:t>Blau = Strategie</a:t>
            </a:r>
            <a:r>
              <a:rPr lang="de-DE" sz="900" b="1" dirty="0" smtClean="0">
                <a:solidFill>
                  <a:srgbClr val="000000"/>
                </a:solidFill>
                <a:latin typeface="Arial" panose="020B0604020202020204" pitchFamily="34" charset="0"/>
                <a:cs typeface="Arial" panose="020B0604020202020204" pitchFamily="34" charset="0"/>
              </a:rPr>
              <a:t>, </a:t>
            </a:r>
            <a:r>
              <a:rPr lang="de-DE" sz="900" b="1" dirty="0">
                <a:solidFill>
                  <a:srgbClr val="D60000"/>
                </a:solidFill>
                <a:latin typeface="Arial" panose="020B0604020202020204" pitchFamily="34" charset="0"/>
                <a:cs typeface="Arial" panose="020B0604020202020204" pitchFamily="34" charset="0"/>
              </a:rPr>
              <a:t>R</a:t>
            </a:r>
            <a:r>
              <a:rPr lang="de-DE" sz="900" b="1" dirty="0" smtClean="0">
                <a:solidFill>
                  <a:srgbClr val="D60000"/>
                </a:solidFill>
                <a:latin typeface="Arial" panose="020B0604020202020204" pitchFamily="34" charset="0"/>
                <a:cs typeface="Arial" panose="020B0604020202020204" pitchFamily="34" charset="0"/>
              </a:rPr>
              <a:t>ot = Führungskräfte</a:t>
            </a:r>
            <a:r>
              <a:rPr lang="de-DE" sz="900" b="1" dirty="0" smtClean="0">
                <a:solidFill>
                  <a:srgbClr val="000000"/>
                </a:solidFill>
                <a:latin typeface="Arial" panose="020B0604020202020204" pitchFamily="34" charset="0"/>
                <a:cs typeface="Arial" panose="020B0604020202020204" pitchFamily="34" charset="0"/>
              </a:rPr>
              <a:t>, </a:t>
            </a:r>
            <a:r>
              <a:rPr lang="de-DE" sz="900" b="1" dirty="0" smtClean="0">
                <a:solidFill>
                  <a:srgbClr val="BD8C03"/>
                </a:solidFill>
                <a:latin typeface="Arial" panose="020B0604020202020204" pitchFamily="34" charset="0"/>
                <a:cs typeface="Arial" panose="020B0604020202020204" pitchFamily="34" charset="0"/>
              </a:rPr>
              <a:t>Gelb = Unternehmenskultur</a:t>
            </a:r>
            <a:r>
              <a:rPr lang="de-DE" sz="900" b="1" dirty="0" smtClean="0">
                <a:solidFill>
                  <a:srgbClr val="000000"/>
                </a:solidFill>
                <a:latin typeface="Arial" panose="020B0604020202020204" pitchFamily="34" charset="0"/>
                <a:cs typeface="Arial" panose="020B0604020202020204" pitchFamily="34" charset="0"/>
              </a:rPr>
              <a:t>, </a:t>
            </a:r>
            <a:r>
              <a:rPr lang="de-DE" sz="900" b="1" dirty="0" smtClean="0">
                <a:solidFill>
                  <a:srgbClr val="23B727"/>
                </a:solidFill>
                <a:latin typeface="Arial" panose="020B0604020202020204" pitchFamily="34" charset="0"/>
                <a:cs typeface="Arial" panose="020B0604020202020204" pitchFamily="34" charset="0"/>
              </a:rPr>
              <a:t>Grün = Struktur</a:t>
            </a:r>
            <a:r>
              <a:rPr lang="de-DE" sz="900" b="1" dirty="0" smtClean="0">
                <a:solidFill>
                  <a:srgbClr val="000000"/>
                </a:solidFill>
                <a:latin typeface="Arial" panose="020B0604020202020204" pitchFamily="34" charset="0"/>
                <a:cs typeface="Arial" panose="020B0604020202020204" pitchFamily="34" charset="0"/>
              </a:rPr>
              <a:t>, </a:t>
            </a:r>
            <a:r>
              <a:rPr lang="de-DE" sz="900" b="1" dirty="0">
                <a:solidFill>
                  <a:srgbClr val="029DD4"/>
                </a:solidFill>
                <a:latin typeface="Arial" panose="020B0604020202020204" pitchFamily="34" charset="0"/>
                <a:cs typeface="Arial" panose="020B0604020202020204" pitchFamily="34" charset="0"/>
              </a:rPr>
              <a:t>Türkis = Corporate </a:t>
            </a:r>
            <a:r>
              <a:rPr lang="de-DE" sz="900" b="1" dirty="0" err="1">
                <a:solidFill>
                  <a:srgbClr val="029DD4"/>
                </a:solidFill>
                <a:latin typeface="Arial" panose="020B0604020202020204" pitchFamily="34" charset="0"/>
                <a:cs typeface="Arial" panose="020B0604020202020204" pitchFamily="34" charset="0"/>
              </a:rPr>
              <a:t>Governance</a:t>
            </a:r>
            <a:r>
              <a:rPr lang="de-DE" sz="900" b="1" dirty="0">
                <a:solidFill>
                  <a:srgbClr val="029DD4"/>
                </a:solidFill>
                <a:latin typeface="Arial" panose="020B0604020202020204" pitchFamily="34" charset="0"/>
                <a:cs typeface="Arial" panose="020B0604020202020204" pitchFamily="34" charset="0"/>
              </a:rPr>
              <a:t> &amp; </a:t>
            </a:r>
            <a:r>
              <a:rPr lang="de-DE" sz="900" b="1" dirty="0" err="1" smtClean="0">
                <a:solidFill>
                  <a:srgbClr val="029DD4"/>
                </a:solidFill>
                <a:latin typeface="Arial" panose="020B0604020202020204" pitchFamily="34" charset="0"/>
                <a:cs typeface="Arial" panose="020B0604020202020204" pitchFamily="34" charset="0"/>
              </a:rPr>
              <a:t>Policy</a:t>
            </a:r>
            <a:r>
              <a:rPr lang="de-DE" sz="900" b="1" dirty="0" smtClean="0">
                <a:latin typeface="Arial" panose="020B0604020202020204" pitchFamily="34" charset="0"/>
                <a:cs typeface="Arial" panose="020B0604020202020204" pitchFamily="34" charset="0"/>
              </a:rPr>
              <a:t>, </a:t>
            </a:r>
            <a:r>
              <a:rPr lang="de-DE" sz="900" b="1" dirty="0" smtClean="0">
                <a:solidFill>
                  <a:srgbClr val="000080"/>
                </a:solidFill>
                <a:latin typeface="Arial" panose="020B0604020202020204" pitchFamily="34" charset="0"/>
                <a:cs typeface="Arial" panose="020B0604020202020204" pitchFamily="34" charset="0"/>
              </a:rPr>
              <a:t>Dunkelblau = Umwelt</a:t>
            </a:r>
            <a:endParaRPr lang="de-DE" sz="900" b="1" dirty="0">
              <a:solidFill>
                <a:srgbClr val="00008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7813242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5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17">
                                            <p:txEl>
                                              <p:pRg st="0" end="0"/>
                                            </p:txEl>
                                          </p:spTgt>
                                        </p:tgtEl>
                                        <p:attrNameLst>
                                          <p:attrName>style.visibility</p:attrName>
                                        </p:attrNameLst>
                                      </p:cBhvr>
                                      <p:to>
                                        <p:strVal val="visible"/>
                                      </p:to>
                                    </p:set>
                                    <p:animEffect transition="in" filter="fade">
                                      <p:cBhvr>
                                        <p:cTn id="11" dur="500"/>
                                        <p:tgtEl>
                                          <p:spTgt spid="317">
                                            <p:txEl>
                                              <p:pRg st="0" end="0"/>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4" repeatCount="3000" fill="hold" nodeType="clickEffect">
                                  <p:stCondLst>
                                    <p:cond delay="0"/>
                                  </p:stCondLst>
                                  <p:childTnLst>
                                    <p:set>
                                      <p:cBhvr>
                                        <p:cTn id="15" dur="1" fill="hold">
                                          <p:stCondLst>
                                            <p:cond delay="0"/>
                                          </p:stCondLst>
                                        </p:cTn>
                                        <p:tgtEl>
                                          <p:spTgt spid="318"/>
                                        </p:tgtEl>
                                        <p:attrNameLst>
                                          <p:attrName>style.visibility</p:attrName>
                                        </p:attrNameLst>
                                      </p:cBhvr>
                                      <p:to>
                                        <p:strVal val="visible"/>
                                      </p:to>
                                    </p:set>
                                    <p:animEffect transition="in" filter="wipe(down)">
                                      <p:cBhvr>
                                        <p:cTn id="16" dur="2000"/>
                                        <p:tgtEl>
                                          <p:spTgt spid="318"/>
                                        </p:tgtEl>
                                      </p:cBhvr>
                                    </p:animEffect>
                                  </p:childTnLst>
                                </p:cTn>
                              </p:par>
                              <p:par>
                                <p:cTn id="17" presetID="22" presetClass="entr" presetSubtype="2" repeatCount="3000" fill="hold" nodeType="withEffect">
                                  <p:stCondLst>
                                    <p:cond delay="0"/>
                                  </p:stCondLst>
                                  <p:childTnLst>
                                    <p:set>
                                      <p:cBhvr>
                                        <p:cTn id="18" dur="1" fill="hold">
                                          <p:stCondLst>
                                            <p:cond delay="0"/>
                                          </p:stCondLst>
                                        </p:cTn>
                                        <p:tgtEl>
                                          <p:spTgt spid="322"/>
                                        </p:tgtEl>
                                        <p:attrNameLst>
                                          <p:attrName>style.visibility</p:attrName>
                                        </p:attrNameLst>
                                      </p:cBhvr>
                                      <p:to>
                                        <p:strVal val="visible"/>
                                      </p:to>
                                    </p:set>
                                    <p:animEffect transition="in" filter="wipe(right)">
                                      <p:cBhvr>
                                        <p:cTn id="19" dur="2000"/>
                                        <p:tgtEl>
                                          <p:spTgt spid="322"/>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317">
                                            <p:txEl>
                                              <p:pRg st="1" end="1"/>
                                            </p:txEl>
                                          </p:spTgt>
                                        </p:tgtEl>
                                        <p:attrNameLst>
                                          <p:attrName>style.visibility</p:attrName>
                                        </p:attrNameLst>
                                      </p:cBhvr>
                                      <p:to>
                                        <p:strVal val="visible"/>
                                      </p:to>
                                    </p:set>
                                    <p:animEffect transition="in" filter="fade">
                                      <p:cBhvr>
                                        <p:cTn id="24" dur="500"/>
                                        <p:tgtEl>
                                          <p:spTgt spid="317">
                                            <p:txEl>
                                              <p:pRg st="1" end="1"/>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17">
                                            <p:txEl>
                                              <p:pRg st="2" end="2"/>
                                            </p:txEl>
                                          </p:spTgt>
                                        </p:tgtEl>
                                        <p:attrNameLst>
                                          <p:attrName>style.visibility</p:attrName>
                                        </p:attrNameLst>
                                      </p:cBhvr>
                                      <p:to>
                                        <p:strVal val="visible"/>
                                      </p:to>
                                    </p:set>
                                    <p:animEffect transition="in" filter="fade">
                                      <p:cBhvr>
                                        <p:cTn id="27" dur="500"/>
                                        <p:tgtEl>
                                          <p:spTgt spid="317">
                                            <p:txEl>
                                              <p:pRg st="2" end="2"/>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2" repeatCount="3000" fill="hold" nodeType="click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wipe(right)">
                                      <p:cBhvr>
                                        <p:cTn id="32" dur="2000"/>
                                        <p:tgtEl>
                                          <p:spTgt spid="21"/>
                                        </p:tgtEl>
                                      </p:cBhvr>
                                    </p:animEffect>
                                  </p:childTnLst>
                                </p:cTn>
                              </p:par>
                              <p:par>
                                <p:cTn id="33" presetID="22" presetClass="entr" presetSubtype="2" repeatCount="3000" fill="hold" nodeType="withEffect">
                                  <p:stCondLst>
                                    <p:cond delay="0"/>
                                  </p:stCondLst>
                                  <p:childTnLst>
                                    <p:set>
                                      <p:cBhvr>
                                        <p:cTn id="34" dur="1" fill="hold">
                                          <p:stCondLst>
                                            <p:cond delay="0"/>
                                          </p:stCondLst>
                                        </p:cTn>
                                        <p:tgtEl>
                                          <p:spTgt spid="332"/>
                                        </p:tgtEl>
                                        <p:attrNameLst>
                                          <p:attrName>style.visibility</p:attrName>
                                        </p:attrNameLst>
                                      </p:cBhvr>
                                      <p:to>
                                        <p:strVal val="visible"/>
                                      </p:to>
                                    </p:set>
                                    <p:animEffect transition="in" filter="wipe(right)">
                                      <p:cBhvr>
                                        <p:cTn id="35" dur="2000"/>
                                        <p:tgtEl>
                                          <p:spTgt spid="332"/>
                                        </p:tgtEl>
                                      </p:cBhvr>
                                    </p:animEffect>
                                  </p:childTnLst>
                                </p:cTn>
                              </p:par>
                              <p:par>
                                <p:cTn id="36" presetID="22" presetClass="entr" presetSubtype="4" repeatCount="3000" fill="hold" nodeType="withEffect">
                                  <p:stCondLst>
                                    <p:cond delay="0"/>
                                  </p:stCondLst>
                                  <p:childTnLst>
                                    <p:set>
                                      <p:cBhvr>
                                        <p:cTn id="37" dur="1" fill="hold">
                                          <p:stCondLst>
                                            <p:cond delay="0"/>
                                          </p:stCondLst>
                                        </p:cTn>
                                        <p:tgtEl>
                                          <p:spTgt spid="335"/>
                                        </p:tgtEl>
                                        <p:attrNameLst>
                                          <p:attrName>style.visibility</p:attrName>
                                        </p:attrNameLst>
                                      </p:cBhvr>
                                      <p:to>
                                        <p:strVal val="visible"/>
                                      </p:to>
                                    </p:set>
                                    <p:animEffect transition="in" filter="wipe(down)">
                                      <p:cBhvr>
                                        <p:cTn id="38" dur="2000"/>
                                        <p:tgtEl>
                                          <p:spTgt spid="335"/>
                                        </p:tgtEl>
                                      </p:cBhvr>
                                    </p:animEffect>
                                  </p:childTnLst>
                                </p:cTn>
                              </p:par>
                              <p:par>
                                <p:cTn id="39" presetID="22" presetClass="entr" presetSubtype="8" repeatCount="3000" fill="hold" nodeType="withEffect">
                                  <p:stCondLst>
                                    <p:cond delay="0"/>
                                  </p:stCondLst>
                                  <p:childTnLst>
                                    <p:set>
                                      <p:cBhvr>
                                        <p:cTn id="40" dur="1" fill="hold">
                                          <p:stCondLst>
                                            <p:cond delay="0"/>
                                          </p:stCondLst>
                                        </p:cTn>
                                        <p:tgtEl>
                                          <p:spTgt spid="340"/>
                                        </p:tgtEl>
                                        <p:attrNameLst>
                                          <p:attrName>style.visibility</p:attrName>
                                        </p:attrNameLst>
                                      </p:cBhvr>
                                      <p:to>
                                        <p:strVal val="visible"/>
                                      </p:to>
                                    </p:set>
                                    <p:animEffect transition="in" filter="wipe(left)">
                                      <p:cBhvr>
                                        <p:cTn id="41" dur="2000"/>
                                        <p:tgtEl>
                                          <p:spTgt spid="340"/>
                                        </p:tgtEl>
                                      </p:cBhvr>
                                    </p:animEffect>
                                  </p:childTnLst>
                                </p:cTn>
                              </p:par>
                              <p:par>
                                <p:cTn id="42" presetID="22" presetClass="entr" presetSubtype="1" repeatCount="3000" fill="hold" nodeType="withEffect">
                                  <p:stCondLst>
                                    <p:cond delay="0"/>
                                  </p:stCondLst>
                                  <p:childTnLst>
                                    <p:set>
                                      <p:cBhvr>
                                        <p:cTn id="43" dur="1" fill="hold">
                                          <p:stCondLst>
                                            <p:cond delay="0"/>
                                          </p:stCondLst>
                                        </p:cTn>
                                        <p:tgtEl>
                                          <p:spTgt spid="23"/>
                                        </p:tgtEl>
                                        <p:attrNameLst>
                                          <p:attrName>style.visibility</p:attrName>
                                        </p:attrNameLst>
                                      </p:cBhvr>
                                      <p:to>
                                        <p:strVal val="visible"/>
                                      </p:to>
                                    </p:set>
                                    <p:animEffect transition="in" filter="wipe(up)">
                                      <p:cBhvr>
                                        <p:cTn id="44" dur="2000"/>
                                        <p:tgtEl>
                                          <p:spTgt spid="23"/>
                                        </p:tgtEl>
                                      </p:cBhvr>
                                    </p:animEffect>
                                  </p:childTnLst>
                                </p:cTn>
                              </p:par>
                              <p:par>
                                <p:cTn id="45" presetID="22" presetClass="entr" presetSubtype="1" repeatCount="3000" fill="hold" nodeType="withEffect">
                                  <p:stCondLst>
                                    <p:cond delay="0"/>
                                  </p:stCondLst>
                                  <p:childTnLst>
                                    <p:set>
                                      <p:cBhvr>
                                        <p:cTn id="46" dur="1" fill="hold">
                                          <p:stCondLst>
                                            <p:cond delay="0"/>
                                          </p:stCondLst>
                                        </p:cTn>
                                        <p:tgtEl>
                                          <p:spTgt spid="343"/>
                                        </p:tgtEl>
                                        <p:attrNameLst>
                                          <p:attrName>style.visibility</p:attrName>
                                        </p:attrNameLst>
                                      </p:cBhvr>
                                      <p:to>
                                        <p:strVal val="visible"/>
                                      </p:to>
                                    </p:set>
                                    <p:animEffect transition="in" filter="wipe(up)">
                                      <p:cBhvr>
                                        <p:cTn id="47" dur="2000"/>
                                        <p:tgtEl>
                                          <p:spTgt spid="343"/>
                                        </p:tgtEl>
                                      </p:cBhvr>
                                    </p:animEffect>
                                  </p:childTnLst>
                                </p:cTn>
                              </p:par>
                              <p:par>
                                <p:cTn id="48" presetID="22" presetClass="entr" presetSubtype="2" repeatCount="3000" fill="hold" nodeType="withEffect">
                                  <p:stCondLst>
                                    <p:cond delay="0"/>
                                  </p:stCondLst>
                                  <p:childTnLst>
                                    <p:set>
                                      <p:cBhvr>
                                        <p:cTn id="49" dur="1" fill="hold">
                                          <p:stCondLst>
                                            <p:cond delay="0"/>
                                          </p:stCondLst>
                                        </p:cTn>
                                        <p:tgtEl>
                                          <p:spTgt spid="347"/>
                                        </p:tgtEl>
                                        <p:attrNameLst>
                                          <p:attrName>style.visibility</p:attrName>
                                        </p:attrNameLst>
                                      </p:cBhvr>
                                      <p:to>
                                        <p:strVal val="visible"/>
                                      </p:to>
                                    </p:set>
                                    <p:animEffect transition="in" filter="wipe(right)">
                                      <p:cBhvr>
                                        <p:cTn id="50" dur="2000"/>
                                        <p:tgtEl>
                                          <p:spTgt spid="347"/>
                                        </p:tgtEl>
                                      </p:cBhvr>
                                    </p:animEffect>
                                  </p:childTnLst>
                                </p:cTn>
                              </p:par>
                              <p:par>
                                <p:cTn id="51" presetID="22" presetClass="entr" presetSubtype="2" repeatCount="3000" fill="hold" nodeType="withEffect">
                                  <p:stCondLst>
                                    <p:cond delay="0"/>
                                  </p:stCondLst>
                                  <p:childTnLst>
                                    <p:set>
                                      <p:cBhvr>
                                        <p:cTn id="52" dur="1" fill="hold">
                                          <p:stCondLst>
                                            <p:cond delay="0"/>
                                          </p:stCondLst>
                                        </p:cTn>
                                        <p:tgtEl>
                                          <p:spTgt spid="350"/>
                                        </p:tgtEl>
                                        <p:attrNameLst>
                                          <p:attrName>style.visibility</p:attrName>
                                        </p:attrNameLst>
                                      </p:cBhvr>
                                      <p:to>
                                        <p:strVal val="visible"/>
                                      </p:to>
                                    </p:set>
                                    <p:animEffect transition="in" filter="wipe(right)">
                                      <p:cBhvr>
                                        <p:cTn id="53" dur="2000"/>
                                        <p:tgtEl>
                                          <p:spTgt spid="350"/>
                                        </p:tgtEl>
                                      </p:cBhvr>
                                    </p:animEffect>
                                  </p:childTnLst>
                                </p:cTn>
                              </p:par>
                              <p:par>
                                <p:cTn id="54" presetID="22" presetClass="entr" presetSubtype="8" repeatCount="3000" fill="hold" nodeType="withEffect">
                                  <p:stCondLst>
                                    <p:cond delay="0"/>
                                  </p:stCondLst>
                                  <p:childTnLst>
                                    <p:set>
                                      <p:cBhvr>
                                        <p:cTn id="55" dur="1" fill="hold">
                                          <p:stCondLst>
                                            <p:cond delay="0"/>
                                          </p:stCondLst>
                                        </p:cTn>
                                        <p:tgtEl>
                                          <p:spTgt spid="351"/>
                                        </p:tgtEl>
                                        <p:attrNameLst>
                                          <p:attrName>style.visibility</p:attrName>
                                        </p:attrNameLst>
                                      </p:cBhvr>
                                      <p:to>
                                        <p:strVal val="visible"/>
                                      </p:to>
                                    </p:set>
                                    <p:animEffect transition="in" filter="wipe(left)">
                                      <p:cBhvr>
                                        <p:cTn id="56" dur="2000"/>
                                        <p:tgtEl>
                                          <p:spTgt spid="351"/>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316">
                                            <p:txEl>
                                              <p:pRg st="0" end="0"/>
                                            </p:txEl>
                                          </p:spTgt>
                                        </p:tgtEl>
                                        <p:attrNameLst>
                                          <p:attrName>style.visibility</p:attrName>
                                        </p:attrNameLst>
                                      </p:cBhvr>
                                      <p:to>
                                        <p:strVal val="visible"/>
                                      </p:to>
                                    </p:set>
                                    <p:animEffect transition="in" filter="fade">
                                      <p:cBhvr>
                                        <p:cTn id="61" dur="500"/>
                                        <p:tgtEl>
                                          <p:spTgt spid="316">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22" presetClass="entr" presetSubtype="4" repeatCount="3000" fill="hold" nodeType="clickEffect">
                                  <p:stCondLst>
                                    <p:cond delay="0"/>
                                  </p:stCondLst>
                                  <p:childTnLst>
                                    <p:set>
                                      <p:cBhvr>
                                        <p:cTn id="65" dur="1" fill="hold">
                                          <p:stCondLst>
                                            <p:cond delay="0"/>
                                          </p:stCondLst>
                                        </p:cTn>
                                        <p:tgtEl>
                                          <p:spTgt spid="32"/>
                                        </p:tgtEl>
                                        <p:attrNameLst>
                                          <p:attrName>style.visibility</p:attrName>
                                        </p:attrNameLst>
                                      </p:cBhvr>
                                      <p:to>
                                        <p:strVal val="visible"/>
                                      </p:to>
                                    </p:set>
                                    <p:animEffect transition="in" filter="wipe(down)">
                                      <p:cBhvr>
                                        <p:cTn id="66" dur="2000"/>
                                        <p:tgtEl>
                                          <p:spTgt spid="32"/>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nodeType="clickEffect">
                                  <p:stCondLst>
                                    <p:cond delay="0"/>
                                  </p:stCondLst>
                                  <p:childTnLst>
                                    <p:set>
                                      <p:cBhvr>
                                        <p:cTn id="70" dur="1" fill="hold">
                                          <p:stCondLst>
                                            <p:cond delay="0"/>
                                          </p:stCondLst>
                                        </p:cTn>
                                        <p:tgtEl>
                                          <p:spTgt spid="316">
                                            <p:txEl>
                                              <p:pRg st="1" end="1"/>
                                            </p:txEl>
                                          </p:spTgt>
                                        </p:tgtEl>
                                        <p:attrNameLst>
                                          <p:attrName>style.visibility</p:attrName>
                                        </p:attrNameLst>
                                      </p:cBhvr>
                                      <p:to>
                                        <p:strVal val="visible"/>
                                      </p:to>
                                    </p:set>
                                    <p:animEffect transition="in" filter="fade">
                                      <p:cBhvr>
                                        <p:cTn id="71" dur="500"/>
                                        <p:tgtEl>
                                          <p:spTgt spid="316">
                                            <p:txEl>
                                              <p:pRg st="1" end="1"/>
                                            </p:txEl>
                                          </p:spTgt>
                                        </p:tgtEl>
                                      </p:cBhvr>
                                    </p:animEffect>
                                  </p:childTnLst>
                                </p:cTn>
                              </p:par>
                              <p:par>
                                <p:cTn id="72" presetID="10" presetClass="entr" presetSubtype="0" fill="hold" nodeType="withEffect">
                                  <p:stCondLst>
                                    <p:cond delay="0"/>
                                  </p:stCondLst>
                                  <p:childTnLst>
                                    <p:set>
                                      <p:cBhvr>
                                        <p:cTn id="73" dur="1" fill="hold">
                                          <p:stCondLst>
                                            <p:cond delay="0"/>
                                          </p:stCondLst>
                                        </p:cTn>
                                        <p:tgtEl>
                                          <p:spTgt spid="316">
                                            <p:txEl>
                                              <p:pRg st="2" end="2"/>
                                            </p:txEl>
                                          </p:spTgt>
                                        </p:tgtEl>
                                        <p:attrNameLst>
                                          <p:attrName>style.visibility</p:attrName>
                                        </p:attrNameLst>
                                      </p:cBhvr>
                                      <p:to>
                                        <p:strVal val="visible"/>
                                      </p:to>
                                    </p:set>
                                    <p:animEffect transition="in" filter="fade">
                                      <p:cBhvr>
                                        <p:cTn id="74" dur="500"/>
                                        <p:tgtEl>
                                          <p:spTgt spid="316">
                                            <p:txEl>
                                              <p:pRg st="2" end="2"/>
                                            </p:txEl>
                                          </p:spTgt>
                                        </p:tgtEl>
                                      </p:cBhvr>
                                    </p:animEffect>
                                  </p:childTnLst>
                                </p:cTn>
                              </p:par>
                              <p:par>
                                <p:cTn id="75" presetID="10" presetClass="entr" presetSubtype="0" fill="hold" nodeType="withEffect">
                                  <p:stCondLst>
                                    <p:cond delay="0"/>
                                  </p:stCondLst>
                                  <p:childTnLst>
                                    <p:set>
                                      <p:cBhvr>
                                        <p:cTn id="76" dur="1" fill="hold">
                                          <p:stCondLst>
                                            <p:cond delay="0"/>
                                          </p:stCondLst>
                                        </p:cTn>
                                        <p:tgtEl>
                                          <p:spTgt spid="316">
                                            <p:txEl>
                                              <p:pRg st="3" end="3"/>
                                            </p:txEl>
                                          </p:spTgt>
                                        </p:tgtEl>
                                        <p:attrNameLst>
                                          <p:attrName>style.visibility</p:attrName>
                                        </p:attrNameLst>
                                      </p:cBhvr>
                                      <p:to>
                                        <p:strVal val="visible"/>
                                      </p:to>
                                    </p:set>
                                    <p:animEffect transition="in" filter="fade">
                                      <p:cBhvr>
                                        <p:cTn id="77" dur="500"/>
                                        <p:tgtEl>
                                          <p:spTgt spid="316">
                                            <p:txEl>
                                              <p:pRg st="3" end="3"/>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22" presetClass="entr" presetSubtype="4" repeatCount="3000" fill="hold" nodeType="clickEffect">
                                  <p:stCondLst>
                                    <p:cond delay="0"/>
                                  </p:stCondLst>
                                  <p:childTnLst>
                                    <p:set>
                                      <p:cBhvr>
                                        <p:cTn id="81" dur="1" fill="hold">
                                          <p:stCondLst>
                                            <p:cond delay="0"/>
                                          </p:stCondLst>
                                        </p:cTn>
                                        <p:tgtEl>
                                          <p:spTgt spid="366"/>
                                        </p:tgtEl>
                                        <p:attrNameLst>
                                          <p:attrName>style.visibility</p:attrName>
                                        </p:attrNameLst>
                                      </p:cBhvr>
                                      <p:to>
                                        <p:strVal val="visible"/>
                                      </p:to>
                                    </p:set>
                                    <p:animEffect transition="in" filter="wipe(down)">
                                      <p:cBhvr>
                                        <p:cTn id="82" dur="2000"/>
                                        <p:tgtEl>
                                          <p:spTgt spid="366"/>
                                        </p:tgtEl>
                                      </p:cBhvr>
                                    </p:animEffect>
                                  </p:childTnLst>
                                </p:cTn>
                              </p:par>
                              <p:par>
                                <p:cTn id="83" presetID="22" presetClass="entr" presetSubtype="4" repeatCount="3000" fill="hold" nodeType="withEffect">
                                  <p:stCondLst>
                                    <p:cond delay="0"/>
                                  </p:stCondLst>
                                  <p:childTnLst>
                                    <p:set>
                                      <p:cBhvr>
                                        <p:cTn id="84" dur="1" fill="hold">
                                          <p:stCondLst>
                                            <p:cond delay="0"/>
                                          </p:stCondLst>
                                        </p:cTn>
                                        <p:tgtEl>
                                          <p:spTgt spid="369"/>
                                        </p:tgtEl>
                                        <p:attrNameLst>
                                          <p:attrName>style.visibility</p:attrName>
                                        </p:attrNameLst>
                                      </p:cBhvr>
                                      <p:to>
                                        <p:strVal val="visible"/>
                                      </p:to>
                                    </p:set>
                                    <p:animEffect transition="in" filter="wipe(down)">
                                      <p:cBhvr>
                                        <p:cTn id="85" dur="2000"/>
                                        <p:tgtEl>
                                          <p:spTgt spid="369"/>
                                        </p:tgtEl>
                                      </p:cBhvr>
                                    </p:animEffect>
                                  </p:childTnLst>
                                </p:cTn>
                              </p:par>
                              <p:par>
                                <p:cTn id="86" presetID="22" presetClass="entr" presetSubtype="4" repeatCount="3000" fill="hold" nodeType="withEffect">
                                  <p:stCondLst>
                                    <p:cond delay="0"/>
                                  </p:stCondLst>
                                  <p:childTnLst>
                                    <p:set>
                                      <p:cBhvr>
                                        <p:cTn id="87" dur="1" fill="hold">
                                          <p:stCondLst>
                                            <p:cond delay="0"/>
                                          </p:stCondLst>
                                        </p:cTn>
                                        <p:tgtEl>
                                          <p:spTgt spid="373"/>
                                        </p:tgtEl>
                                        <p:attrNameLst>
                                          <p:attrName>style.visibility</p:attrName>
                                        </p:attrNameLst>
                                      </p:cBhvr>
                                      <p:to>
                                        <p:strVal val="visible"/>
                                      </p:to>
                                    </p:set>
                                    <p:animEffect transition="in" filter="wipe(down)">
                                      <p:cBhvr>
                                        <p:cTn id="88" dur="2000"/>
                                        <p:tgtEl>
                                          <p:spTgt spid="373"/>
                                        </p:tgtEl>
                                      </p:cBhvr>
                                    </p:animEffect>
                                  </p:childTnLst>
                                </p:cTn>
                              </p:par>
                              <p:par>
                                <p:cTn id="89" presetID="22" presetClass="entr" presetSubtype="8" repeatCount="3000" fill="hold" nodeType="withEffect">
                                  <p:stCondLst>
                                    <p:cond delay="0"/>
                                  </p:stCondLst>
                                  <p:childTnLst>
                                    <p:set>
                                      <p:cBhvr>
                                        <p:cTn id="90" dur="1" fill="hold">
                                          <p:stCondLst>
                                            <p:cond delay="0"/>
                                          </p:stCondLst>
                                        </p:cTn>
                                        <p:tgtEl>
                                          <p:spTgt spid="378"/>
                                        </p:tgtEl>
                                        <p:attrNameLst>
                                          <p:attrName>style.visibility</p:attrName>
                                        </p:attrNameLst>
                                      </p:cBhvr>
                                      <p:to>
                                        <p:strVal val="visible"/>
                                      </p:to>
                                    </p:set>
                                    <p:animEffect transition="in" filter="wipe(left)">
                                      <p:cBhvr>
                                        <p:cTn id="91" dur="2000"/>
                                        <p:tgtEl>
                                          <p:spTgt spid="378"/>
                                        </p:tgtEl>
                                      </p:cBhvr>
                                    </p:animEffect>
                                  </p:childTnLst>
                                </p:cTn>
                              </p:par>
                              <p:par>
                                <p:cTn id="92" presetID="22" presetClass="entr" presetSubtype="4" repeatCount="3000" fill="hold" nodeType="withEffect">
                                  <p:stCondLst>
                                    <p:cond delay="0"/>
                                  </p:stCondLst>
                                  <p:childTnLst>
                                    <p:set>
                                      <p:cBhvr>
                                        <p:cTn id="93" dur="1" fill="hold">
                                          <p:stCondLst>
                                            <p:cond delay="0"/>
                                          </p:stCondLst>
                                        </p:cTn>
                                        <p:tgtEl>
                                          <p:spTgt spid="358"/>
                                        </p:tgtEl>
                                        <p:attrNameLst>
                                          <p:attrName>style.visibility</p:attrName>
                                        </p:attrNameLst>
                                      </p:cBhvr>
                                      <p:to>
                                        <p:strVal val="visible"/>
                                      </p:to>
                                    </p:set>
                                    <p:animEffect transition="in" filter="wipe(down)">
                                      <p:cBhvr>
                                        <p:cTn id="94" dur="2000"/>
                                        <p:tgtEl>
                                          <p:spTgt spid="358"/>
                                        </p:tgtEl>
                                      </p:cBhvr>
                                    </p:animEffect>
                                  </p:childTnLst>
                                </p:cTn>
                              </p:par>
                              <p:par>
                                <p:cTn id="95" presetID="22" presetClass="entr" presetSubtype="2" repeatCount="3000" fill="hold" nodeType="withEffect">
                                  <p:stCondLst>
                                    <p:cond delay="0"/>
                                  </p:stCondLst>
                                  <p:childTnLst>
                                    <p:set>
                                      <p:cBhvr>
                                        <p:cTn id="96" dur="1" fill="hold">
                                          <p:stCondLst>
                                            <p:cond delay="0"/>
                                          </p:stCondLst>
                                        </p:cTn>
                                        <p:tgtEl>
                                          <p:spTgt spid="387"/>
                                        </p:tgtEl>
                                        <p:attrNameLst>
                                          <p:attrName>style.visibility</p:attrName>
                                        </p:attrNameLst>
                                      </p:cBhvr>
                                      <p:to>
                                        <p:strVal val="visible"/>
                                      </p:to>
                                    </p:set>
                                    <p:animEffect transition="in" filter="wipe(right)">
                                      <p:cBhvr>
                                        <p:cTn id="97" dur="2000"/>
                                        <p:tgtEl>
                                          <p:spTgt spid="387"/>
                                        </p:tgtEl>
                                      </p:cBhvr>
                                    </p:animEffect>
                                  </p:childTnLst>
                                </p:cTn>
                              </p:par>
                              <p:par>
                                <p:cTn id="98" presetID="22" presetClass="entr" presetSubtype="2" repeatCount="3000" fill="hold" nodeType="withEffect">
                                  <p:stCondLst>
                                    <p:cond delay="0"/>
                                  </p:stCondLst>
                                  <p:childTnLst>
                                    <p:set>
                                      <p:cBhvr>
                                        <p:cTn id="99" dur="1" fill="hold">
                                          <p:stCondLst>
                                            <p:cond delay="0"/>
                                          </p:stCondLst>
                                        </p:cTn>
                                        <p:tgtEl>
                                          <p:spTgt spid="391"/>
                                        </p:tgtEl>
                                        <p:attrNameLst>
                                          <p:attrName>style.visibility</p:attrName>
                                        </p:attrNameLst>
                                      </p:cBhvr>
                                      <p:to>
                                        <p:strVal val="visible"/>
                                      </p:to>
                                    </p:set>
                                    <p:animEffect transition="in" filter="wipe(right)">
                                      <p:cBhvr>
                                        <p:cTn id="100" dur="2000"/>
                                        <p:tgtEl>
                                          <p:spTgt spid="391"/>
                                        </p:tgtEl>
                                      </p:cBhvr>
                                    </p:animEffect>
                                  </p:childTnLst>
                                </p:cTn>
                              </p:par>
                              <p:par>
                                <p:cTn id="101" presetID="22" presetClass="entr" presetSubtype="2" repeatCount="3000" fill="hold" nodeType="withEffect">
                                  <p:stCondLst>
                                    <p:cond delay="0"/>
                                  </p:stCondLst>
                                  <p:childTnLst>
                                    <p:set>
                                      <p:cBhvr>
                                        <p:cTn id="102" dur="1" fill="hold">
                                          <p:stCondLst>
                                            <p:cond delay="0"/>
                                          </p:stCondLst>
                                        </p:cTn>
                                        <p:tgtEl>
                                          <p:spTgt spid="396"/>
                                        </p:tgtEl>
                                        <p:attrNameLst>
                                          <p:attrName>style.visibility</p:attrName>
                                        </p:attrNameLst>
                                      </p:cBhvr>
                                      <p:to>
                                        <p:strVal val="visible"/>
                                      </p:to>
                                    </p:set>
                                    <p:animEffect transition="in" filter="wipe(right)">
                                      <p:cBhvr>
                                        <p:cTn id="103" dur="2000"/>
                                        <p:tgtEl>
                                          <p:spTgt spid="396"/>
                                        </p:tgtEl>
                                      </p:cBhvr>
                                    </p:animEffect>
                                  </p:childTnLst>
                                </p:cTn>
                              </p:par>
                              <p:par>
                                <p:cTn id="104" presetID="22" presetClass="entr" presetSubtype="4" repeatCount="3000" fill="hold" nodeType="withEffect">
                                  <p:stCondLst>
                                    <p:cond delay="0"/>
                                  </p:stCondLst>
                                  <p:childTnLst>
                                    <p:set>
                                      <p:cBhvr>
                                        <p:cTn id="105" dur="1" fill="hold">
                                          <p:stCondLst>
                                            <p:cond delay="0"/>
                                          </p:stCondLst>
                                        </p:cTn>
                                        <p:tgtEl>
                                          <p:spTgt spid="400"/>
                                        </p:tgtEl>
                                        <p:attrNameLst>
                                          <p:attrName>style.visibility</p:attrName>
                                        </p:attrNameLst>
                                      </p:cBhvr>
                                      <p:to>
                                        <p:strVal val="visible"/>
                                      </p:to>
                                    </p:set>
                                    <p:animEffect transition="in" filter="wipe(down)">
                                      <p:cBhvr>
                                        <p:cTn id="106" dur="2000"/>
                                        <p:tgtEl>
                                          <p:spTgt spid="4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3" name="Grafik 112"/>
          <p:cNvPicPr>
            <a:picLocks noChangeAspect="1"/>
          </p:cNvPicPr>
          <p:nvPr/>
        </p:nvPicPr>
        <p:blipFill>
          <a:blip r:embed="rId3"/>
          <a:stretch>
            <a:fillRect/>
          </a:stretch>
        </p:blipFill>
        <p:spPr>
          <a:xfrm>
            <a:off x="-2972" y="1186138"/>
            <a:ext cx="5674987" cy="4739945"/>
          </a:xfrm>
          <a:prstGeom prst="rect">
            <a:avLst/>
          </a:prstGeom>
        </p:spPr>
      </p:pic>
      <p:sp>
        <p:nvSpPr>
          <p:cNvPr id="3" name="Titel 2"/>
          <p:cNvSpPr>
            <a:spLocks noGrp="1"/>
          </p:cNvSpPr>
          <p:nvPr>
            <p:ph type="title"/>
          </p:nvPr>
        </p:nvSpPr>
        <p:spPr>
          <a:xfrm>
            <a:off x="564737" y="575382"/>
            <a:ext cx="8642350" cy="611188"/>
          </a:xfrm>
        </p:spPr>
        <p:txBody>
          <a:bodyPr/>
          <a:lstStyle/>
          <a:p>
            <a:r>
              <a:rPr lang="de-DE" sz="1800" dirty="0" smtClean="0"/>
              <a:t>Die Wirkungs-Risiko Systemkarte</a:t>
            </a:r>
            <a:r>
              <a:rPr lang="de-DE" sz="1800" dirty="0"/>
              <a:t/>
            </a:r>
            <a:br>
              <a:rPr lang="de-DE" sz="1800" dirty="0"/>
            </a:br>
            <a:r>
              <a:rPr lang="de-DE" sz="1800" dirty="0" smtClean="0"/>
              <a:t>Wie das System funktioniert</a:t>
            </a:r>
            <a:endParaRPr lang="de-DE" dirty="0"/>
          </a:p>
        </p:txBody>
      </p:sp>
      <p:sp>
        <p:nvSpPr>
          <p:cNvPr id="621" name="Text Placeholder 1"/>
          <p:cNvSpPr>
            <a:spLocks noGrp="1"/>
          </p:cNvSpPr>
          <p:nvPr>
            <p:ph type="body" sz="quarter" idx="10"/>
          </p:nvPr>
        </p:nvSpPr>
        <p:spPr>
          <a:xfrm>
            <a:off x="631824" y="6655532"/>
            <a:ext cx="8642351" cy="140400"/>
          </a:xfrm>
        </p:spPr>
        <p:txBody>
          <a:bodyPr>
            <a:normAutofit fontScale="92500"/>
          </a:bodyPr>
          <a:lstStyle/>
          <a:p>
            <a:r>
              <a:rPr lang="de-DE" dirty="0" smtClean="0">
                <a:latin typeface="Arial" panose="020B0604020202020204" pitchFamily="34" charset="0"/>
                <a:cs typeface="Arial" panose="020B0604020202020204" pitchFamily="34" charset="0"/>
              </a:rPr>
              <a:t>Beschreibung der Faktoren: </a:t>
            </a:r>
            <a:r>
              <a:rPr lang="de-DE" dirty="0" smtClean="0">
                <a:latin typeface="Arial" panose="020B0604020202020204" pitchFamily="34" charset="0"/>
                <a:cs typeface="Arial" panose="020B0604020202020204" pitchFamily="34" charset="0"/>
                <a:hlinkClick r:id="" action="ppaction://noaction"/>
              </a:rPr>
              <a:t>Link</a:t>
            </a:r>
            <a:endParaRPr lang="de-DE" dirty="0">
              <a:latin typeface="Arial" panose="020B0604020202020204" pitchFamily="34" charset="0"/>
              <a:cs typeface="Arial" panose="020B0604020202020204" pitchFamily="34" charset="0"/>
            </a:endParaRPr>
          </a:p>
        </p:txBody>
      </p:sp>
      <p:sp>
        <p:nvSpPr>
          <p:cNvPr id="229" name="Textfeld 228"/>
          <p:cNvSpPr txBox="1"/>
          <p:nvPr/>
        </p:nvSpPr>
        <p:spPr>
          <a:xfrm>
            <a:off x="6144126" y="1624577"/>
            <a:ext cx="72768" cy="257369"/>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107" name="Abgerundetes Rechteck 12"/>
          <p:cNvSpPr/>
          <p:nvPr/>
        </p:nvSpPr>
        <p:spPr bwMode="auto">
          <a:xfrm>
            <a:off x="454432" y="5977089"/>
            <a:ext cx="4896000" cy="649577"/>
          </a:xfrm>
          <a:prstGeom prst="roundRect">
            <a:avLst>
              <a:gd name="adj" fmla="val 5181"/>
            </a:avLst>
          </a:prstGeom>
          <a:gradFill flip="none" rotWithShape="1">
            <a:gsLst>
              <a:gs pos="0">
                <a:schemeClr val="accent2">
                  <a:tint val="66000"/>
                  <a:satMod val="160000"/>
                  <a:alpha val="68000"/>
                </a:schemeClr>
              </a:gs>
              <a:gs pos="67000">
                <a:schemeClr val="accent2">
                  <a:tint val="44500"/>
                  <a:satMod val="160000"/>
                  <a:alpha val="70000"/>
                </a:schemeClr>
              </a:gs>
              <a:gs pos="100000">
                <a:schemeClr val="accent2">
                  <a:tint val="23500"/>
                  <a:satMod val="160000"/>
                  <a:alpha val="54000"/>
                </a:schemeClr>
              </a:gs>
            </a:gsLst>
            <a:lin ang="16200000" scaled="1"/>
            <a:tileRect/>
          </a:gradFill>
          <a:ln w="9525" cap="flat" cmpd="sng" algn="ctr">
            <a:noFill/>
            <a:prstDash val="solid"/>
            <a:round/>
            <a:headEnd type="none" w="med" len="med"/>
            <a:tailEnd type="none" w="med" len="med"/>
          </a:ln>
          <a:effectLst/>
        </p:spPr>
        <p:txBody>
          <a:bodyPr vert="horz" wrap="square" lIns="72000" tIns="46800" rIns="36000" bIns="46800" numCol="1" rtlCol="0" anchor="ctr" anchorCtr="0" compatLnSpc="1">
            <a:prstTxWarp prst="textNoShape">
              <a:avLst/>
            </a:prstTxWarp>
          </a:bodyPr>
          <a:lstStyle/>
          <a:p>
            <a:pPr marL="228600" marR="0" lvl="0" indent="-228600" algn="l" defTabSz="914400" rtl="0" eaLnBrk="1" fontAlgn="base" latinLnBrk="0" hangingPunct="1">
              <a:lnSpc>
                <a:spcPct val="100000"/>
              </a:lnSpc>
              <a:spcBef>
                <a:spcPct val="0"/>
              </a:spcBef>
              <a:spcAft>
                <a:spcPts val="200"/>
              </a:spcAft>
              <a:buClrTx/>
              <a:buSzTx/>
              <a:buFontTx/>
              <a:buAutoNum type="arabicParenR"/>
              <a:tabLst/>
              <a:defRPr/>
            </a:pPr>
            <a:r>
              <a:rPr kumimoji="0" lang="de-DE" sz="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S = Aktivsumme: </a:t>
            </a:r>
            <a:r>
              <a:rPr kumimoji="0" lang="de-DE" sz="800" b="0"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Summe der Stärke </a:t>
            </a:r>
            <a:r>
              <a:rPr kumimoji="0" lang="de-DE" sz="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r ausgehenden Wirkungen</a:t>
            </a:r>
          </a:p>
          <a:p>
            <a:pPr marL="228600" marR="0" lvl="0" indent="-228600" algn="l" defTabSz="914400" rtl="0" eaLnBrk="1" fontAlgn="base" latinLnBrk="0" hangingPunct="1">
              <a:lnSpc>
                <a:spcPct val="100000"/>
              </a:lnSpc>
              <a:spcBef>
                <a:spcPct val="0"/>
              </a:spcBef>
              <a:spcAft>
                <a:spcPts val="200"/>
              </a:spcAft>
              <a:buClrTx/>
              <a:buSzTx/>
              <a:buFontTx/>
              <a:buAutoNum type="arabicParenR"/>
              <a:tabLst/>
              <a:defRPr/>
            </a:pPr>
            <a:r>
              <a:rPr kumimoji="0" lang="de-DE" sz="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S = Passivsumme: </a:t>
            </a:r>
            <a:r>
              <a:rPr kumimoji="0" lang="de-DE" sz="800" b="0"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Summe der Stärke </a:t>
            </a:r>
            <a:r>
              <a:rPr kumimoji="0" lang="de-DE" sz="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r eingehenden Wirkungen</a:t>
            </a:r>
          </a:p>
          <a:p>
            <a:pPr marL="228600" marR="0" lvl="0" indent="-228600" algn="l" defTabSz="914400" rtl="0" eaLnBrk="1" fontAlgn="base" latinLnBrk="0" hangingPunct="1">
              <a:lnSpc>
                <a:spcPct val="100000"/>
              </a:lnSpc>
              <a:spcBef>
                <a:spcPct val="0"/>
              </a:spcBef>
              <a:spcAft>
                <a:spcPts val="200"/>
              </a:spcAft>
              <a:buClrTx/>
              <a:buSzTx/>
              <a:buFontTx/>
              <a:buAutoNum type="arabicParenR"/>
              <a:tabLst/>
              <a:defRPr/>
            </a:pPr>
            <a:r>
              <a:rPr kumimoji="0" lang="de-DE" sz="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Wert: Produkt aus Aktiv- und Passivsumme (AS*PS): Grad </a:t>
            </a:r>
            <a:r>
              <a:rPr kumimoji="0" lang="de-DE" sz="800" b="0"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der </a:t>
            </a:r>
            <a:r>
              <a:rPr kumimoji="0" lang="de-DE" sz="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eteiligung am Systemverhalten</a:t>
            </a:r>
          </a:p>
          <a:p>
            <a:pPr marL="228600" marR="0" lvl="0" indent="-228600" algn="l" defTabSz="914400" rtl="0" eaLnBrk="1" fontAlgn="base" latinLnBrk="0" hangingPunct="1">
              <a:lnSpc>
                <a:spcPct val="100000"/>
              </a:lnSpc>
              <a:spcBef>
                <a:spcPct val="0"/>
              </a:spcBef>
              <a:spcAft>
                <a:spcPts val="200"/>
              </a:spcAft>
              <a:buClrTx/>
              <a:buSzTx/>
              <a:buFontTx/>
              <a:buAutoNum type="arabicParenR"/>
              <a:tabLst/>
              <a:defRPr/>
            </a:pPr>
            <a:r>
              <a:rPr kumimoji="0" lang="de-DE" sz="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Wert: Quotient aus Aktiv- und Passivsumme (AS/PS): Grad der </a:t>
            </a:r>
            <a:r>
              <a:rPr kumimoji="0" lang="de-DE" sz="800" b="0"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ktivität bzw. </a:t>
            </a:r>
            <a:r>
              <a:rPr kumimoji="0" lang="de-DE" sz="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aktivität</a:t>
            </a:r>
          </a:p>
        </p:txBody>
      </p:sp>
      <p:grpSp>
        <p:nvGrpSpPr>
          <p:cNvPr id="512" name="Gruppieren 511"/>
          <p:cNvGrpSpPr/>
          <p:nvPr/>
        </p:nvGrpSpPr>
        <p:grpSpPr>
          <a:xfrm>
            <a:off x="76455" y="1078969"/>
            <a:ext cx="5782916" cy="4869142"/>
            <a:chOff x="120205" y="1138091"/>
            <a:chExt cx="5782916" cy="4869142"/>
          </a:xfrm>
        </p:grpSpPr>
        <p:sp>
          <p:nvSpPr>
            <p:cNvPr id="513" name="Textfeld 35"/>
            <p:cNvSpPr txBox="1"/>
            <p:nvPr/>
          </p:nvSpPr>
          <p:spPr>
            <a:xfrm>
              <a:off x="120205" y="1155790"/>
              <a:ext cx="239138" cy="165036"/>
            </a:xfrm>
            <a:prstGeom prst="rect">
              <a:avLst/>
            </a:prstGeom>
            <a:noFill/>
            <a:ln algn="ctr"/>
          </p:spPr>
          <p:txBody>
            <a:bodyPr wrap="square" lIns="36000" tIns="36000" rIns="36000" bIns="36000" rtlCol="0" anchor="t">
              <a:spAutoFit/>
            </a:bodyPr>
            <a:lstStyle/>
            <a:p>
              <a:pPr marL="180975" marR="0" lvl="0" indent="-180975" algn="l" defTabSz="914400" rtl="0" eaLnBrk="1" fontAlgn="base" latinLnBrk="0" hangingPunct="1">
                <a:lnSpc>
                  <a:spcPct val="100000"/>
                </a:lnSpc>
                <a:spcBef>
                  <a:spcPct val="0"/>
                </a:spcBef>
                <a:spcAft>
                  <a:spcPct val="0"/>
                </a:spcAft>
                <a:buClrTx/>
                <a:buSzTx/>
                <a:buFontTx/>
                <a:buNone/>
                <a:tabLst/>
                <a:defRPr/>
              </a:pPr>
              <a:r>
                <a:rPr kumimoji="0" lang="de-DE" sz="600" b="0" i="0" u="none" strike="noStrike" kern="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1)</a:t>
              </a:r>
            </a:p>
          </p:txBody>
        </p:sp>
        <p:sp>
          <p:nvSpPr>
            <p:cNvPr id="514" name="Textfeld 35"/>
            <p:cNvSpPr txBox="1"/>
            <p:nvPr/>
          </p:nvSpPr>
          <p:spPr>
            <a:xfrm>
              <a:off x="5654676" y="1138091"/>
              <a:ext cx="239138" cy="165036"/>
            </a:xfrm>
            <a:prstGeom prst="rect">
              <a:avLst/>
            </a:prstGeom>
            <a:noFill/>
            <a:ln algn="ctr"/>
          </p:spPr>
          <p:txBody>
            <a:bodyPr wrap="square" lIns="36000" tIns="36000" rIns="36000" bIns="36000" rtlCol="0" anchor="t">
              <a:spAutoFit/>
            </a:bodyPr>
            <a:lstStyle/>
            <a:p>
              <a:pPr marL="180975" marR="0" lvl="0" indent="-180975" algn="l" defTabSz="914400" rtl="0" eaLnBrk="1" fontAlgn="base" latinLnBrk="0" hangingPunct="1">
                <a:lnSpc>
                  <a:spcPct val="100000"/>
                </a:lnSpc>
                <a:spcBef>
                  <a:spcPct val="0"/>
                </a:spcBef>
                <a:spcAft>
                  <a:spcPct val="0"/>
                </a:spcAft>
                <a:buClrTx/>
                <a:buSzTx/>
                <a:buFontTx/>
                <a:buNone/>
                <a:tabLst/>
                <a:defRPr/>
              </a:pPr>
              <a:r>
                <a:rPr kumimoji="0" lang="de-DE" sz="600" b="0" i="0" u="none" strike="noStrike" kern="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3)</a:t>
              </a:r>
            </a:p>
          </p:txBody>
        </p:sp>
        <p:sp>
          <p:nvSpPr>
            <p:cNvPr id="515" name="Textfeld 35"/>
            <p:cNvSpPr txBox="1"/>
            <p:nvPr/>
          </p:nvSpPr>
          <p:spPr>
            <a:xfrm>
              <a:off x="5663983" y="1656837"/>
              <a:ext cx="239138" cy="165036"/>
            </a:xfrm>
            <a:prstGeom prst="rect">
              <a:avLst/>
            </a:prstGeom>
            <a:noFill/>
            <a:ln algn="ctr"/>
          </p:spPr>
          <p:txBody>
            <a:bodyPr wrap="square" lIns="36000" tIns="36000" rIns="36000" bIns="36000" rtlCol="0" anchor="t">
              <a:spAutoFit/>
            </a:bodyPr>
            <a:lstStyle/>
            <a:p>
              <a:pPr marL="180975" marR="0" lvl="0" indent="-180975" algn="l" defTabSz="914400" rtl="0" eaLnBrk="1" fontAlgn="base" latinLnBrk="0" hangingPunct="1">
                <a:lnSpc>
                  <a:spcPct val="100000"/>
                </a:lnSpc>
                <a:spcBef>
                  <a:spcPct val="0"/>
                </a:spcBef>
                <a:spcAft>
                  <a:spcPct val="0"/>
                </a:spcAft>
                <a:buClrTx/>
                <a:buSzTx/>
                <a:buFontTx/>
                <a:buNone/>
                <a:tabLst/>
                <a:defRPr/>
              </a:pPr>
              <a:r>
                <a:rPr kumimoji="0" lang="de-DE" sz="600" b="0" i="0" u="none" strike="noStrike" kern="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4)</a:t>
              </a:r>
            </a:p>
          </p:txBody>
        </p:sp>
        <p:sp>
          <p:nvSpPr>
            <p:cNvPr id="516" name="Textfeld 35"/>
            <p:cNvSpPr txBox="1"/>
            <p:nvPr/>
          </p:nvSpPr>
          <p:spPr>
            <a:xfrm>
              <a:off x="5625512" y="5200005"/>
              <a:ext cx="239138" cy="165036"/>
            </a:xfrm>
            <a:prstGeom prst="rect">
              <a:avLst/>
            </a:prstGeom>
            <a:noFill/>
            <a:ln algn="ctr"/>
          </p:spPr>
          <p:txBody>
            <a:bodyPr wrap="square" lIns="36000" tIns="36000" rIns="36000" bIns="36000" rtlCol="0" anchor="t">
              <a:spAutoFit/>
            </a:bodyPr>
            <a:lstStyle/>
            <a:p>
              <a:pPr marL="180975" marR="0" lvl="0" indent="-180975" algn="l" defTabSz="914400" rtl="0" eaLnBrk="1" fontAlgn="base" latinLnBrk="0" hangingPunct="1">
                <a:lnSpc>
                  <a:spcPct val="100000"/>
                </a:lnSpc>
                <a:spcBef>
                  <a:spcPct val="0"/>
                </a:spcBef>
                <a:spcAft>
                  <a:spcPct val="0"/>
                </a:spcAft>
                <a:buClrTx/>
                <a:buSzTx/>
                <a:buFontTx/>
                <a:buNone/>
                <a:tabLst/>
                <a:defRPr/>
              </a:pPr>
              <a:r>
                <a:rPr kumimoji="0" lang="de-DE" sz="600" b="0" i="0" u="none" strike="noStrike" kern="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4)</a:t>
              </a:r>
            </a:p>
          </p:txBody>
        </p:sp>
        <p:sp>
          <p:nvSpPr>
            <p:cNvPr id="517" name="Textfeld 35"/>
            <p:cNvSpPr txBox="1"/>
            <p:nvPr/>
          </p:nvSpPr>
          <p:spPr>
            <a:xfrm>
              <a:off x="5476627" y="5842197"/>
              <a:ext cx="239138" cy="165036"/>
            </a:xfrm>
            <a:prstGeom prst="rect">
              <a:avLst/>
            </a:prstGeom>
            <a:noFill/>
            <a:ln algn="ctr"/>
          </p:spPr>
          <p:txBody>
            <a:bodyPr wrap="square" lIns="36000" tIns="36000" rIns="36000" bIns="36000" rtlCol="0" anchor="t">
              <a:spAutoFit/>
            </a:bodyPr>
            <a:lstStyle/>
            <a:p>
              <a:pPr marL="180975" marR="0" lvl="0" indent="-180975" algn="l" defTabSz="914400" rtl="0" eaLnBrk="1" fontAlgn="base" latinLnBrk="0" hangingPunct="1">
                <a:lnSpc>
                  <a:spcPct val="100000"/>
                </a:lnSpc>
                <a:spcBef>
                  <a:spcPct val="0"/>
                </a:spcBef>
                <a:spcAft>
                  <a:spcPct val="0"/>
                </a:spcAft>
                <a:buClrTx/>
                <a:buSzTx/>
                <a:buFontTx/>
                <a:buNone/>
                <a:tabLst/>
                <a:defRPr/>
              </a:pPr>
              <a:r>
                <a:rPr kumimoji="0" lang="de-DE" sz="600" b="0" i="0" u="none" strike="noStrike" kern="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2)</a:t>
              </a:r>
            </a:p>
          </p:txBody>
        </p:sp>
        <p:sp>
          <p:nvSpPr>
            <p:cNvPr id="518" name="Textfeld 35"/>
            <p:cNvSpPr txBox="1"/>
            <p:nvPr/>
          </p:nvSpPr>
          <p:spPr>
            <a:xfrm>
              <a:off x="5267654" y="1173096"/>
              <a:ext cx="239138" cy="165036"/>
            </a:xfrm>
            <a:prstGeom prst="rect">
              <a:avLst/>
            </a:prstGeom>
            <a:noFill/>
            <a:ln algn="ctr"/>
          </p:spPr>
          <p:txBody>
            <a:bodyPr wrap="square" lIns="36000" tIns="36000" rIns="36000" bIns="36000" rtlCol="0" anchor="t">
              <a:spAutoFit/>
            </a:bodyPr>
            <a:lstStyle/>
            <a:p>
              <a:pPr marL="180975" marR="0" lvl="0" indent="-180975" algn="l" defTabSz="914400" rtl="0" eaLnBrk="1" fontAlgn="base" latinLnBrk="0" hangingPunct="1">
                <a:lnSpc>
                  <a:spcPct val="100000"/>
                </a:lnSpc>
                <a:spcBef>
                  <a:spcPct val="0"/>
                </a:spcBef>
                <a:spcAft>
                  <a:spcPct val="0"/>
                </a:spcAft>
                <a:buClrTx/>
                <a:buSzTx/>
                <a:buFontTx/>
                <a:buNone/>
                <a:tabLst/>
                <a:defRPr/>
              </a:pPr>
              <a:r>
                <a:rPr kumimoji="0" lang="de-DE" sz="600" b="0" i="0" u="none" strike="noStrike" kern="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4)</a:t>
              </a:r>
            </a:p>
          </p:txBody>
        </p:sp>
      </p:grpSp>
      <p:sp>
        <p:nvSpPr>
          <p:cNvPr id="2" name="Rechteck 1"/>
          <p:cNvSpPr/>
          <p:nvPr/>
        </p:nvSpPr>
        <p:spPr bwMode="auto">
          <a:xfrm>
            <a:off x="1232899" y="2702103"/>
            <a:ext cx="236305" cy="246580"/>
          </a:xfrm>
          <a:prstGeom prst="rect">
            <a:avLst/>
          </a:prstGeom>
          <a:solidFill>
            <a:srgbClr val="FFFF5A"/>
          </a:soli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4" name="Rechteck 3"/>
          <p:cNvSpPr/>
          <p:nvPr/>
        </p:nvSpPr>
        <p:spPr bwMode="auto">
          <a:xfrm rot="20434177">
            <a:off x="1838194" y="3283123"/>
            <a:ext cx="215757" cy="189726"/>
          </a:xfrm>
          <a:prstGeom prst="rect">
            <a:avLst/>
          </a:prstGeom>
          <a:gradFill flip="none" rotWithShape="1">
            <a:gsLst>
              <a:gs pos="53000">
                <a:srgbClr val="E7EF94"/>
              </a:gs>
              <a:gs pos="75000">
                <a:srgbClr val="F4EF7B"/>
              </a:gs>
            </a:gsLst>
            <a:lin ang="13500000" scaled="1"/>
            <a:tileRect/>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111" name="Rechteck 110"/>
          <p:cNvSpPr/>
          <p:nvPr/>
        </p:nvSpPr>
        <p:spPr bwMode="auto">
          <a:xfrm>
            <a:off x="2549448" y="3503334"/>
            <a:ext cx="183927" cy="195209"/>
          </a:xfrm>
          <a:prstGeom prst="rect">
            <a:avLst/>
          </a:prstGeom>
          <a:gradFill flip="none" rotWithShape="1">
            <a:gsLst>
              <a:gs pos="8000">
                <a:srgbClr val="CEDEBD"/>
              </a:gs>
              <a:gs pos="3000">
                <a:srgbClr val="CEDEBD"/>
              </a:gs>
            </a:gsLst>
            <a:lin ang="13500000" scaled="1"/>
            <a:tileRect/>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112" name="Rechteck 111"/>
          <p:cNvSpPr/>
          <p:nvPr/>
        </p:nvSpPr>
        <p:spPr bwMode="auto">
          <a:xfrm rot="3169305">
            <a:off x="2088216" y="3740618"/>
            <a:ext cx="158218" cy="158732"/>
          </a:xfrm>
          <a:prstGeom prst="rect">
            <a:avLst/>
          </a:prstGeom>
          <a:gradFill flip="none" rotWithShape="1">
            <a:gsLst>
              <a:gs pos="8000">
                <a:srgbClr val="ADEFB5"/>
              </a:gs>
              <a:gs pos="3000">
                <a:srgbClr val="ADEFB5"/>
              </a:gs>
            </a:gsLst>
            <a:lin ang="13500000" scaled="1"/>
            <a:tileRect/>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121" name="Rechteck 120"/>
          <p:cNvSpPr/>
          <p:nvPr/>
        </p:nvSpPr>
        <p:spPr bwMode="auto">
          <a:xfrm rot="20434177">
            <a:off x="1602745" y="2883919"/>
            <a:ext cx="215757" cy="189726"/>
          </a:xfrm>
          <a:prstGeom prst="rect">
            <a:avLst/>
          </a:prstGeom>
          <a:gradFill flip="none" rotWithShape="1">
            <a:gsLst>
              <a:gs pos="53000">
                <a:srgbClr val="F4EF7B"/>
              </a:gs>
              <a:gs pos="75000">
                <a:srgbClr val="F4EF7B"/>
              </a:gs>
            </a:gsLst>
            <a:lin ang="13500000" scaled="1"/>
            <a:tileRect/>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122" name="Rechteck 121"/>
          <p:cNvSpPr/>
          <p:nvPr/>
        </p:nvSpPr>
        <p:spPr bwMode="auto">
          <a:xfrm>
            <a:off x="2305192" y="3276041"/>
            <a:ext cx="183927" cy="195209"/>
          </a:xfrm>
          <a:prstGeom prst="rect">
            <a:avLst/>
          </a:prstGeom>
          <a:gradFill flip="none" rotWithShape="1">
            <a:gsLst>
              <a:gs pos="80000">
                <a:srgbClr val="CEDEBD"/>
              </a:gs>
              <a:gs pos="82000">
                <a:srgbClr val="E7EF94"/>
              </a:gs>
            </a:gsLst>
            <a:lin ang="13500000" scaled="1"/>
            <a:tileRect/>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123" name="Rechteck 122"/>
          <p:cNvSpPr/>
          <p:nvPr/>
        </p:nvSpPr>
        <p:spPr bwMode="auto">
          <a:xfrm>
            <a:off x="2549555" y="2602998"/>
            <a:ext cx="183927" cy="195209"/>
          </a:xfrm>
          <a:prstGeom prst="rect">
            <a:avLst/>
          </a:prstGeom>
          <a:gradFill flip="none" rotWithShape="1">
            <a:gsLst>
              <a:gs pos="80000">
                <a:srgbClr val="FFCE9C"/>
              </a:gs>
              <a:gs pos="48000">
                <a:srgbClr val="FFCE9C"/>
              </a:gs>
            </a:gsLst>
            <a:lin ang="13500000" scaled="1"/>
            <a:tileRect/>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124" name="Rechteck 123"/>
          <p:cNvSpPr/>
          <p:nvPr/>
        </p:nvSpPr>
        <p:spPr bwMode="auto">
          <a:xfrm>
            <a:off x="420352" y="3180566"/>
            <a:ext cx="183927" cy="195209"/>
          </a:xfrm>
          <a:prstGeom prst="rect">
            <a:avLst/>
          </a:prstGeom>
          <a:gradFill flip="none" rotWithShape="1">
            <a:gsLst>
              <a:gs pos="64000">
                <a:srgbClr val="DEFF52"/>
              </a:gs>
              <a:gs pos="93000">
                <a:srgbClr val="A5FF52"/>
              </a:gs>
            </a:gsLst>
            <a:lin ang="10800000" scaled="1"/>
            <a:tileRect/>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126" name="Rechteck 125"/>
          <p:cNvSpPr/>
          <p:nvPr/>
        </p:nvSpPr>
        <p:spPr bwMode="auto">
          <a:xfrm rot="2375559">
            <a:off x="2907850" y="2477616"/>
            <a:ext cx="183927" cy="195209"/>
          </a:xfrm>
          <a:prstGeom prst="rect">
            <a:avLst/>
          </a:prstGeom>
          <a:gradFill flip="none" rotWithShape="1">
            <a:gsLst>
              <a:gs pos="53000">
                <a:srgbClr val="FF8C94"/>
              </a:gs>
              <a:gs pos="64000">
                <a:srgbClr val="FFA57B"/>
              </a:gs>
            </a:gsLst>
            <a:lin ang="10800000" scaled="1"/>
            <a:tileRect/>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130" name="Rechteck 129"/>
          <p:cNvSpPr/>
          <p:nvPr/>
        </p:nvSpPr>
        <p:spPr bwMode="auto">
          <a:xfrm rot="2375559">
            <a:off x="3017840" y="2569917"/>
            <a:ext cx="183927" cy="195209"/>
          </a:xfrm>
          <a:prstGeom prst="rect">
            <a:avLst/>
          </a:prstGeom>
          <a:gradFill flip="none" rotWithShape="1">
            <a:gsLst>
              <a:gs pos="53000">
                <a:srgbClr val="FF8C94"/>
              </a:gs>
              <a:gs pos="64000">
                <a:srgbClr val="FF8C94"/>
              </a:gs>
            </a:gsLst>
            <a:lin ang="10800000" scaled="1"/>
            <a:tileRect/>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131" name="Rechteck 130"/>
          <p:cNvSpPr/>
          <p:nvPr/>
        </p:nvSpPr>
        <p:spPr bwMode="auto">
          <a:xfrm rot="2375559">
            <a:off x="3229232" y="2203335"/>
            <a:ext cx="183927" cy="195209"/>
          </a:xfrm>
          <a:prstGeom prst="rect">
            <a:avLst/>
          </a:prstGeom>
          <a:gradFill flip="none" rotWithShape="1">
            <a:gsLst>
              <a:gs pos="93000">
                <a:srgbClr val="FFA57B"/>
              </a:gs>
              <a:gs pos="79000">
                <a:srgbClr val="FF8C94"/>
              </a:gs>
            </a:gsLst>
            <a:lin ang="10800000" scaled="1"/>
            <a:tileRect/>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132" name="Rechteck 131"/>
          <p:cNvSpPr/>
          <p:nvPr/>
        </p:nvSpPr>
        <p:spPr bwMode="auto">
          <a:xfrm rot="2375559">
            <a:off x="3578549" y="2889655"/>
            <a:ext cx="183927" cy="195209"/>
          </a:xfrm>
          <a:prstGeom prst="rect">
            <a:avLst/>
          </a:prstGeom>
          <a:gradFill flip="none" rotWithShape="1">
            <a:gsLst>
              <a:gs pos="53000">
                <a:srgbClr val="FF8C94"/>
              </a:gs>
              <a:gs pos="64000">
                <a:srgbClr val="FF8C94"/>
              </a:gs>
            </a:gsLst>
            <a:lin ang="10800000" scaled="1"/>
            <a:tileRect/>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133" name="Rechteck 132"/>
          <p:cNvSpPr/>
          <p:nvPr/>
        </p:nvSpPr>
        <p:spPr bwMode="auto">
          <a:xfrm rot="2375559">
            <a:off x="3937448" y="2889656"/>
            <a:ext cx="183927" cy="195209"/>
          </a:xfrm>
          <a:prstGeom prst="rect">
            <a:avLst/>
          </a:prstGeom>
          <a:gradFill flip="none" rotWithShape="1">
            <a:gsLst>
              <a:gs pos="53000">
                <a:srgbClr val="FF8C94"/>
              </a:gs>
              <a:gs pos="64000">
                <a:srgbClr val="FF8C94"/>
              </a:gs>
            </a:gsLst>
            <a:lin ang="10800000" scaled="1"/>
            <a:tileRect/>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134" name="Rechteck 133"/>
          <p:cNvSpPr/>
          <p:nvPr/>
        </p:nvSpPr>
        <p:spPr bwMode="auto">
          <a:xfrm rot="18252115">
            <a:off x="4282454" y="2587894"/>
            <a:ext cx="183927" cy="195209"/>
          </a:xfrm>
          <a:prstGeom prst="rect">
            <a:avLst/>
          </a:prstGeom>
          <a:gradFill flip="none" rotWithShape="1">
            <a:gsLst>
              <a:gs pos="70000">
                <a:srgbClr val="FF8C94"/>
              </a:gs>
              <a:gs pos="57000">
                <a:srgbClr val="FF5A63"/>
              </a:gs>
            </a:gsLst>
            <a:lin ang="10800000" scaled="1"/>
            <a:tileRect/>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135" name="Rechteck 134"/>
          <p:cNvSpPr/>
          <p:nvPr/>
        </p:nvSpPr>
        <p:spPr bwMode="auto">
          <a:xfrm rot="18252115">
            <a:off x="4105495" y="2284405"/>
            <a:ext cx="156572" cy="195209"/>
          </a:xfrm>
          <a:prstGeom prst="rect">
            <a:avLst/>
          </a:prstGeom>
          <a:gradFill flip="none" rotWithShape="1">
            <a:gsLst>
              <a:gs pos="70000">
                <a:srgbClr val="FF5A63"/>
              </a:gs>
              <a:gs pos="57000">
                <a:srgbClr val="FF5A63"/>
              </a:gs>
            </a:gsLst>
            <a:lin ang="10800000" scaled="1"/>
            <a:tileRect/>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136" name="Rechteck 135"/>
          <p:cNvSpPr/>
          <p:nvPr/>
        </p:nvSpPr>
        <p:spPr bwMode="auto">
          <a:xfrm rot="16200000">
            <a:off x="4691921" y="1775422"/>
            <a:ext cx="156572" cy="195209"/>
          </a:xfrm>
          <a:prstGeom prst="rect">
            <a:avLst/>
          </a:prstGeom>
          <a:gradFill flip="none" rotWithShape="1">
            <a:gsLst>
              <a:gs pos="70000">
                <a:srgbClr val="FF5A63"/>
              </a:gs>
              <a:gs pos="57000">
                <a:srgbClr val="FF5A63"/>
              </a:gs>
            </a:gsLst>
            <a:lin ang="10800000" scaled="1"/>
            <a:tileRect/>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137" name="Rechteck 136"/>
          <p:cNvSpPr/>
          <p:nvPr/>
        </p:nvSpPr>
        <p:spPr bwMode="auto">
          <a:xfrm rot="15898688">
            <a:off x="4180182" y="3196055"/>
            <a:ext cx="199242" cy="413873"/>
          </a:xfrm>
          <a:prstGeom prst="rect">
            <a:avLst/>
          </a:prstGeom>
          <a:gradFill flip="none" rotWithShape="1">
            <a:gsLst>
              <a:gs pos="70000">
                <a:srgbClr val="EF739C"/>
              </a:gs>
              <a:gs pos="57000">
                <a:srgbClr val="EF739C"/>
              </a:gs>
            </a:gsLst>
            <a:lin ang="10800000" scaled="1"/>
            <a:tileRect/>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138" name="Rechteck 137"/>
          <p:cNvSpPr/>
          <p:nvPr/>
        </p:nvSpPr>
        <p:spPr bwMode="auto">
          <a:xfrm rot="14265316">
            <a:off x="3366786" y="3361621"/>
            <a:ext cx="199242" cy="413873"/>
          </a:xfrm>
          <a:prstGeom prst="rect">
            <a:avLst/>
          </a:prstGeom>
          <a:gradFill flip="none" rotWithShape="1">
            <a:gsLst>
              <a:gs pos="70000">
                <a:srgbClr val="EFB5B5"/>
              </a:gs>
              <a:gs pos="57000">
                <a:srgbClr val="EFB5B5"/>
              </a:gs>
            </a:gsLst>
            <a:lin ang="10800000" scaled="1"/>
            <a:tileRect/>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139" name="Rechteck 138"/>
          <p:cNvSpPr/>
          <p:nvPr/>
        </p:nvSpPr>
        <p:spPr bwMode="auto">
          <a:xfrm rot="13143321">
            <a:off x="3482075" y="3767111"/>
            <a:ext cx="199242" cy="212998"/>
          </a:xfrm>
          <a:prstGeom prst="rect">
            <a:avLst/>
          </a:prstGeom>
          <a:gradFill flip="none" rotWithShape="1">
            <a:gsLst>
              <a:gs pos="70000">
                <a:srgbClr val="E7A5CE"/>
              </a:gs>
              <a:gs pos="57000">
                <a:srgbClr val="E7A5CE"/>
              </a:gs>
            </a:gsLst>
            <a:lin ang="10800000" scaled="1"/>
            <a:tileRect/>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140" name="Rechteck 139"/>
          <p:cNvSpPr/>
          <p:nvPr/>
        </p:nvSpPr>
        <p:spPr bwMode="auto">
          <a:xfrm rot="13143321">
            <a:off x="4183870" y="3797621"/>
            <a:ext cx="199242" cy="212998"/>
          </a:xfrm>
          <a:prstGeom prst="rect">
            <a:avLst/>
          </a:prstGeom>
          <a:gradFill flip="none" rotWithShape="1">
            <a:gsLst>
              <a:gs pos="70000">
                <a:srgbClr val="CE8CD6"/>
              </a:gs>
              <a:gs pos="57000">
                <a:srgbClr val="CE8CD6"/>
              </a:gs>
            </a:gsLst>
            <a:lin ang="10800000" scaled="1"/>
            <a:tileRect/>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141" name="Rechteck 140"/>
          <p:cNvSpPr/>
          <p:nvPr/>
        </p:nvSpPr>
        <p:spPr bwMode="auto">
          <a:xfrm rot="14583105">
            <a:off x="2994150" y="4080133"/>
            <a:ext cx="199242" cy="212998"/>
          </a:xfrm>
          <a:prstGeom prst="rect">
            <a:avLst/>
          </a:prstGeom>
          <a:gradFill flip="none" rotWithShape="1">
            <a:gsLst>
              <a:gs pos="70000">
                <a:srgbClr val="C0C0D4"/>
              </a:gs>
              <a:gs pos="57000">
                <a:srgbClr val="C0C0D4"/>
              </a:gs>
            </a:gsLst>
            <a:lin ang="10800000" scaled="1"/>
            <a:tileRect/>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142" name="Rechteck 141"/>
          <p:cNvSpPr/>
          <p:nvPr/>
        </p:nvSpPr>
        <p:spPr bwMode="auto">
          <a:xfrm rot="6557201">
            <a:off x="3080555" y="3843286"/>
            <a:ext cx="222361" cy="178897"/>
          </a:xfrm>
          <a:prstGeom prst="rect">
            <a:avLst/>
          </a:prstGeom>
          <a:gradFill flip="none" rotWithShape="1">
            <a:gsLst>
              <a:gs pos="70000">
                <a:srgbClr val="CEDEBD"/>
              </a:gs>
              <a:gs pos="57000">
                <a:srgbClr val="C0C0D4"/>
              </a:gs>
            </a:gsLst>
            <a:lin ang="8100000" scaled="1"/>
            <a:tileRect/>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143" name="Rechteck 142"/>
          <p:cNvSpPr/>
          <p:nvPr/>
        </p:nvSpPr>
        <p:spPr bwMode="auto">
          <a:xfrm rot="8729948">
            <a:off x="1814323" y="4494566"/>
            <a:ext cx="222361" cy="178897"/>
          </a:xfrm>
          <a:prstGeom prst="rect">
            <a:avLst/>
          </a:prstGeom>
          <a:gradFill flip="none" rotWithShape="1">
            <a:gsLst>
              <a:gs pos="70000">
                <a:srgbClr val="8CEF8C"/>
              </a:gs>
              <a:gs pos="57000">
                <a:srgbClr val="8CEF8C"/>
              </a:gs>
            </a:gsLst>
            <a:lin ang="8100000" scaled="1"/>
            <a:tileRect/>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48" name="Textfeld 47"/>
          <p:cNvSpPr txBox="1"/>
          <p:nvPr/>
        </p:nvSpPr>
        <p:spPr>
          <a:xfrm>
            <a:off x="6144126" y="1624577"/>
            <a:ext cx="72768" cy="257369"/>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49" name="Textfeld 48"/>
          <p:cNvSpPr txBox="1"/>
          <p:nvPr/>
        </p:nvSpPr>
        <p:spPr>
          <a:xfrm>
            <a:off x="5952598" y="1167320"/>
            <a:ext cx="3726770" cy="4727824"/>
          </a:xfrm>
          <a:prstGeom prst="rect">
            <a:avLst/>
          </a:prstGeom>
          <a:solidFill>
            <a:schemeClr val="accent1">
              <a:lumMod val="20000"/>
              <a:lumOff val="80000"/>
            </a:schemeClr>
          </a:solidFill>
          <a:ln algn="ctr"/>
        </p:spPr>
        <p:txBody>
          <a:bodyPr wrap="square" lIns="36000" tIns="36000" rIns="36000" bIns="36000" rtlCol="0" anchor="t">
            <a:spAutoFit/>
          </a:bodyPr>
          <a:lstStyle/>
          <a:p>
            <a:pPr marL="0" marR="0" lvl="0" indent="0" algn="l" defTabSz="914400" rtl="0" eaLnBrk="1" fontAlgn="base" latinLnBrk="0" hangingPunct="1">
              <a:lnSpc>
                <a:spcPct val="100000"/>
              </a:lnSpc>
              <a:spcBef>
                <a:spcPct val="0"/>
              </a:spcBef>
              <a:spcAft>
                <a:spcPts val="300"/>
              </a:spcAft>
              <a:buClr>
                <a:srgbClr val="000000"/>
              </a:buClr>
              <a:buSzTx/>
              <a:buFontTx/>
              <a:buNone/>
              <a:tabLst/>
              <a:defRPr/>
            </a:pPr>
            <a:r>
              <a:rPr kumimoji="0" lang="de-DE" sz="1000" b="0" i="0" u="none" strike="noStrike" kern="0" cap="none" spc="0" normalizeH="0" baseline="0" noProof="0" dirty="0" smtClean="0">
                <a:ln>
                  <a:noFill/>
                </a:ln>
                <a:solidFill>
                  <a:srgbClr val="000000"/>
                </a:solidFill>
                <a:effectLst/>
                <a:uLnTx/>
                <a:uFillTx/>
                <a:latin typeface="Arial" panose="020B0604020202020204"/>
                <a:ea typeface="+mn-ea"/>
                <a:cs typeface="+mn-cs"/>
              </a:rPr>
              <a:t>Grundlegend werden alle Faktoren des Systems anhand der Summe der Stärke der ausgehenden Wirkungen und der eingehenden Wirkungen in die Wirkungs-Risiko Systemkarte eingetragen:</a:t>
            </a:r>
          </a:p>
          <a:p>
            <a:pPr marL="0" marR="0" lvl="0" indent="0" algn="l" defTabSz="914400" rtl="0" eaLnBrk="1" fontAlgn="base" latinLnBrk="0" hangingPunct="1">
              <a:lnSpc>
                <a:spcPct val="100000"/>
              </a:lnSpc>
              <a:spcBef>
                <a:spcPct val="0"/>
              </a:spcBef>
              <a:spcAft>
                <a:spcPts val="300"/>
              </a:spcAft>
              <a:buClr>
                <a:srgbClr val="000000"/>
              </a:buClr>
              <a:buSzTx/>
              <a:buFontTx/>
              <a:buNone/>
              <a:tabLst/>
              <a:defRPr/>
            </a:pPr>
            <a:r>
              <a:rPr kumimoji="0" lang="de-DE" sz="1000" b="0" i="0" u="none" strike="noStrike" kern="0" cap="none" spc="0" normalizeH="0" baseline="0" noProof="0" dirty="0" smtClean="0">
                <a:ln>
                  <a:noFill/>
                </a:ln>
                <a:solidFill>
                  <a:srgbClr val="000000"/>
                </a:solidFill>
                <a:effectLst/>
                <a:uLnTx/>
                <a:uFillTx/>
                <a:latin typeface="Arial" panose="020B0604020202020204"/>
                <a:ea typeface="+mn-ea"/>
                <a:cs typeface="+mn-cs"/>
              </a:rPr>
              <a:t>Dabei kann unterschieden werden zwischen:</a:t>
            </a:r>
          </a:p>
          <a:p>
            <a:pPr marL="228600" marR="0" lvl="0" indent="-228600" algn="l" defTabSz="914400" rtl="0" eaLnBrk="1" fontAlgn="base" latinLnBrk="0" hangingPunct="1">
              <a:lnSpc>
                <a:spcPct val="100000"/>
              </a:lnSpc>
              <a:spcBef>
                <a:spcPct val="0"/>
              </a:spcBef>
              <a:spcAft>
                <a:spcPts val="300"/>
              </a:spcAft>
              <a:buClr>
                <a:srgbClr val="000000"/>
              </a:buClr>
              <a:buSzTx/>
              <a:buFontTx/>
              <a:buAutoNum type="arabicPeriod"/>
              <a:tabLst/>
              <a:defRPr/>
            </a:pPr>
            <a:r>
              <a:rPr kumimoji="0" lang="de-DE" sz="1000" b="1" i="0" u="none" strike="noStrike" kern="0" cap="none" spc="0" normalizeH="0" baseline="0" noProof="0" dirty="0" smtClean="0">
                <a:ln>
                  <a:noFill/>
                </a:ln>
                <a:solidFill>
                  <a:srgbClr val="15935A"/>
                </a:solidFill>
                <a:effectLst/>
                <a:uLnTx/>
                <a:uFillTx/>
                <a:latin typeface="Arial" panose="020B0604020202020204"/>
                <a:ea typeface="+mn-ea"/>
                <a:cs typeface="+mn-cs"/>
              </a:rPr>
              <a:t>Aktiv direkt beeinflussbarer Bereich: </a:t>
            </a:r>
            <a:r>
              <a:rPr kumimoji="0" lang="de-DE" sz="1000" b="0" i="0" u="none" strike="noStrike" kern="0" cap="none" spc="0" normalizeH="0" baseline="0" noProof="0" dirty="0" smtClean="0">
                <a:ln>
                  <a:noFill/>
                </a:ln>
                <a:solidFill>
                  <a:srgbClr val="000000"/>
                </a:solidFill>
                <a:effectLst/>
                <a:uLnTx/>
                <a:uFillTx/>
                <a:latin typeface="Arial" panose="020B0604020202020204"/>
                <a:ea typeface="+mn-ea"/>
                <a:cs typeface="+mn-cs"/>
              </a:rPr>
              <a:t>Starke Wirkung in das System (Hohe Aktivsumme = AS = vertikale Achse) und keine/kaum bremsende Rückwirkungen (Niedrige Passivsumme = PS = horizontale Achse). Ideale Ansatzpunkte um Change-Prozesse zu initiieren.</a:t>
            </a:r>
          </a:p>
          <a:p>
            <a:pPr marL="228600" marR="0" lvl="0" indent="-228600" algn="l" defTabSz="914400" rtl="0" eaLnBrk="1" fontAlgn="base" latinLnBrk="0" hangingPunct="1">
              <a:lnSpc>
                <a:spcPct val="100000"/>
              </a:lnSpc>
              <a:spcBef>
                <a:spcPct val="0"/>
              </a:spcBef>
              <a:spcAft>
                <a:spcPts val="300"/>
              </a:spcAft>
              <a:buClr>
                <a:srgbClr val="000000"/>
              </a:buClr>
              <a:buSzTx/>
              <a:buFontTx/>
              <a:buAutoNum type="arabicPeriod"/>
              <a:tabLst/>
              <a:defRPr/>
            </a:pPr>
            <a:r>
              <a:rPr kumimoji="0" lang="de-DE" sz="1000" b="1" i="0" u="none" strike="noStrike" kern="0" cap="none" spc="0" normalizeH="0" baseline="0" noProof="0" dirty="0" smtClean="0">
                <a:ln>
                  <a:noFill/>
                </a:ln>
                <a:solidFill>
                  <a:srgbClr val="700000"/>
                </a:solidFill>
                <a:effectLst/>
                <a:uLnTx/>
                <a:uFillTx/>
                <a:latin typeface="Arial" panose="020B0604020202020204"/>
                <a:ea typeface="+mn-ea"/>
                <a:cs typeface="+mn-cs"/>
              </a:rPr>
              <a:t>Kritischer Bereich:</a:t>
            </a:r>
            <a:r>
              <a:rPr kumimoji="0" lang="de-DE" sz="1000" b="0" i="0" u="none" strike="noStrike" kern="0" cap="none" spc="0" normalizeH="0" baseline="0" noProof="0" dirty="0" smtClean="0">
                <a:ln>
                  <a:noFill/>
                </a:ln>
                <a:solidFill>
                  <a:srgbClr val="000000"/>
                </a:solidFill>
                <a:effectLst/>
                <a:uLnTx/>
                <a:uFillTx/>
                <a:latin typeface="Arial" panose="020B0604020202020204"/>
                <a:ea typeface="+mn-ea"/>
                <a:cs typeface="+mn-cs"/>
              </a:rPr>
              <a:t> </a:t>
            </a:r>
            <a:r>
              <a:rPr kumimoji="0" lang="de-DE" sz="1000" b="0" i="0" u="none" strike="noStrike" kern="0" cap="none" spc="0" normalizeH="0" baseline="0" noProof="0" dirty="0">
                <a:ln>
                  <a:noFill/>
                </a:ln>
                <a:solidFill>
                  <a:srgbClr val="000000"/>
                </a:solidFill>
                <a:effectLst/>
                <a:uLnTx/>
                <a:uFillTx/>
                <a:latin typeface="Arial" panose="020B0604020202020204"/>
                <a:ea typeface="+mn-ea"/>
                <a:cs typeface="+mn-cs"/>
              </a:rPr>
              <a:t>Starke Wirkung in das System (Hohe Aktivsumme = AS = vertikale Achse) und </a:t>
            </a:r>
            <a:r>
              <a:rPr kumimoji="0" lang="de-DE" sz="1000" b="0" i="0" u="none" strike="noStrike" kern="0" cap="none" spc="0" normalizeH="0" baseline="0" noProof="0" dirty="0" smtClean="0">
                <a:ln>
                  <a:noFill/>
                </a:ln>
                <a:solidFill>
                  <a:srgbClr val="000000"/>
                </a:solidFill>
                <a:effectLst/>
                <a:uLnTx/>
                <a:uFillTx/>
                <a:latin typeface="Arial" panose="020B0604020202020204"/>
                <a:ea typeface="+mn-ea"/>
                <a:cs typeface="+mn-cs"/>
              </a:rPr>
              <a:t>starke </a:t>
            </a:r>
            <a:r>
              <a:rPr kumimoji="0" lang="de-DE" sz="1000" b="0" i="0" u="none" strike="noStrike" kern="0" cap="none" spc="0" normalizeH="0" baseline="0" noProof="0" dirty="0">
                <a:ln>
                  <a:noFill/>
                </a:ln>
                <a:solidFill>
                  <a:srgbClr val="000000"/>
                </a:solidFill>
                <a:effectLst/>
                <a:uLnTx/>
                <a:uFillTx/>
                <a:latin typeface="Arial" panose="020B0604020202020204"/>
                <a:ea typeface="+mn-ea"/>
                <a:cs typeface="+mn-cs"/>
              </a:rPr>
              <a:t>bremsende Rückwirkungen </a:t>
            </a:r>
            <a:r>
              <a:rPr kumimoji="0" lang="de-DE" sz="1000" b="0" i="0" u="none" strike="noStrike" kern="0" cap="none" spc="0" normalizeH="0" baseline="0" noProof="0" dirty="0" smtClean="0">
                <a:ln>
                  <a:noFill/>
                </a:ln>
                <a:solidFill>
                  <a:srgbClr val="000000"/>
                </a:solidFill>
                <a:effectLst/>
                <a:uLnTx/>
                <a:uFillTx/>
                <a:latin typeface="Arial" panose="020B0604020202020204"/>
                <a:ea typeface="+mn-ea"/>
                <a:cs typeface="+mn-cs"/>
              </a:rPr>
              <a:t>(Hohe </a:t>
            </a:r>
            <a:r>
              <a:rPr kumimoji="0" lang="de-DE" sz="1000" b="0" i="0" u="none" strike="noStrike" kern="0" cap="none" spc="0" normalizeH="0" baseline="0" noProof="0" dirty="0">
                <a:ln>
                  <a:noFill/>
                </a:ln>
                <a:solidFill>
                  <a:srgbClr val="000000"/>
                </a:solidFill>
                <a:effectLst/>
                <a:uLnTx/>
                <a:uFillTx/>
                <a:latin typeface="Arial" panose="020B0604020202020204"/>
                <a:ea typeface="+mn-ea"/>
                <a:cs typeface="+mn-cs"/>
              </a:rPr>
              <a:t>Passivsumme = PS = horizontale Achse</a:t>
            </a:r>
            <a:r>
              <a:rPr kumimoji="0" lang="de-DE" sz="1000" b="0" i="0" u="none" strike="noStrike" kern="0" cap="none" spc="0" normalizeH="0" baseline="0" noProof="0" dirty="0" smtClean="0">
                <a:ln>
                  <a:noFill/>
                </a:ln>
                <a:solidFill>
                  <a:srgbClr val="000000"/>
                </a:solidFill>
                <a:effectLst/>
                <a:uLnTx/>
                <a:uFillTx/>
                <a:latin typeface="Arial" panose="020B0604020202020204"/>
                <a:ea typeface="+mn-ea"/>
                <a:cs typeface="+mn-cs"/>
              </a:rPr>
              <a:t>). Wichtiger Bereich um im Verbund mit anderen Faktoren Change-Prozesse beizubehalten, im System zu verteilen</a:t>
            </a:r>
          </a:p>
          <a:p>
            <a:pPr marL="228600" marR="0" lvl="0" indent="-228600" algn="l" defTabSz="914400" rtl="0" eaLnBrk="1" fontAlgn="base" latinLnBrk="0" hangingPunct="1">
              <a:lnSpc>
                <a:spcPct val="100000"/>
              </a:lnSpc>
              <a:spcBef>
                <a:spcPct val="0"/>
              </a:spcBef>
              <a:spcAft>
                <a:spcPts val="300"/>
              </a:spcAft>
              <a:buClr>
                <a:srgbClr val="000000"/>
              </a:buClr>
              <a:buSzTx/>
              <a:buFontTx/>
              <a:buAutoNum type="arabicPeriod"/>
              <a:tabLst/>
              <a:defRPr/>
            </a:pPr>
            <a:r>
              <a:rPr kumimoji="0" lang="de-DE" sz="1000" b="1" i="0" u="none" strike="noStrike" kern="0" cap="none" spc="0" normalizeH="0" baseline="0" noProof="0" dirty="0" smtClean="0">
                <a:ln>
                  <a:noFill/>
                </a:ln>
                <a:solidFill>
                  <a:srgbClr val="345996"/>
                </a:solidFill>
                <a:effectLst/>
                <a:uLnTx/>
                <a:uFillTx/>
                <a:latin typeface="Arial" panose="020B0604020202020204"/>
                <a:ea typeface="+mn-ea"/>
                <a:cs typeface="+mn-cs"/>
              </a:rPr>
              <a:t>Resultierender Bereich:</a:t>
            </a:r>
            <a:r>
              <a:rPr kumimoji="0" lang="de-DE" sz="1000" b="0"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de-DE" sz="1000" b="0" i="0" u="none" strike="noStrike" kern="0" cap="none" spc="0" normalizeH="0" baseline="0" noProof="0" dirty="0" smtClean="0">
                <a:ln>
                  <a:noFill/>
                </a:ln>
                <a:solidFill>
                  <a:srgbClr val="000000"/>
                </a:solidFill>
                <a:effectLst/>
                <a:uLnTx/>
                <a:uFillTx/>
                <a:latin typeface="Arial" panose="020B0604020202020204"/>
                <a:ea typeface="+mn-ea"/>
                <a:cs typeface="+mn-cs"/>
              </a:rPr>
              <a:t>Schwache </a:t>
            </a:r>
            <a:r>
              <a:rPr kumimoji="0" lang="de-DE" sz="1000" b="0" i="0" u="none" strike="noStrike" kern="0" cap="none" spc="0" normalizeH="0" baseline="0" noProof="0" dirty="0">
                <a:ln>
                  <a:noFill/>
                </a:ln>
                <a:solidFill>
                  <a:srgbClr val="000000"/>
                </a:solidFill>
                <a:effectLst/>
                <a:uLnTx/>
                <a:uFillTx/>
                <a:latin typeface="Arial" panose="020B0604020202020204"/>
                <a:ea typeface="+mn-ea"/>
                <a:cs typeface="+mn-cs"/>
              </a:rPr>
              <a:t>Wirkung in das System </a:t>
            </a:r>
            <a:r>
              <a:rPr kumimoji="0" lang="de-DE" sz="1000" b="0" i="0" u="none" strike="noStrike" kern="0" cap="none" spc="0" normalizeH="0" baseline="0" noProof="0" dirty="0" smtClean="0">
                <a:ln>
                  <a:noFill/>
                </a:ln>
                <a:solidFill>
                  <a:srgbClr val="000000"/>
                </a:solidFill>
                <a:effectLst/>
                <a:uLnTx/>
                <a:uFillTx/>
                <a:latin typeface="Arial" panose="020B0604020202020204"/>
                <a:ea typeface="+mn-ea"/>
                <a:cs typeface="+mn-cs"/>
              </a:rPr>
              <a:t>(Niedrige </a:t>
            </a:r>
            <a:r>
              <a:rPr kumimoji="0" lang="de-DE" sz="1000" b="0" i="0" u="none" strike="noStrike" kern="0" cap="none" spc="0" normalizeH="0" baseline="0" noProof="0" dirty="0">
                <a:ln>
                  <a:noFill/>
                </a:ln>
                <a:solidFill>
                  <a:srgbClr val="000000"/>
                </a:solidFill>
                <a:effectLst/>
                <a:uLnTx/>
                <a:uFillTx/>
                <a:latin typeface="Arial" panose="020B0604020202020204"/>
                <a:ea typeface="+mn-ea"/>
                <a:cs typeface="+mn-cs"/>
              </a:rPr>
              <a:t>Aktivsumme = AS = vertikale Achse) und starke bremsende Rückwirkungen (Hohe Passivsumme = PS = horizontale Achse</a:t>
            </a:r>
            <a:r>
              <a:rPr kumimoji="0" lang="de-DE" sz="1000" b="0" i="0" u="none" strike="noStrike" kern="0" cap="none" spc="0" normalizeH="0" baseline="0" noProof="0" dirty="0" smtClean="0">
                <a:ln>
                  <a:noFill/>
                </a:ln>
                <a:solidFill>
                  <a:srgbClr val="000000"/>
                </a:solidFill>
                <a:effectLst/>
                <a:uLnTx/>
                <a:uFillTx/>
                <a:latin typeface="Arial" panose="020B0604020202020204"/>
                <a:ea typeface="+mn-ea"/>
                <a:cs typeface="+mn-cs"/>
              </a:rPr>
              <a:t>). Faktoren </a:t>
            </a:r>
            <a:r>
              <a:rPr kumimoji="0" lang="de-DE" sz="1000" b="0" i="0" u="none" strike="noStrike" kern="0" cap="none" spc="0" normalizeH="0" baseline="0" noProof="0" dirty="0">
                <a:ln>
                  <a:noFill/>
                </a:ln>
                <a:solidFill>
                  <a:srgbClr val="000000"/>
                </a:solidFill>
                <a:effectLst/>
                <a:uLnTx/>
                <a:uFillTx/>
                <a:latin typeface="Arial" panose="020B0604020202020204"/>
                <a:ea typeface="+mn-ea"/>
                <a:cs typeface="+mn-cs"/>
              </a:rPr>
              <a:t>eignen sich nicht zur Steuerung, dafür aber umso besser zur Ergebniskontrolle, Messung des Systems</a:t>
            </a:r>
            <a:r>
              <a:rPr kumimoji="0" lang="de-DE" sz="1000" b="0" i="0" u="none" strike="noStrike" kern="0" cap="none" spc="0" normalizeH="0" baseline="0" noProof="0" dirty="0" smtClean="0">
                <a:ln>
                  <a:noFill/>
                </a:ln>
                <a:solidFill>
                  <a:srgbClr val="000000"/>
                </a:solidFill>
                <a:effectLst/>
                <a:uLnTx/>
                <a:uFillTx/>
                <a:latin typeface="Arial" panose="020B0604020202020204"/>
                <a:ea typeface="+mn-ea"/>
                <a:cs typeface="+mn-cs"/>
              </a:rPr>
              <a:t>.</a:t>
            </a:r>
          </a:p>
          <a:p>
            <a:pPr marL="228600" marR="0" lvl="0" indent="-228600" algn="l" defTabSz="914400" rtl="0" eaLnBrk="1" fontAlgn="base" latinLnBrk="0" hangingPunct="1">
              <a:lnSpc>
                <a:spcPct val="100000"/>
              </a:lnSpc>
              <a:spcBef>
                <a:spcPct val="0"/>
              </a:spcBef>
              <a:spcAft>
                <a:spcPts val="300"/>
              </a:spcAft>
              <a:buClr>
                <a:srgbClr val="000000"/>
              </a:buClr>
              <a:buSzTx/>
              <a:buFontTx/>
              <a:buAutoNum type="arabicPeriod"/>
              <a:tabLst/>
              <a:defRPr/>
            </a:pPr>
            <a:r>
              <a:rPr kumimoji="0" lang="de-DE" sz="1000" b="1" i="0" u="none" strike="noStrike" kern="0" cap="none" spc="0" normalizeH="0" baseline="0" noProof="0" dirty="0" smtClean="0">
                <a:ln>
                  <a:noFill/>
                </a:ln>
                <a:solidFill>
                  <a:srgbClr val="000000"/>
                </a:solidFill>
                <a:effectLst/>
                <a:uLnTx/>
                <a:uFillTx/>
                <a:latin typeface="Arial" panose="020B0604020202020204"/>
                <a:ea typeface="+mn-ea"/>
                <a:cs typeface="+mn-cs"/>
              </a:rPr>
              <a:t>Puffernd-hemmender Bereich: </a:t>
            </a:r>
            <a:r>
              <a:rPr kumimoji="0" lang="de-DE" sz="1000" b="0" i="0" u="none" strike="noStrike" kern="0" cap="none" spc="0" normalizeH="0" baseline="0" noProof="0" dirty="0">
                <a:ln>
                  <a:noFill/>
                </a:ln>
                <a:solidFill>
                  <a:srgbClr val="000000"/>
                </a:solidFill>
                <a:effectLst/>
                <a:uLnTx/>
                <a:uFillTx/>
                <a:latin typeface="Arial" charset="0"/>
                <a:ea typeface="+mn-ea"/>
                <a:cs typeface="+mn-cs"/>
              </a:rPr>
              <a:t>Schwache Wirkung in das System (Niedrige Aktivsumme = AS = vertikale Achse) und </a:t>
            </a:r>
            <a:r>
              <a:rPr kumimoji="0" lang="de-DE" sz="1000" b="0" i="0" u="none" strike="noStrike" kern="0" cap="none" spc="0" normalizeH="0" baseline="0" noProof="0" dirty="0" smtClean="0">
                <a:ln>
                  <a:noFill/>
                </a:ln>
                <a:solidFill>
                  <a:srgbClr val="000000"/>
                </a:solidFill>
                <a:effectLst/>
                <a:uLnTx/>
                <a:uFillTx/>
                <a:latin typeface="Arial" charset="0"/>
                <a:ea typeface="+mn-ea"/>
                <a:cs typeface="+mn-cs"/>
              </a:rPr>
              <a:t>schwache </a:t>
            </a:r>
            <a:r>
              <a:rPr kumimoji="0" lang="de-DE" sz="1000" b="0" i="0" u="none" strike="noStrike" kern="0" cap="none" spc="0" normalizeH="0" baseline="0" noProof="0" dirty="0">
                <a:ln>
                  <a:noFill/>
                </a:ln>
                <a:solidFill>
                  <a:srgbClr val="000000"/>
                </a:solidFill>
                <a:effectLst/>
                <a:uLnTx/>
                <a:uFillTx/>
                <a:latin typeface="Arial" charset="0"/>
                <a:ea typeface="+mn-ea"/>
                <a:cs typeface="+mn-cs"/>
              </a:rPr>
              <a:t>bremsende Rückwirkungen </a:t>
            </a:r>
            <a:r>
              <a:rPr kumimoji="0" lang="de-DE" sz="1000" b="0" i="0" u="none" strike="noStrike" kern="0" cap="none" spc="0" normalizeH="0" baseline="0" noProof="0" dirty="0" smtClean="0">
                <a:ln>
                  <a:noFill/>
                </a:ln>
                <a:solidFill>
                  <a:srgbClr val="000000"/>
                </a:solidFill>
                <a:effectLst/>
                <a:uLnTx/>
                <a:uFillTx/>
                <a:latin typeface="Arial" charset="0"/>
                <a:ea typeface="+mn-ea"/>
                <a:cs typeface="+mn-cs"/>
              </a:rPr>
              <a:t>(Niedrige </a:t>
            </a:r>
            <a:r>
              <a:rPr kumimoji="0" lang="de-DE" sz="1000" b="0" i="0" u="none" strike="noStrike" kern="0" cap="none" spc="0" normalizeH="0" baseline="0" noProof="0" dirty="0">
                <a:ln>
                  <a:noFill/>
                </a:ln>
                <a:solidFill>
                  <a:srgbClr val="000000"/>
                </a:solidFill>
                <a:effectLst/>
                <a:uLnTx/>
                <a:uFillTx/>
                <a:latin typeface="Arial" charset="0"/>
                <a:ea typeface="+mn-ea"/>
                <a:cs typeface="+mn-cs"/>
              </a:rPr>
              <a:t>Passivsumme = PS = horizontale Achse). </a:t>
            </a:r>
            <a:r>
              <a:rPr kumimoji="0" lang="de-DE" sz="1000" b="0" i="0" u="none" strike="noStrike" kern="0" cap="none" spc="0" normalizeH="0" baseline="0" noProof="0" dirty="0" smtClean="0">
                <a:ln>
                  <a:noFill/>
                </a:ln>
                <a:solidFill>
                  <a:srgbClr val="000000"/>
                </a:solidFill>
                <a:effectLst/>
                <a:uLnTx/>
                <a:uFillTx/>
                <a:latin typeface="Arial" panose="020B0604020202020204"/>
                <a:ea typeface="+mn-ea"/>
                <a:cs typeface="+mn-cs"/>
              </a:rPr>
              <a:t>wirken </a:t>
            </a:r>
            <a:r>
              <a:rPr kumimoji="0" lang="de-DE" sz="1000" b="0" i="0" u="none" strike="noStrike" kern="0" cap="none" spc="0" normalizeH="0" baseline="0" noProof="0" dirty="0">
                <a:ln>
                  <a:noFill/>
                </a:ln>
                <a:solidFill>
                  <a:srgbClr val="000000"/>
                </a:solidFill>
                <a:effectLst/>
                <a:uLnTx/>
                <a:uFillTx/>
                <a:latin typeface="Arial" panose="020B0604020202020204"/>
                <a:ea typeface="+mn-ea"/>
                <a:cs typeface="+mn-cs"/>
              </a:rPr>
              <a:t>sowohl wenig aktiv als auch wenig </a:t>
            </a:r>
            <a:r>
              <a:rPr kumimoji="0" lang="de-DE" sz="1000" b="0" i="0" u="none" strike="noStrike" kern="0" cap="none" spc="0" normalizeH="0" baseline="0" noProof="0" dirty="0" smtClean="0">
                <a:ln>
                  <a:noFill/>
                </a:ln>
                <a:solidFill>
                  <a:srgbClr val="000000"/>
                </a:solidFill>
                <a:effectLst/>
                <a:uLnTx/>
                <a:uFillTx/>
                <a:latin typeface="Arial" panose="020B0604020202020204"/>
                <a:ea typeface="+mn-ea"/>
                <a:cs typeface="+mn-cs"/>
              </a:rPr>
              <a:t>passiv. Faktoren </a:t>
            </a:r>
            <a:r>
              <a:rPr kumimoji="0" lang="de-DE" sz="1000" b="0" i="0" u="none" strike="noStrike" kern="0" cap="none" spc="0" normalizeH="0" baseline="0" noProof="0" dirty="0">
                <a:ln>
                  <a:noFill/>
                </a:ln>
                <a:solidFill>
                  <a:srgbClr val="000000"/>
                </a:solidFill>
                <a:effectLst/>
                <a:uLnTx/>
                <a:uFillTx/>
                <a:latin typeface="Arial" panose="020B0604020202020204"/>
                <a:ea typeface="+mn-ea"/>
                <a:cs typeface="+mn-cs"/>
              </a:rPr>
              <a:t>in diesem Bereich sind i.d.R. weder geeignet als Stellhebel noch kritisch noch resultierende </a:t>
            </a:r>
            <a:r>
              <a:rPr kumimoji="0" lang="de-DE" sz="1000" b="0" i="0" u="none" strike="noStrike" kern="0" cap="none" spc="0" normalizeH="0" baseline="0" noProof="0" dirty="0" smtClean="0">
                <a:ln>
                  <a:noFill/>
                </a:ln>
                <a:solidFill>
                  <a:srgbClr val="000000"/>
                </a:solidFill>
                <a:effectLst/>
                <a:uLnTx/>
                <a:uFillTx/>
                <a:latin typeface="Arial" panose="020B0604020202020204"/>
                <a:ea typeface="+mn-ea"/>
                <a:cs typeface="+mn-cs"/>
              </a:rPr>
              <a:t>Faktoren.</a:t>
            </a:r>
          </a:p>
        </p:txBody>
      </p:sp>
      <p:cxnSp>
        <p:nvCxnSpPr>
          <p:cNvPr id="50" name="Gerader Verbinder 49"/>
          <p:cNvCxnSpPr/>
          <p:nvPr/>
        </p:nvCxnSpPr>
        <p:spPr bwMode="auto">
          <a:xfrm flipV="1">
            <a:off x="2733003" y="1351781"/>
            <a:ext cx="0" cy="4464000"/>
          </a:xfrm>
          <a:prstGeom prst="line">
            <a:avLst/>
          </a:prstGeom>
          <a:solidFill>
            <a:schemeClr val="accent1"/>
          </a:solidFill>
          <a:ln w="28575" cap="flat" cmpd="sng" algn="ctr">
            <a:solidFill>
              <a:schemeClr val="accent4"/>
            </a:solidFill>
            <a:prstDash val="solid"/>
            <a:round/>
            <a:headEnd type="none" w="med" len="med"/>
            <a:tailEnd type="none" w="med" len="med"/>
          </a:ln>
          <a:effectLst/>
        </p:spPr>
      </p:cxnSp>
      <p:cxnSp>
        <p:nvCxnSpPr>
          <p:cNvPr id="51" name="Gerader Verbinder 50"/>
          <p:cNvCxnSpPr/>
          <p:nvPr/>
        </p:nvCxnSpPr>
        <p:spPr bwMode="auto">
          <a:xfrm>
            <a:off x="167656" y="3603141"/>
            <a:ext cx="5148000" cy="0"/>
          </a:xfrm>
          <a:prstGeom prst="line">
            <a:avLst/>
          </a:prstGeom>
          <a:solidFill>
            <a:schemeClr val="accent1"/>
          </a:solidFill>
          <a:ln w="28575" cap="flat" cmpd="sng" algn="ctr">
            <a:solidFill>
              <a:schemeClr val="accent4"/>
            </a:solidFill>
            <a:prstDash val="solid"/>
            <a:round/>
            <a:headEnd type="none" w="med" len="med"/>
            <a:tailEnd type="none" w="med" len="med"/>
          </a:ln>
          <a:effectLst/>
        </p:spPr>
      </p:cxnSp>
      <p:sp>
        <p:nvSpPr>
          <p:cNvPr id="52" name="Textfeld 17"/>
          <p:cNvSpPr txBox="1"/>
          <p:nvPr/>
        </p:nvSpPr>
        <p:spPr>
          <a:xfrm>
            <a:off x="454424" y="4425297"/>
            <a:ext cx="1930903" cy="681249"/>
          </a:xfrm>
          <a:prstGeom prst="roundRect">
            <a:avLst>
              <a:gd name="adj" fmla="val 10382"/>
            </a:avLst>
          </a:prstGeom>
          <a:solidFill>
            <a:schemeClr val="bg1">
              <a:alpha val="66000"/>
            </a:schemeClr>
          </a:solidFill>
          <a:ln w="15875" algn="ctr">
            <a:solidFill>
              <a:schemeClr val="tx1"/>
            </a:solidFill>
          </a:ln>
        </p:spPr>
        <p:txBody>
          <a:bodyPr wrap="square" lIns="43200" tIns="36000" rIns="0" bIns="36000"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1"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3. Puffernd-hemmender Bereich:</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1"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ktiv beeinflussbar,</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a:t>
            </a:r>
            <a:r>
              <a:rPr kumimoji="0" lang="de-DE" sz="900" b="1"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chwache Wirkung ins System,</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a:t>
            </a:r>
            <a:r>
              <a:rPr kumimoji="0" lang="de-DE" sz="900" b="1" i="0" u="none" strike="noStrike" kern="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hne</a:t>
            </a:r>
            <a:r>
              <a:rPr kumimoji="0" lang="de-DE" sz="900" b="1"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bremsende Rückwirkung</a:t>
            </a:r>
          </a:p>
        </p:txBody>
      </p:sp>
      <p:sp>
        <p:nvSpPr>
          <p:cNvPr id="53" name="Textfeld 17"/>
          <p:cNvSpPr txBox="1"/>
          <p:nvPr/>
        </p:nvSpPr>
        <p:spPr>
          <a:xfrm>
            <a:off x="3169615" y="1912291"/>
            <a:ext cx="1812993" cy="817003"/>
          </a:xfrm>
          <a:prstGeom prst="roundRect">
            <a:avLst>
              <a:gd name="adj" fmla="val 12259"/>
            </a:avLst>
          </a:prstGeom>
          <a:solidFill>
            <a:schemeClr val="bg1">
              <a:alpha val="81000"/>
            </a:schemeClr>
          </a:solidFill>
          <a:ln w="15875" algn="ctr">
            <a:solidFill>
              <a:srgbClr val="700000"/>
            </a:solidFill>
          </a:ln>
        </p:spPr>
        <p:txBody>
          <a:bodyPr wrap="square" lIns="43200" tIns="36000" rIns="36000" bIns="3600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1" i="0" u="none" strike="noStrike" kern="0" cap="none" spc="0" normalizeH="0" baseline="0" noProof="0" dirty="0" smtClean="0">
                <a:ln>
                  <a:noFill/>
                </a:ln>
                <a:solidFill>
                  <a:srgbClr val="700000"/>
                </a:solidFill>
                <a:effectLst/>
                <a:uLnTx/>
                <a:uFillTx/>
                <a:latin typeface="Arial" panose="020B0604020202020204" pitchFamily="34" charset="0"/>
                <a:ea typeface="+mn-ea"/>
                <a:cs typeface="Arial" panose="020B0604020202020204" pitchFamily="34" charset="0"/>
              </a:rPr>
              <a:t>2. Kritischer Bereich:</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1" i="0" u="none" strike="noStrike" kern="0" cap="none" spc="0" normalizeH="0" baseline="0" noProof="0" dirty="0" smtClean="0">
                <a:ln>
                  <a:noFill/>
                </a:ln>
                <a:solidFill>
                  <a:srgbClr val="700000"/>
                </a:solidFill>
                <a:effectLst/>
                <a:uLnTx/>
                <a:uFillTx/>
                <a:latin typeface="Arial" panose="020B0604020202020204" pitchFamily="34" charset="0"/>
                <a:ea typeface="+mn-ea"/>
                <a:cs typeface="Arial" panose="020B0604020202020204" pitchFamily="34" charset="0"/>
              </a:rPr>
              <a:t>Aktiv beeinflussbar,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1" i="0" u="none" strike="noStrike" kern="0" cap="none" spc="0" normalizeH="0" baseline="0" noProof="0" dirty="0" smtClean="0">
                <a:ln>
                  <a:noFill/>
                </a:ln>
                <a:solidFill>
                  <a:srgbClr val="700000"/>
                </a:solidFill>
                <a:effectLst/>
                <a:uLnTx/>
                <a:uFillTx/>
                <a:latin typeface="Arial" panose="020B0604020202020204" pitchFamily="34" charset="0"/>
                <a:ea typeface="+mn-ea"/>
                <a:cs typeface="Arial" panose="020B0604020202020204" pitchFamily="34" charset="0"/>
              </a:rPr>
              <a:t>starke Wirkung ins System,</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1" i="0" u="none" strike="noStrike" kern="0" cap="none" spc="0" normalizeH="0" baseline="0" noProof="0" dirty="0">
                <a:ln>
                  <a:noFill/>
                </a:ln>
                <a:solidFill>
                  <a:srgbClr val="700000"/>
                </a:solidFill>
                <a:effectLst/>
                <a:uLnTx/>
                <a:uFillTx/>
                <a:latin typeface="Arial" panose="020B0604020202020204" pitchFamily="34" charset="0"/>
                <a:ea typeface="+mn-ea"/>
                <a:cs typeface="Arial" panose="020B0604020202020204" pitchFamily="34" charset="0"/>
              </a:rPr>
              <a:t>b</a:t>
            </a:r>
            <a:r>
              <a:rPr kumimoji="0" lang="de-DE" sz="900" b="1" i="0" u="none" strike="noStrike" kern="0" cap="none" spc="0" normalizeH="0" baseline="0" noProof="0" dirty="0" err="1" smtClean="0">
                <a:ln>
                  <a:noFill/>
                </a:ln>
                <a:solidFill>
                  <a:srgbClr val="700000"/>
                </a:solidFill>
                <a:effectLst/>
                <a:uLnTx/>
                <a:uFillTx/>
                <a:latin typeface="Arial" panose="020B0604020202020204" pitchFamily="34" charset="0"/>
                <a:ea typeface="+mn-ea"/>
                <a:cs typeface="Arial" panose="020B0604020202020204" pitchFamily="34" charset="0"/>
              </a:rPr>
              <a:t>remsende</a:t>
            </a:r>
            <a:r>
              <a:rPr kumimoji="0" lang="de-DE" sz="900" b="1" i="0" u="none" strike="noStrike" kern="0" cap="none" spc="0" normalizeH="0" baseline="0" noProof="0" dirty="0" smtClean="0">
                <a:ln>
                  <a:noFill/>
                </a:ln>
                <a:solidFill>
                  <a:srgbClr val="700000"/>
                </a:solidFill>
                <a:effectLst/>
                <a:uLnTx/>
                <a:uFillTx/>
                <a:latin typeface="Arial" panose="020B0604020202020204" pitchFamily="34" charset="0"/>
                <a:ea typeface="+mn-ea"/>
                <a:cs typeface="Arial" panose="020B0604020202020204" pitchFamily="34" charset="0"/>
              </a:rPr>
              <a:t> Rückwirkungen aus dem System</a:t>
            </a:r>
          </a:p>
        </p:txBody>
      </p:sp>
      <p:sp>
        <p:nvSpPr>
          <p:cNvPr id="54" name="Textfeld 17"/>
          <p:cNvSpPr txBox="1"/>
          <p:nvPr/>
        </p:nvSpPr>
        <p:spPr>
          <a:xfrm>
            <a:off x="454432" y="1988214"/>
            <a:ext cx="1842196" cy="675188"/>
          </a:xfrm>
          <a:prstGeom prst="roundRect">
            <a:avLst>
              <a:gd name="adj" fmla="val 12458"/>
            </a:avLst>
          </a:prstGeom>
          <a:solidFill>
            <a:schemeClr val="bg1">
              <a:alpha val="86000"/>
            </a:schemeClr>
          </a:solidFill>
          <a:ln w="15875" algn="ctr">
            <a:solidFill>
              <a:schemeClr val="accent1"/>
            </a:solidFill>
          </a:ln>
        </p:spPr>
        <p:txBody>
          <a:bodyPr wrap="square" lIns="43200" tIns="36000" rIns="36000" bIns="3600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1" i="0" u="none" strike="noStrike" kern="0" cap="none" spc="0" normalizeH="0" baseline="0" noProof="0" dirty="0" smtClean="0">
                <a:ln>
                  <a:noFill/>
                </a:ln>
                <a:solidFill>
                  <a:srgbClr val="15935A"/>
                </a:solidFill>
                <a:effectLst/>
                <a:uLnTx/>
                <a:uFillTx/>
                <a:latin typeface="Arial" panose="020B0604020202020204" pitchFamily="34" charset="0"/>
                <a:ea typeface="+mn-ea"/>
                <a:cs typeface="Arial" panose="020B0604020202020204" pitchFamily="34" charset="0"/>
              </a:rPr>
              <a:t>1. Aktiver Bereich:</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1" i="0" u="none" strike="noStrike" kern="0" cap="none" spc="0" normalizeH="0" baseline="0" noProof="0" dirty="0" smtClean="0">
                <a:ln>
                  <a:noFill/>
                </a:ln>
                <a:solidFill>
                  <a:srgbClr val="15935A"/>
                </a:solidFill>
                <a:effectLst/>
                <a:uLnTx/>
                <a:uFillTx/>
                <a:latin typeface="Arial" panose="020B0604020202020204" pitchFamily="34" charset="0"/>
                <a:ea typeface="+mn-ea"/>
                <a:cs typeface="Arial" panose="020B0604020202020204" pitchFamily="34" charset="0"/>
              </a:rPr>
              <a:t>Aktiv beeinflussbar,</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1" i="0" u="none" strike="noStrike" kern="0" cap="none" spc="0" normalizeH="0" baseline="0" noProof="0" dirty="0">
                <a:ln>
                  <a:noFill/>
                </a:ln>
                <a:solidFill>
                  <a:srgbClr val="15935A"/>
                </a:solidFill>
                <a:effectLst/>
                <a:uLnTx/>
                <a:uFillTx/>
                <a:latin typeface="Arial" panose="020B0604020202020204" pitchFamily="34" charset="0"/>
                <a:ea typeface="+mn-ea"/>
                <a:cs typeface="Arial" panose="020B0604020202020204" pitchFamily="34" charset="0"/>
              </a:rPr>
              <a:t>s</a:t>
            </a:r>
            <a:r>
              <a:rPr kumimoji="0" lang="de-DE" sz="900" b="1" i="0" u="none" strike="noStrike" kern="0" cap="none" spc="0" normalizeH="0" baseline="0" noProof="0" dirty="0" smtClean="0">
                <a:ln>
                  <a:noFill/>
                </a:ln>
                <a:solidFill>
                  <a:srgbClr val="15935A"/>
                </a:solidFill>
                <a:effectLst/>
                <a:uLnTx/>
                <a:uFillTx/>
                <a:latin typeface="Arial" panose="020B0604020202020204" pitchFamily="34" charset="0"/>
                <a:ea typeface="+mn-ea"/>
                <a:cs typeface="Arial" panose="020B0604020202020204" pitchFamily="34" charset="0"/>
              </a:rPr>
              <a:t>tarke Wirkung ins System,</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1" i="0" u="none" strike="noStrike" kern="0" cap="none" spc="0" normalizeH="0" baseline="0" noProof="0" dirty="0">
                <a:ln>
                  <a:noFill/>
                </a:ln>
                <a:solidFill>
                  <a:srgbClr val="15935A"/>
                </a:solidFill>
                <a:effectLst/>
                <a:uLnTx/>
                <a:uFillTx/>
                <a:latin typeface="Arial" panose="020B0604020202020204" pitchFamily="34" charset="0"/>
                <a:ea typeface="+mn-ea"/>
                <a:cs typeface="Arial" panose="020B0604020202020204" pitchFamily="34" charset="0"/>
              </a:rPr>
              <a:t>k</a:t>
            </a:r>
            <a:r>
              <a:rPr kumimoji="0" lang="de-DE" sz="900" b="1" i="0" u="none" strike="noStrike" kern="0" cap="none" spc="0" normalizeH="0" baseline="0" noProof="0" dirty="0" smtClean="0">
                <a:ln>
                  <a:noFill/>
                </a:ln>
                <a:solidFill>
                  <a:srgbClr val="15935A"/>
                </a:solidFill>
                <a:effectLst/>
                <a:uLnTx/>
                <a:uFillTx/>
                <a:latin typeface="Arial" panose="020B0604020202020204" pitchFamily="34" charset="0"/>
                <a:ea typeface="+mn-ea"/>
                <a:cs typeface="Arial" panose="020B0604020202020204" pitchFamily="34" charset="0"/>
              </a:rPr>
              <a:t>eine bremsende Rückwirkung</a:t>
            </a:r>
          </a:p>
        </p:txBody>
      </p:sp>
      <p:sp>
        <p:nvSpPr>
          <p:cNvPr id="55" name="Textfeld 18"/>
          <p:cNvSpPr txBox="1"/>
          <p:nvPr/>
        </p:nvSpPr>
        <p:spPr>
          <a:xfrm>
            <a:off x="3130846" y="4397574"/>
            <a:ext cx="1890530" cy="681249"/>
          </a:xfrm>
          <a:prstGeom prst="roundRect">
            <a:avLst>
              <a:gd name="adj" fmla="val 14398"/>
            </a:avLst>
          </a:prstGeom>
          <a:solidFill>
            <a:schemeClr val="bg1">
              <a:alpha val="75000"/>
            </a:schemeClr>
          </a:solidFill>
          <a:ln w="15875" algn="ctr">
            <a:solidFill>
              <a:srgbClr val="345996"/>
            </a:solidFill>
          </a:ln>
        </p:spPr>
        <p:txBody>
          <a:bodyPr wrap="square" lIns="43200" tIns="36000" rIns="36000" bIns="3600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1" i="0" u="none" strike="noStrike" kern="0" cap="none" spc="0" normalizeH="0" baseline="0" noProof="0" dirty="0" smtClean="0">
                <a:ln>
                  <a:noFill/>
                </a:ln>
                <a:solidFill>
                  <a:srgbClr val="345996"/>
                </a:solidFill>
                <a:effectLst/>
                <a:uLnTx/>
                <a:uFillTx/>
                <a:latin typeface="Arial" panose="020B0604020202020204" pitchFamily="34" charset="0"/>
                <a:ea typeface="+mn-ea"/>
                <a:cs typeface="Arial" panose="020B0604020202020204" pitchFamily="34" charset="0"/>
              </a:rPr>
              <a:t>4. Resultierender Bereich:</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1" i="0" u="none" strike="noStrike" kern="0" cap="none" spc="0" normalizeH="0" baseline="0" noProof="0" dirty="0" smtClean="0">
                <a:ln>
                  <a:noFill/>
                </a:ln>
                <a:solidFill>
                  <a:srgbClr val="345996"/>
                </a:solidFill>
                <a:effectLst/>
                <a:uLnTx/>
                <a:uFillTx/>
                <a:latin typeface="Arial" panose="020B0604020202020204" pitchFamily="34" charset="0"/>
                <a:ea typeface="+mn-ea"/>
                <a:cs typeface="Arial" panose="020B0604020202020204" pitchFamily="34" charset="0"/>
              </a:rPr>
              <a:t>Passiv,  kaum beeinflussbar,</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1" i="0" u="none" strike="noStrike" kern="0" cap="none" spc="0" normalizeH="0" baseline="0" noProof="0" dirty="0">
                <a:ln>
                  <a:noFill/>
                </a:ln>
                <a:solidFill>
                  <a:srgbClr val="345996"/>
                </a:solidFill>
                <a:effectLst/>
                <a:uLnTx/>
                <a:uFillTx/>
                <a:latin typeface="Arial" panose="020B0604020202020204" pitchFamily="34" charset="0"/>
                <a:ea typeface="+mn-ea"/>
                <a:cs typeface="Arial" panose="020B0604020202020204" pitchFamily="34" charset="0"/>
              </a:rPr>
              <a:t>b</a:t>
            </a:r>
            <a:r>
              <a:rPr kumimoji="0" lang="de-DE" sz="900" b="1" i="0" u="none" strike="noStrike" kern="0" cap="none" spc="0" normalizeH="0" baseline="0" noProof="0" dirty="0" smtClean="0">
                <a:ln>
                  <a:noFill/>
                </a:ln>
                <a:solidFill>
                  <a:srgbClr val="345996"/>
                </a:solidFill>
                <a:effectLst/>
                <a:uLnTx/>
                <a:uFillTx/>
                <a:latin typeface="Arial" panose="020B0604020202020204" pitchFamily="34" charset="0"/>
                <a:ea typeface="+mn-ea"/>
                <a:cs typeface="Arial" panose="020B0604020202020204" pitchFamily="34" charset="0"/>
              </a:rPr>
              <a:t>remsende Rückwirkung auf das System</a:t>
            </a:r>
          </a:p>
        </p:txBody>
      </p:sp>
      <p:sp>
        <p:nvSpPr>
          <p:cNvPr id="56" name="Textfeld 55"/>
          <p:cNvSpPr txBox="1"/>
          <p:nvPr/>
        </p:nvSpPr>
        <p:spPr>
          <a:xfrm>
            <a:off x="6574388" y="5977089"/>
            <a:ext cx="2483190" cy="534368"/>
          </a:xfrm>
          <a:prstGeom prst="rect">
            <a:avLst/>
          </a:prstGeom>
          <a:solidFill>
            <a:schemeClr val="bg2">
              <a:lumMod val="60000"/>
              <a:lumOff val="40000"/>
            </a:schemeClr>
          </a:solidFill>
          <a:ln algn="ctr"/>
        </p:spPr>
        <p:txBody>
          <a:bodyPr wrap="square" lIns="36000" tIns="36000" rIns="36000" bIns="36000" rtlCol="0" anchor="t">
            <a:spAutoFit/>
          </a:bodyPr>
          <a:lstStyle/>
          <a:p>
            <a:pPr marL="0" marR="0" lvl="0" indent="0" algn="l" defTabSz="914400" rtl="0" eaLnBrk="1" fontAlgn="base" latinLnBrk="0" hangingPunct="1">
              <a:lnSpc>
                <a:spcPct val="100000"/>
              </a:lnSpc>
              <a:spcBef>
                <a:spcPct val="0"/>
              </a:spcBef>
              <a:spcAft>
                <a:spcPts val="300"/>
              </a:spcAft>
              <a:buClr>
                <a:srgbClr val="000000"/>
              </a:buClr>
              <a:buSzTx/>
              <a:buFontTx/>
              <a:buNone/>
              <a:tabLst/>
              <a:defRPr/>
            </a:pPr>
            <a:r>
              <a:rPr kumimoji="0" lang="de-DE" sz="1000" b="0" i="0" u="none" strike="noStrike" kern="0" cap="none" spc="0" normalizeH="0" baseline="0" noProof="0" dirty="0" smtClean="0">
                <a:ln>
                  <a:noFill/>
                </a:ln>
                <a:solidFill>
                  <a:srgbClr val="000000"/>
                </a:solidFill>
                <a:effectLst/>
                <a:uLnTx/>
                <a:uFillTx/>
                <a:latin typeface="Arial" panose="020B0604020202020204"/>
                <a:ea typeface="+mn-ea"/>
                <a:cs typeface="+mn-cs"/>
              </a:rPr>
              <a:t>Eine genauere Einteilung und Interpretation der Lagebeziehung einzelner Faktoren auf dem folgenden Slide</a:t>
            </a:r>
          </a:p>
        </p:txBody>
      </p:sp>
      <p:sp>
        <p:nvSpPr>
          <p:cNvPr id="5" name="Rechteck 4"/>
          <p:cNvSpPr/>
          <p:nvPr/>
        </p:nvSpPr>
        <p:spPr bwMode="auto">
          <a:xfrm>
            <a:off x="197800" y="1244005"/>
            <a:ext cx="756792" cy="107776"/>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900" b="1" i="0" u="none" strike="noStrike" kern="1200" cap="none" spc="0" normalizeH="0" baseline="0" noProof="0" dirty="0" smtClean="0">
                <a:ln>
                  <a:noFill/>
                </a:ln>
                <a:solidFill>
                  <a:srgbClr val="000000"/>
                </a:solidFill>
                <a:effectLst/>
                <a:uLnTx/>
                <a:uFillTx/>
                <a:latin typeface="Arial" panose="020B0604020202020204"/>
                <a:ea typeface="+mn-ea"/>
                <a:cs typeface="+mn-cs"/>
              </a:rPr>
              <a:t>Aktivsumme</a:t>
            </a:r>
          </a:p>
        </p:txBody>
      </p:sp>
      <p:sp>
        <p:nvSpPr>
          <p:cNvPr id="58" name="Rechteck 57"/>
          <p:cNvSpPr/>
          <p:nvPr/>
        </p:nvSpPr>
        <p:spPr bwMode="auto">
          <a:xfrm>
            <a:off x="5343473" y="5530378"/>
            <a:ext cx="506591" cy="264760"/>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l" defTabSz="914400" rtl="0" eaLnBrk="0" fontAlgn="base" latinLnBrk="0" hangingPunct="0">
              <a:lnSpc>
                <a:spcPct val="100000"/>
              </a:lnSpc>
              <a:spcBef>
                <a:spcPts val="0"/>
              </a:spcBef>
              <a:spcAft>
                <a:spcPts val="0"/>
              </a:spcAft>
              <a:buClrTx/>
              <a:buSzTx/>
              <a:buFontTx/>
              <a:buNone/>
              <a:tabLst/>
              <a:defRPr/>
            </a:pPr>
            <a:r>
              <a:rPr kumimoji="0" lang="de-DE" sz="900" b="1" i="0" u="none" strike="noStrike" kern="1200" cap="none" spc="0" normalizeH="0" baseline="0" noProof="0" dirty="0" smtClean="0">
                <a:ln>
                  <a:noFill/>
                </a:ln>
                <a:solidFill>
                  <a:srgbClr val="000000"/>
                </a:solidFill>
                <a:effectLst/>
                <a:uLnTx/>
                <a:uFillTx/>
                <a:latin typeface="Arial" panose="020B0604020202020204"/>
                <a:ea typeface="+mn-ea"/>
                <a:cs typeface="+mn-cs"/>
              </a:rPr>
              <a:t>Passiv-summe</a:t>
            </a:r>
          </a:p>
        </p:txBody>
      </p:sp>
    </p:spTree>
    <p:extLst>
      <p:ext uri="{BB962C8B-B14F-4D97-AF65-F5344CB8AC3E}">
        <p14:creationId xmlns:p14="http://schemas.microsoft.com/office/powerpoint/2010/main" val="2190792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par>
                                <p:cTn id="8" presetID="10" presetClass="entr" presetSubtype="0" fill="hold" nodeType="withEffect">
                                  <p:stCondLst>
                                    <p:cond delay="0"/>
                                  </p:stCondLst>
                                  <p:childTnLst>
                                    <p:set>
                                      <p:cBhvr>
                                        <p:cTn id="9" dur="1" fill="hold">
                                          <p:stCondLst>
                                            <p:cond delay="0"/>
                                          </p:stCondLst>
                                        </p:cTn>
                                        <p:tgtEl>
                                          <p:spTgt spid="51"/>
                                        </p:tgtEl>
                                        <p:attrNameLst>
                                          <p:attrName>style.visibility</p:attrName>
                                        </p:attrNameLst>
                                      </p:cBhvr>
                                      <p:to>
                                        <p:strVal val="visible"/>
                                      </p:to>
                                    </p:set>
                                    <p:animEffect transition="in" filter="fade">
                                      <p:cBhvr>
                                        <p:cTn id="10" dur="500"/>
                                        <p:tgtEl>
                                          <p:spTgt spid="51"/>
                                        </p:tgtEl>
                                      </p:cBhvr>
                                    </p:animEffect>
                                  </p:childTnLst>
                                </p:cTn>
                              </p:par>
                              <p:par>
                                <p:cTn id="11" presetID="1" presetClass="entr" presetSubtype="0" fill="hold" nodeType="withEffect">
                                  <p:stCondLst>
                                    <p:cond delay="0"/>
                                  </p:stCondLst>
                                  <p:childTnLst>
                                    <p:set>
                                      <p:cBhvr>
                                        <p:cTn id="12" dur="1" fill="hold">
                                          <p:stCondLst>
                                            <p:cond delay="0"/>
                                          </p:stCondLst>
                                        </p:cTn>
                                        <p:tgtEl>
                                          <p:spTgt spid="49">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9">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9">
                                            <p:txEl>
                                              <p:pRg st="2" end="2"/>
                                            </p:txEl>
                                          </p:spTgt>
                                        </p:tgtEl>
                                        <p:attrNameLst>
                                          <p:attrName>style.visibility</p:attrName>
                                        </p:attrNameLst>
                                      </p:cBhvr>
                                      <p:to>
                                        <p:strVal val="visible"/>
                                      </p:to>
                                    </p:set>
                                  </p:childTnLst>
                                </p:cTn>
                              </p:par>
                              <p:par>
                                <p:cTn id="19" presetID="10" presetClass="entr" presetSubtype="0" fill="hold" grpId="0" nodeType="withEffect">
                                  <p:stCondLst>
                                    <p:cond delay="0"/>
                                  </p:stCondLst>
                                  <p:childTnLst>
                                    <p:set>
                                      <p:cBhvr>
                                        <p:cTn id="20" dur="1" fill="hold">
                                          <p:stCondLst>
                                            <p:cond delay="0"/>
                                          </p:stCondLst>
                                        </p:cTn>
                                        <p:tgtEl>
                                          <p:spTgt spid="54"/>
                                        </p:tgtEl>
                                        <p:attrNameLst>
                                          <p:attrName>style.visibility</p:attrName>
                                        </p:attrNameLst>
                                      </p:cBhvr>
                                      <p:to>
                                        <p:strVal val="visible"/>
                                      </p:to>
                                    </p:set>
                                    <p:animEffect transition="in" filter="fade">
                                      <p:cBhvr>
                                        <p:cTn id="21" dur="500"/>
                                        <p:tgtEl>
                                          <p:spTgt spid="54"/>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49">
                                            <p:txEl>
                                              <p:pRg st="3" end="3"/>
                                            </p:txEl>
                                          </p:spTgt>
                                        </p:tgtEl>
                                        <p:attrNameLst>
                                          <p:attrName>style.visibility</p:attrName>
                                        </p:attrNameLst>
                                      </p:cBhvr>
                                      <p:to>
                                        <p:strVal val="visible"/>
                                      </p:to>
                                    </p:set>
                                  </p:childTnLst>
                                </p:cTn>
                              </p:par>
                              <p:par>
                                <p:cTn id="26" presetID="10" presetClass="entr" presetSubtype="0" fill="hold" grpId="0" nodeType="withEffect">
                                  <p:stCondLst>
                                    <p:cond delay="0"/>
                                  </p:stCondLst>
                                  <p:childTnLst>
                                    <p:set>
                                      <p:cBhvr>
                                        <p:cTn id="27" dur="1" fill="hold">
                                          <p:stCondLst>
                                            <p:cond delay="0"/>
                                          </p:stCondLst>
                                        </p:cTn>
                                        <p:tgtEl>
                                          <p:spTgt spid="53"/>
                                        </p:tgtEl>
                                        <p:attrNameLst>
                                          <p:attrName>style.visibility</p:attrName>
                                        </p:attrNameLst>
                                      </p:cBhvr>
                                      <p:to>
                                        <p:strVal val="visible"/>
                                      </p:to>
                                    </p:set>
                                    <p:animEffect transition="in" filter="fade">
                                      <p:cBhvr>
                                        <p:cTn id="28" dur="500"/>
                                        <p:tgtEl>
                                          <p:spTgt spid="53"/>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9">
                                            <p:txEl>
                                              <p:pRg st="4" end="4"/>
                                            </p:txEl>
                                          </p:spTgt>
                                        </p:tgtEl>
                                        <p:attrNameLst>
                                          <p:attrName>style.visibility</p:attrName>
                                        </p:attrNameLst>
                                      </p:cBhvr>
                                      <p:to>
                                        <p:strVal val="visible"/>
                                      </p:to>
                                    </p:set>
                                  </p:childTnLst>
                                </p:cTn>
                              </p:par>
                              <p:par>
                                <p:cTn id="33" presetID="10" presetClass="entr" presetSubtype="0" fill="hold" grpId="0" nodeType="withEffect">
                                  <p:stCondLst>
                                    <p:cond delay="0"/>
                                  </p:stCondLst>
                                  <p:childTnLst>
                                    <p:set>
                                      <p:cBhvr>
                                        <p:cTn id="34" dur="1" fill="hold">
                                          <p:stCondLst>
                                            <p:cond delay="0"/>
                                          </p:stCondLst>
                                        </p:cTn>
                                        <p:tgtEl>
                                          <p:spTgt spid="55"/>
                                        </p:tgtEl>
                                        <p:attrNameLst>
                                          <p:attrName>style.visibility</p:attrName>
                                        </p:attrNameLst>
                                      </p:cBhvr>
                                      <p:to>
                                        <p:strVal val="visible"/>
                                      </p:to>
                                    </p:set>
                                    <p:animEffect transition="in" filter="fade">
                                      <p:cBhvr>
                                        <p:cTn id="35" dur="500"/>
                                        <p:tgtEl>
                                          <p:spTgt spid="55"/>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nodeType="clickEffect">
                                  <p:stCondLst>
                                    <p:cond delay="0"/>
                                  </p:stCondLst>
                                  <p:childTnLst>
                                    <p:set>
                                      <p:cBhvr>
                                        <p:cTn id="39" dur="1" fill="hold">
                                          <p:stCondLst>
                                            <p:cond delay="0"/>
                                          </p:stCondLst>
                                        </p:cTn>
                                        <p:tgtEl>
                                          <p:spTgt spid="49">
                                            <p:txEl>
                                              <p:pRg st="5" end="5"/>
                                            </p:txEl>
                                          </p:spTgt>
                                        </p:tgtEl>
                                        <p:attrNameLst>
                                          <p:attrName>style.visibility</p:attrName>
                                        </p:attrNameLst>
                                      </p:cBhvr>
                                      <p:to>
                                        <p:strVal val="visible"/>
                                      </p:to>
                                    </p:set>
                                  </p:childTnLst>
                                </p:cTn>
                              </p:par>
                              <p:par>
                                <p:cTn id="40" presetID="10" presetClass="entr" presetSubtype="0" fill="hold" grpId="0" nodeType="withEffect">
                                  <p:stCondLst>
                                    <p:cond delay="0"/>
                                  </p:stCondLst>
                                  <p:childTnLst>
                                    <p:set>
                                      <p:cBhvr>
                                        <p:cTn id="41" dur="1" fill="hold">
                                          <p:stCondLst>
                                            <p:cond delay="0"/>
                                          </p:stCondLst>
                                        </p:cTn>
                                        <p:tgtEl>
                                          <p:spTgt spid="52"/>
                                        </p:tgtEl>
                                        <p:attrNameLst>
                                          <p:attrName>style.visibility</p:attrName>
                                        </p:attrNameLst>
                                      </p:cBhvr>
                                      <p:to>
                                        <p:strVal val="visible"/>
                                      </p:to>
                                    </p:set>
                                    <p:animEffect transition="in" filter="fade">
                                      <p:cBhvr>
                                        <p:cTn id="42" dur="500"/>
                                        <p:tgtEl>
                                          <p:spTgt spid="52"/>
                                        </p:tgtEl>
                                      </p:cBhvr>
                                    </p:animEffect>
                                  </p:childTnLst>
                                </p:cTn>
                              </p:par>
                              <p:par>
                                <p:cTn id="43" presetID="1" presetClass="entr" presetSubtype="0" fill="hold" nodeType="withEffect">
                                  <p:stCondLst>
                                    <p:cond delay="0"/>
                                  </p:stCondLst>
                                  <p:childTnLst>
                                    <p:set>
                                      <p:cBhvr>
                                        <p:cTn id="44" dur="1" fill="hold">
                                          <p:stCondLst>
                                            <p:cond delay="0"/>
                                          </p:stCondLst>
                                        </p:cTn>
                                        <p:tgtEl>
                                          <p:spTgt spid="5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P spid="55"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 name="Content Placeholder 6"/>
          <p:cNvSpPr>
            <a:spLocks noGrp="1"/>
          </p:cNvSpPr>
          <p:nvPr>
            <p:ph sz="quarter" idx="17"/>
          </p:nvPr>
        </p:nvSpPr>
        <p:spPr>
          <a:xfrm>
            <a:off x="6065408" y="1359692"/>
            <a:ext cx="3604544" cy="4520074"/>
          </a:xfrm>
          <a:solidFill>
            <a:schemeClr val="accent1">
              <a:lumMod val="20000"/>
              <a:lumOff val="80000"/>
            </a:schemeClr>
          </a:solidFill>
        </p:spPr>
        <p:txBody>
          <a:bodyPr wrap="square" lIns="36000" tIns="36000" rIns="36000" bIns="36000">
            <a:spAutoFit/>
          </a:bodyPr>
          <a:lstStyle/>
          <a:p>
            <a:pPr marL="180975" indent="-180975">
              <a:spcBef>
                <a:spcPts val="0"/>
              </a:spcBef>
              <a:buFontTx/>
              <a:buAutoNum type="arabicPeriod"/>
            </a:pPr>
            <a:r>
              <a:rPr lang="de-DE" kern="1200" dirty="0">
                <a:solidFill>
                  <a:srgbClr val="9A5100"/>
                </a:solidFill>
              </a:rPr>
              <a:t> </a:t>
            </a:r>
            <a:r>
              <a:rPr lang="de-DE" kern="1200" dirty="0" smtClean="0">
                <a:solidFill>
                  <a:schemeClr val="tx1"/>
                </a:solidFill>
              </a:rPr>
              <a:t>Sehr hohe aktive Wirkungen haben die Faktoren </a:t>
            </a:r>
            <a:r>
              <a:rPr lang="de-DE" b="1" kern="1200" dirty="0" smtClean="0">
                <a:solidFill>
                  <a:srgbClr val="9A5100"/>
                </a:solidFill>
              </a:rPr>
              <a:t>Partizipation </a:t>
            </a:r>
            <a:r>
              <a:rPr lang="de-DE" b="1" kern="1200" dirty="0">
                <a:solidFill>
                  <a:srgbClr val="9A5100"/>
                </a:solidFill>
              </a:rPr>
              <a:t>ermöglichen </a:t>
            </a:r>
            <a:r>
              <a:rPr lang="de-DE" b="1" kern="1200" dirty="0" smtClean="0">
                <a:solidFill>
                  <a:srgbClr val="9A5100"/>
                </a:solidFill>
              </a:rPr>
              <a:t>(</a:t>
            </a:r>
            <a:r>
              <a:rPr lang="de-DE" b="1" kern="1200" dirty="0">
                <a:solidFill>
                  <a:srgbClr val="9A5100"/>
                </a:solidFill>
              </a:rPr>
              <a:t>9), Verbindlichkeiten </a:t>
            </a:r>
            <a:r>
              <a:rPr lang="de-DE" b="1" kern="1200" dirty="0" smtClean="0">
                <a:solidFill>
                  <a:srgbClr val="9A5100"/>
                </a:solidFill>
              </a:rPr>
              <a:t>schaffen (</a:t>
            </a:r>
            <a:r>
              <a:rPr lang="de-DE" b="1" kern="1200" dirty="0">
                <a:solidFill>
                  <a:srgbClr val="9A5100"/>
                </a:solidFill>
              </a:rPr>
              <a:t>6), Wirksame Strukturen und Prozesse der </a:t>
            </a:r>
            <a:r>
              <a:rPr lang="de-DE" b="1" kern="1200" dirty="0" smtClean="0">
                <a:solidFill>
                  <a:srgbClr val="9A5100"/>
                </a:solidFill>
              </a:rPr>
              <a:t>Stadt (7) </a:t>
            </a:r>
            <a:r>
              <a:rPr lang="de-DE" b="1" kern="1200" dirty="0">
                <a:solidFill>
                  <a:srgbClr val="9A5100"/>
                </a:solidFill>
              </a:rPr>
              <a:t>und die </a:t>
            </a:r>
            <a:r>
              <a:rPr lang="de-DE" b="1" kern="1200" dirty="0" smtClean="0">
                <a:solidFill>
                  <a:srgbClr val="9A5100"/>
                </a:solidFill>
              </a:rPr>
              <a:t>Gemeinsame wirksame Strategie </a:t>
            </a:r>
            <a:r>
              <a:rPr lang="de-DE" b="1" kern="1200" dirty="0">
                <a:solidFill>
                  <a:srgbClr val="9A5100"/>
                </a:solidFill>
              </a:rPr>
              <a:t>(</a:t>
            </a:r>
            <a:r>
              <a:rPr lang="de-DE" b="1" kern="1200" dirty="0" smtClean="0">
                <a:solidFill>
                  <a:srgbClr val="9A5100"/>
                </a:solidFill>
              </a:rPr>
              <a:t>19) </a:t>
            </a:r>
            <a:r>
              <a:rPr lang="de-DE" dirty="0" smtClean="0">
                <a:solidFill>
                  <a:srgbClr val="000000"/>
                </a:solidFill>
              </a:rPr>
              <a:t>(hohe Aktivsummen).</a:t>
            </a:r>
          </a:p>
          <a:p>
            <a:pPr marL="180975" indent="-180975">
              <a:spcBef>
                <a:spcPts val="0"/>
              </a:spcBef>
              <a:buFontTx/>
              <a:buAutoNum type="arabicPeriod"/>
            </a:pPr>
            <a:r>
              <a:rPr lang="de-DE" dirty="0" smtClean="0">
                <a:solidFill>
                  <a:srgbClr val="000000"/>
                </a:solidFill>
              </a:rPr>
              <a:t>Sie stehen in wechselseitig </a:t>
            </a:r>
            <a:r>
              <a:rPr lang="de-DE" b="1" dirty="0" smtClean="0">
                <a:solidFill>
                  <a:srgbClr val="000000"/>
                </a:solidFill>
              </a:rPr>
              <a:t>verstärkender </a:t>
            </a:r>
            <a:r>
              <a:rPr lang="de-DE" dirty="0" smtClean="0">
                <a:solidFill>
                  <a:srgbClr val="000000"/>
                </a:solidFill>
              </a:rPr>
              <a:t>Wirkung </a:t>
            </a:r>
            <a:r>
              <a:rPr lang="de-DE" b="1" dirty="0" smtClean="0">
                <a:solidFill>
                  <a:srgbClr val="000000"/>
                </a:solidFill>
              </a:rPr>
              <a:t>untereinander </a:t>
            </a:r>
            <a:r>
              <a:rPr lang="de-DE" dirty="0" smtClean="0">
                <a:solidFill>
                  <a:srgbClr val="000000"/>
                </a:solidFill>
              </a:rPr>
              <a:t>und mit den aktiven Stellhebeln </a:t>
            </a:r>
            <a:r>
              <a:rPr lang="de-DE" b="1" dirty="0">
                <a:solidFill>
                  <a:srgbClr val="15935A"/>
                </a:solidFill>
              </a:rPr>
              <a:t>(Inter-)nationale </a:t>
            </a:r>
            <a:r>
              <a:rPr lang="de-DE" b="1" dirty="0" smtClean="0">
                <a:solidFill>
                  <a:srgbClr val="15935A"/>
                </a:solidFill>
              </a:rPr>
              <a:t>Vorgaben (</a:t>
            </a:r>
            <a:r>
              <a:rPr lang="de-DE" b="1" dirty="0">
                <a:solidFill>
                  <a:srgbClr val="15935A"/>
                </a:solidFill>
              </a:rPr>
              <a:t>2</a:t>
            </a:r>
            <a:r>
              <a:rPr lang="de-DE" b="1" dirty="0" smtClean="0">
                <a:solidFill>
                  <a:srgbClr val="15935A"/>
                </a:solidFill>
              </a:rPr>
              <a:t>) </a:t>
            </a:r>
            <a:r>
              <a:rPr lang="de-DE" dirty="0" smtClean="0">
                <a:solidFill>
                  <a:srgbClr val="000000"/>
                </a:solidFill>
              </a:rPr>
              <a:t>und </a:t>
            </a:r>
            <a:r>
              <a:rPr lang="de-DE" b="1" dirty="0" smtClean="0">
                <a:solidFill>
                  <a:srgbClr val="15935A"/>
                </a:solidFill>
              </a:rPr>
              <a:t>Wirtschaftlichkeits-</a:t>
            </a:r>
            <a:r>
              <a:rPr lang="de-DE" b="1" dirty="0" err="1" smtClean="0">
                <a:solidFill>
                  <a:srgbClr val="15935A"/>
                </a:solidFill>
              </a:rPr>
              <a:t>Massnahmen</a:t>
            </a:r>
            <a:r>
              <a:rPr lang="de-DE" b="1" dirty="0" smtClean="0">
                <a:solidFill>
                  <a:srgbClr val="15935A"/>
                </a:solidFill>
              </a:rPr>
              <a:t> (22)</a:t>
            </a:r>
            <a:r>
              <a:rPr lang="de-DE" dirty="0" smtClean="0"/>
              <a:t>.</a:t>
            </a:r>
            <a:endParaRPr lang="de-DE" b="1" dirty="0" smtClean="0">
              <a:solidFill>
                <a:srgbClr val="15935A"/>
              </a:solidFill>
            </a:endParaRPr>
          </a:p>
          <a:p>
            <a:pPr marL="180975" indent="-180975">
              <a:spcBef>
                <a:spcPts val="0"/>
              </a:spcBef>
              <a:buFontTx/>
              <a:buAutoNum type="arabicPeriod"/>
            </a:pPr>
            <a:r>
              <a:rPr lang="de-DE" dirty="0" smtClean="0">
                <a:solidFill>
                  <a:srgbClr val="000000"/>
                </a:solidFill>
              </a:rPr>
              <a:t>Wenn es gelingt, diese </a:t>
            </a:r>
            <a:r>
              <a:rPr lang="de-DE" dirty="0" smtClean="0"/>
              <a:t>sechs</a:t>
            </a:r>
            <a:r>
              <a:rPr lang="de-DE" dirty="0" smtClean="0">
                <a:solidFill>
                  <a:srgbClr val="000000"/>
                </a:solidFill>
              </a:rPr>
              <a:t> Faktoren aufeinander abgestimmt zu entwickeln, dann entsteht ein „</a:t>
            </a:r>
            <a:r>
              <a:rPr lang="de-DE" u="sng" dirty="0" smtClean="0">
                <a:solidFill>
                  <a:srgbClr val="000000"/>
                </a:solidFill>
              </a:rPr>
              <a:t>Nucleus for Change</a:t>
            </a:r>
            <a:r>
              <a:rPr lang="de-DE" dirty="0" smtClean="0">
                <a:solidFill>
                  <a:srgbClr val="000000"/>
                </a:solidFill>
              </a:rPr>
              <a:t>“, der </a:t>
            </a:r>
            <a:r>
              <a:rPr lang="de-DE" u="sng" dirty="0" smtClean="0">
                <a:solidFill>
                  <a:srgbClr val="000000"/>
                </a:solidFill>
              </a:rPr>
              <a:t>stark in alle Bereiche des Systems wirkt</a:t>
            </a:r>
            <a:r>
              <a:rPr lang="de-DE" dirty="0" smtClean="0">
                <a:solidFill>
                  <a:srgbClr val="000000"/>
                </a:solidFill>
              </a:rPr>
              <a:t>.</a:t>
            </a:r>
          </a:p>
          <a:p>
            <a:pPr marL="180975" indent="-180975">
              <a:spcBef>
                <a:spcPts val="0"/>
              </a:spcBef>
              <a:buFontTx/>
              <a:buAutoNum type="arabicPeriod"/>
            </a:pPr>
            <a:r>
              <a:rPr lang="de-DE" dirty="0" smtClean="0">
                <a:solidFill>
                  <a:srgbClr val="000000"/>
                </a:solidFill>
              </a:rPr>
              <a:t>Gemeinsam sind sie ein </a:t>
            </a:r>
            <a:r>
              <a:rPr lang="de-DE" u="sng" dirty="0" smtClean="0">
                <a:solidFill>
                  <a:srgbClr val="000000"/>
                </a:solidFill>
              </a:rPr>
              <a:t>Motor der Transformation</a:t>
            </a:r>
            <a:r>
              <a:rPr lang="de-DE" dirty="0" smtClean="0">
                <a:solidFill>
                  <a:srgbClr val="000000"/>
                </a:solidFill>
              </a:rPr>
              <a:t>, steigern die Bewusstseinsbildung und Veränderungsbereitschaft, aktivieren Unternehmensnetzwerke und stärken </a:t>
            </a:r>
            <a:r>
              <a:rPr lang="de-DE" dirty="0"/>
              <a:t>p</a:t>
            </a:r>
            <a:r>
              <a:rPr lang="de-DE" dirty="0" smtClean="0">
                <a:solidFill>
                  <a:srgbClr val="000000"/>
                </a:solidFill>
              </a:rPr>
              <a:t>olitischen Willen, Klimaprojekte und Initiativen für Wirksamkeit.</a:t>
            </a:r>
          </a:p>
          <a:p>
            <a:pPr marL="0" indent="0">
              <a:spcBef>
                <a:spcPts val="0"/>
              </a:spcBef>
            </a:pPr>
            <a:endParaRPr lang="de-DE" dirty="0" smtClean="0">
              <a:solidFill>
                <a:srgbClr val="FF0000"/>
              </a:solidFill>
            </a:endParaRPr>
          </a:p>
          <a:p>
            <a:pPr marL="0" indent="0">
              <a:spcBef>
                <a:spcPts val="0"/>
              </a:spcBef>
            </a:pPr>
            <a:r>
              <a:rPr lang="de-DE" dirty="0" smtClean="0">
                <a:solidFill>
                  <a:srgbClr val="FF0000"/>
                </a:solidFill>
              </a:rPr>
              <a:t>Details siehe nächste Folie</a:t>
            </a:r>
          </a:p>
        </p:txBody>
      </p:sp>
      <p:sp>
        <p:nvSpPr>
          <p:cNvPr id="5" name="Title 4"/>
          <p:cNvSpPr>
            <a:spLocks noGrp="1"/>
          </p:cNvSpPr>
          <p:nvPr>
            <p:ph type="title"/>
          </p:nvPr>
        </p:nvSpPr>
        <p:spPr>
          <a:xfrm>
            <a:off x="612734" y="645587"/>
            <a:ext cx="8642350" cy="611188"/>
          </a:xfrm>
        </p:spPr>
        <p:txBody>
          <a:bodyPr/>
          <a:lstStyle/>
          <a:p>
            <a:r>
              <a:rPr lang="de-DE" sz="1800" dirty="0" smtClean="0"/>
              <a:t>Ein Motor der Transformation, der für das </a:t>
            </a:r>
            <a:r>
              <a:rPr lang="de-DE" sz="1800" dirty="0" err="1" smtClean="0"/>
              <a:t>SMARTilience</a:t>
            </a:r>
            <a:r>
              <a:rPr lang="de-DE" sz="1800" dirty="0" smtClean="0"/>
              <a:t> System genutzt werden kann</a:t>
            </a:r>
            <a:br>
              <a:rPr lang="de-DE" sz="1800" dirty="0" smtClean="0"/>
            </a:br>
            <a:endParaRPr lang="de-DE" sz="1800" dirty="0"/>
          </a:p>
        </p:txBody>
      </p:sp>
      <p:sp>
        <p:nvSpPr>
          <p:cNvPr id="2" name="Text Placeholder 1"/>
          <p:cNvSpPr>
            <a:spLocks noGrp="1"/>
          </p:cNvSpPr>
          <p:nvPr>
            <p:ph type="body" sz="quarter" idx="10"/>
          </p:nvPr>
        </p:nvSpPr>
        <p:spPr>
          <a:xfrm>
            <a:off x="631824" y="6655532"/>
            <a:ext cx="8642351" cy="140400"/>
          </a:xfrm>
        </p:spPr>
        <p:txBody>
          <a:bodyPr>
            <a:normAutofit fontScale="92500"/>
          </a:bodyPr>
          <a:lstStyle/>
          <a:p>
            <a:r>
              <a:rPr lang="de-DE" dirty="0" smtClean="0">
                <a:latin typeface="Arial" panose="020B0604020202020204" pitchFamily="34" charset="0"/>
                <a:cs typeface="Arial" panose="020B0604020202020204" pitchFamily="34" charset="0"/>
              </a:rPr>
              <a:t>Beschreibung der Faktoren: </a:t>
            </a:r>
            <a:r>
              <a:rPr lang="de-DE" dirty="0" smtClean="0">
                <a:latin typeface="Arial" panose="020B0604020202020204" pitchFamily="34" charset="0"/>
                <a:cs typeface="Arial" panose="020B0604020202020204" pitchFamily="34" charset="0"/>
                <a:hlinkClick r:id="" action="ppaction://noaction"/>
              </a:rPr>
              <a:t>Link</a:t>
            </a:r>
            <a:endParaRPr lang="de-DE" dirty="0">
              <a:latin typeface="Arial" panose="020B0604020202020204" pitchFamily="34" charset="0"/>
              <a:cs typeface="Arial" panose="020B0604020202020204" pitchFamily="34" charset="0"/>
            </a:endParaRPr>
          </a:p>
        </p:txBody>
      </p:sp>
      <p:sp>
        <p:nvSpPr>
          <p:cNvPr id="310" name="Textfeld 309"/>
          <p:cNvSpPr txBox="1"/>
          <p:nvPr/>
        </p:nvSpPr>
        <p:spPr>
          <a:xfrm>
            <a:off x="402072" y="6638586"/>
            <a:ext cx="65" cy="138499"/>
          </a:xfrm>
          <a:prstGeom prst="rect">
            <a:avLst/>
          </a:prstGeom>
          <a:ln algn="ctr"/>
        </p:spPr>
        <p:txBody>
          <a:bodyPr wrap="none" lIns="0" tIns="0" rIns="0" bIns="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900" b="0"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9" name="Abgerundetes Rechteck 12"/>
          <p:cNvSpPr/>
          <p:nvPr/>
        </p:nvSpPr>
        <p:spPr bwMode="auto">
          <a:xfrm>
            <a:off x="454432" y="5977089"/>
            <a:ext cx="4896000" cy="649577"/>
          </a:xfrm>
          <a:prstGeom prst="roundRect">
            <a:avLst>
              <a:gd name="adj" fmla="val 5181"/>
            </a:avLst>
          </a:prstGeom>
          <a:gradFill flip="none" rotWithShape="1">
            <a:gsLst>
              <a:gs pos="0">
                <a:schemeClr val="accent2">
                  <a:tint val="66000"/>
                  <a:satMod val="160000"/>
                  <a:alpha val="68000"/>
                </a:schemeClr>
              </a:gs>
              <a:gs pos="67000">
                <a:schemeClr val="accent2">
                  <a:tint val="44500"/>
                  <a:satMod val="160000"/>
                  <a:alpha val="70000"/>
                </a:schemeClr>
              </a:gs>
              <a:gs pos="100000">
                <a:schemeClr val="accent2">
                  <a:tint val="23500"/>
                  <a:satMod val="160000"/>
                  <a:alpha val="54000"/>
                </a:schemeClr>
              </a:gs>
            </a:gsLst>
            <a:lin ang="16200000" scaled="1"/>
            <a:tileRect/>
          </a:gradFill>
          <a:ln w="9525" cap="flat" cmpd="sng" algn="ctr">
            <a:noFill/>
            <a:prstDash val="solid"/>
            <a:round/>
            <a:headEnd type="none" w="med" len="med"/>
            <a:tailEnd type="none" w="med" len="med"/>
          </a:ln>
          <a:effectLst/>
        </p:spPr>
        <p:txBody>
          <a:bodyPr vert="horz" wrap="square" lIns="72000" tIns="46800" rIns="36000" bIns="46800" numCol="1" rtlCol="0" anchor="ctr" anchorCtr="0" compatLnSpc="1">
            <a:prstTxWarp prst="textNoShape">
              <a:avLst/>
            </a:prstTxWarp>
          </a:bodyPr>
          <a:lstStyle/>
          <a:p>
            <a:pPr marL="228600" marR="0" lvl="0" indent="-228600" algn="l" defTabSz="914400" rtl="0" eaLnBrk="1" fontAlgn="base" latinLnBrk="0" hangingPunct="1">
              <a:lnSpc>
                <a:spcPct val="100000"/>
              </a:lnSpc>
              <a:spcBef>
                <a:spcPct val="0"/>
              </a:spcBef>
              <a:spcAft>
                <a:spcPts val="200"/>
              </a:spcAft>
              <a:buClrTx/>
              <a:buSzTx/>
              <a:buFontTx/>
              <a:buAutoNum type="arabicParenR"/>
              <a:tabLst/>
              <a:defRPr/>
            </a:pPr>
            <a:r>
              <a:rPr kumimoji="0" lang="de-DE" sz="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S = Aktivsumme: </a:t>
            </a:r>
            <a:r>
              <a:rPr kumimoji="0" lang="de-DE" sz="800" b="0"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Summe der Stärke </a:t>
            </a:r>
            <a:r>
              <a:rPr kumimoji="0" lang="de-DE" sz="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r ausgehenden Wirkungen</a:t>
            </a:r>
          </a:p>
          <a:p>
            <a:pPr marL="228600" marR="0" lvl="0" indent="-228600" algn="l" defTabSz="914400" rtl="0" eaLnBrk="1" fontAlgn="base" latinLnBrk="0" hangingPunct="1">
              <a:lnSpc>
                <a:spcPct val="100000"/>
              </a:lnSpc>
              <a:spcBef>
                <a:spcPct val="0"/>
              </a:spcBef>
              <a:spcAft>
                <a:spcPts val="200"/>
              </a:spcAft>
              <a:buClrTx/>
              <a:buSzTx/>
              <a:buFontTx/>
              <a:buAutoNum type="arabicParenR"/>
              <a:tabLst/>
              <a:defRPr/>
            </a:pPr>
            <a:r>
              <a:rPr kumimoji="0" lang="de-DE" sz="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S = Passivsumme: </a:t>
            </a:r>
            <a:r>
              <a:rPr kumimoji="0" lang="de-DE" sz="800" b="0"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Summe der Stärke </a:t>
            </a:r>
            <a:r>
              <a:rPr kumimoji="0" lang="de-DE" sz="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r eingehenden Wirkungen</a:t>
            </a:r>
          </a:p>
          <a:p>
            <a:pPr marL="228600" marR="0" lvl="0" indent="-228600" algn="l" defTabSz="914400" rtl="0" eaLnBrk="1" fontAlgn="base" latinLnBrk="0" hangingPunct="1">
              <a:lnSpc>
                <a:spcPct val="100000"/>
              </a:lnSpc>
              <a:spcBef>
                <a:spcPct val="0"/>
              </a:spcBef>
              <a:spcAft>
                <a:spcPts val="200"/>
              </a:spcAft>
              <a:buClrTx/>
              <a:buSzTx/>
              <a:buFontTx/>
              <a:buAutoNum type="arabicParenR"/>
              <a:tabLst/>
              <a:defRPr/>
            </a:pPr>
            <a:r>
              <a:rPr kumimoji="0" lang="de-DE" sz="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Wert: Produkt aus Aktiv- und Passivsumme (AS*PS): Grad </a:t>
            </a:r>
            <a:r>
              <a:rPr kumimoji="0" lang="de-DE" sz="800" b="0"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der </a:t>
            </a:r>
            <a:r>
              <a:rPr kumimoji="0" lang="de-DE" sz="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eteiligung am Systemverhalten</a:t>
            </a:r>
          </a:p>
          <a:p>
            <a:pPr marL="228600" marR="0" lvl="0" indent="-228600" algn="l" defTabSz="914400" rtl="0" eaLnBrk="1" fontAlgn="base" latinLnBrk="0" hangingPunct="1">
              <a:lnSpc>
                <a:spcPct val="100000"/>
              </a:lnSpc>
              <a:spcBef>
                <a:spcPct val="0"/>
              </a:spcBef>
              <a:spcAft>
                <a:spcPts val="200"/>
              </a:spcAft>
              <a:buClrTx/>
              <a:buSzTx/>
              <a:buFontTx/>
              <a:buAutoNum type="arabicParenR"/>
              <a:tabLst/>
              <a:defRPr/>
            </a:pPr>
            <a:r>
              <a:rPr kumimoji="0" lang="de-DE" sz="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Wert: Quotient aus Aktiv- und Passivsumme (AS/PS): Grad der </a:t>
            </a:r>
            <a:r>
              <a:rPr kumimoji="0" lang="de-DE" sz="800" b="0"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ktivität bzw. </a:t>
            </a:r>
            <a:r>
              <a:rPr kumimoji="0" lang="de-DE" sz="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aktivität</a:t>
            </a:r>
          </a:p>
        </p:txBody>
      </p:sp>
      <p:pic>
        <p:nvPicPr>
          <p:cNvPr id="91" name="Grafik 90"/>
          <p:cNvPicPr>
            <a:picLocks noChangeAspect="1"/>
          </p:cNvPicPr>
          <p:nvPr/>
        </p:nvPicPr>
        <p:blipFill>
          <a:blip r:embed="rId3"/>
          <a:stretch>
            <a:fillRect/>
          </a:stretch>
        </p:blipFill>
        <p:spPr>
          <a:xfrm>
            <a:off x="-2972" y="1186138"/>
            <a:ext cx="5674987" cy="4739945"/>
          </a:xfrm>
          <a:prstGeom prst="rect">
            <a:avLst/>
          </a:prstGeom>
        </p:spPr>
      </p:pic>
      <p:grpSp>
        <p:nvGrpSpPr>
          <p:cNvPr id="92" name="Gruppieren 91"/>
          <p:cNvGrpSpPr/>
          <p:nvPr/>
        </p:nvGrpSpPr>
        <p:grpSpPr>
          <a:xfrm>
            <a:off x="52381" y="1088903"/>
            <a:ext cx="5772173" cy="4859208"/>
            <a:chOff x="96131" y="1148025"/>
            <a:chExt cx="5772173" cy="4859208"/>
          </a:xfrm>
        </p:grpSpPr>
        <p:sp>
          <p:nvSpPr>
            <p:cNvPr id="93" name="Textfeld 35"/>
            <p:cNvSpPr txBox="1"/>
            <p:nvPr/>
          </p:nvSpPr>
          <p:spPr>
            <a:xfrm>
              <a:off x="96131" y="1152358"/>
              <a:ext cx="239138" cy="165036"/>
            </a:xfrm>
            <a:prstGeom prst="rect">
              <a:avLst/>
            </a:prstGeom>
            <a:noFill/>
            <a:ln algn="ctr"/>
          </p:spPr>
          <p:txBody>
            <a:bodyPr wrap="square" lIns="36000" tIns="36000" rIns="36000" bIns="36000" rtlCol="0" anchor="t">
              <a:spAutoFit/>
            </a:bodyPr>
            <a:lstStyle/>
            <a:p>
              <a:pPr marL="180975" marR="0" lvl="0" indent="-180975" algn="l" defTabSz="914400" rtl="0" eaLnBrk="1" fontAlgn="base" latinLnBrk="0" hangingPunct="1">
                <a:lnSpc>
                  <a:spcPct val="100000"/>
                </a:lnSpc>
                <a:spcBef>
                  <a:spcPct val="0"/>
                </a:spcBef>
                <a:spcAft>
                  <a:spcPct val="0"/>
                </a:spcAft>
                <a:buClrTx/>
                <a:buSzTx/>
                <a:buFontTx/>
                <a:buNone/>
                <a:tabLst/>
                <a:defRPr/>
              </a:pPr>
              <a:r>
                <a:rPr kumimoji="0" lang="de-DE" sz="600" b="0" i="0" u="none" strike="noStrike" kern="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1)</a:t>
              </a:r>
            </a:p>
          </p:txBody>
        </p:sp>
        <p:sp>
          <p:nvSpPr>
            <p:cNvPr id="94" name="Textfeld 35"/>
            <p:cNvSpPr txBox="1"/>
            <p:nvPr/>
          </p:nvSpPr>
          <p:spPr>
            <a:xfrm>
              <a:off x="5619529" y="1148025"/>
              <a:ext cx="239138" cy="165036"/>
            </a:xfrm>
            <a:prstGeom prst="rect">
              <a:avLst/>
            </a:prstGeom>
            <a:noFill/>
            <a:ln algn="ctr"/>
          </p:spPr>
          <p:txBody>
            <a:bodyPr wrap="square" lIns="36000" tIns="36000" rIns="36000" bIns="36000" rtlCol="0" anchor="t">
              <a:spAutoFit/>
            </a:bodyPr>
            <a:lstStyle/>
            <a:p>
              <a:pPr marL="180975" marR="0" lvl="0" indent="-180975" algn="l" defTabSz="914400" rtl="0" eaLnBrk="1" fontAlgn="base" latinLnBrk="0" hangingPunct="1">
                <a:lnSpc>
                  <a:spcPct val="100000"/>
                </a:lnSpc>
                <a:spcBef>
                  <a:spcPct val="0"/>
                </a:spcBef>
                <a:spcAft>
                  <a:spcPct val="0"/>
                </a:spcAft>
                <a:buClrTx/>
                <a:buSzTx/>
                <a:buFontTx/>
                <a:buNone/>
                <a:tabLst/>
                <a:defRPr/>
              </a:pPr>
              <a:r>
                <a:rPr kumimoji="0" lang="de-DE" sz="600" b="0" i="0" u="none" strike="noStrike" kern="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3)</a:t>
              </a:r>
            </a:p>
          </p:txBody>
        </p:sp>
        <p:sp>
          <p:nvSpPr>
            <p:cNvPr id="95" name="Textfeld 35"/>
            <p:cNvSpPr txBox="1"/>
            <p:nvPr/>
          </p:nvSpPr>
          <p:spPr>
            <a:xfrm>
              <a:off x="5629166" y="1656837"/>
              <a:ext cx="239138" cy="165036"/>
            </a:xfrm>
            <a:prstGeom prst="rect">
              <a:avLst/>
            </a:prstGeom>
            <a:noFill/>
            <a:ln algn="ctr"/>
          </p:spPr>
          <p:txBody>
            <a:bodyPr wrap="square" lIns="36000" tIns="36000" rIns="36000" bIns="36000" rtlCol="0" anchor="t">
              <a:spAutoFit/>
            </a:bodyPr>
            <a:lstStyle/>
            <a:p>
              <a:pPr marL="180975" marR="0" lvl="0" indent="-180975" algn="l" defTabSz="914400" rtl="0" eaLnBrk="1" fontAlgn="base" latinLnBrk="0" hangingPunct="1">
                <a:lnSpc>
                  <a:spcPct val="100000"/>
                </a:lnSpc>
                <a:spcBef>
                  <a:spcPct val="0"/>
                </a:spcBef>
                <a:spcAft>
                  <a:spcPct val="0"/>
                </a:spcAft>
                <a:buClrTx/>
                <a:buSzTx/>
                <a:buFontTx/>
                <a:buNone/>
                <a:tabLst/>
                <a:defRPr/>
              </a:pPr>
              <a:r>
                <a:rPr kumimoji="0" lang="de-DE" sz="600" b="0" i="0" u="none" strike="noStrike" kern="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4)</a:t>
              </a:r>
            </a:p>
          </p:txBody>
        </p:sp>
        <p:sp>
          <p:nvSpPr>
            <p:cNvPr id="96" name="Textfeld 35"/>
            <p:cNvSpPr txBox="1"/>
            <p:nvPr/>
          </p:nvSpPr>
          <p:spPr>
            <a:xfrm>
              <a:off x="5625512" y="5200005"/>
              <a:ext cx="239138" cy="165036"/>
            </a:xfrm>
            <a:prstGeom prst="rect">
              <a:avLst/>
            </a:prstGeom>
            <a:noFill/>
            <a:ln algn="ctr"/>
          </p:spPr>
          <p:txBody>
            <a:bodyPr wrap="square" lIns="36000" tIns="36000" rIns="36000" bIns="36000" rtlCol="0" anchor="t">
              <a:spAutoFit/>
            </a:bodyPr>
            <a:lstStyle/>
            <a:p>
              <a:pPr marL="180975" marR="0" lvl="0" indent="-180975" algn="l" defTabSz="914400" rtl="0" eaLnBrk="1" fontAlgn="base" latinLnBrk="0" hangingPunct="1">
                <a:lnSpc>
                  <a:spcPct val="100000"/>
                </a:lnSpc>
                <a:spcBef>
                  <a:spcPct val="0"/>
                </a:spcBef>
                <a:spcAft>
                  <a:spcPct val="0"/>
                </a:spcAft>
                <a:buClrTx/>
                <a:buSzTx/>
                <a:buFontTx/>
                <a:buNone/>
                <a:tabLst/>
                <a:defRPr/>
              </a:pPr>
              <a:r>
                <a:rPr kumimoji="0" lang="de-DE" sz="600" b="0" i="0" u="none" strike="noStrike" kern="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4)</a:t>
              </a:r>
            </a:p>
          </p:txBody>
        </p:sp>
        <p:sp>
          <p:nvSpPr>
            <p:cNvPr id="97" name="Textfeld 35"/>
            <p:cNvSpPr txBox="1"/>
            <p:nvPr/>
          </p:nvSpPr>
          <p:spPr>
            <a:xfrm>
              <a:off x="5476627" y="5842197"/>
              <a:ext cx="239138" cy="165036"/>
            </a:xfrm>
            <a:prstGeom prst="rect">
              <a:avLst/>
            </a:prstGeom>
            <a:noFill/>
            <a:ln algn="ctr"/>
          </p:spPr>
          <p:txBody>
            <a:bodyPr wrap="square" lIns="36000" tIns="36000" rIns="36000" bIns="36000" rtlCol="0" anchor="t">
              <a:spAutoFit/>
            </a:bodyPr>
            <a:lstStyle/>
            <a:p>
              <a:pPr marL="180975" marR="0" lvl="0" indent="-180975" algn="l" defTabSz="914400" rtl="0" eaLnBrk="1" fontAlgn="base" latinLnBrk="0" hangingPunct="1">
                <a:lnSpc>
                  <a:spcPct val="100000"/>
                </a:lnSpc>
                <a:spcBef>
                  <a:spcPct val="0"/>
                </a:spcBef>
                <a:spcAft>
                  <a:spcPct val="0"/>
                </a:spcAft>
                <a:buClrTx/>
                <a:buSzTx/>
                <a:buFontTx/>
                <a:buNone/>
                <a:tabLst/>
                <a:defRPr/>
              </a:pPr>
              <a:r>
                <a:rPr kumimoji="0" lang="de-DE" sz="600" b="0" i="0" u="none" strike="noStrike" kern="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2)</a:t>
              </a:r>
            </a:p>
          </p:txBody>
        </p:sp>
        <p:sp>
          <p:nvSpPr>
            <p:cNvPr id="107" name="Textfeld 35"/>
            <p:cNvSpPr txBox="1"/>
            <p:nvPr/>
          </p:nvSpPr>
          <p:spPr>
            <a:xfrm>
              <a:off x="5203168" y="1173096"/>
              <a:ext cx="239138" cy="165036"/>
            </a:xfrm>
            <a:prstGeom prst="rect">
              <a:avLst/>
            </a:prstGeom>
            <a:noFill/>
            <a:ln algn="ctr"/>
          </p:spPr>
          <p:txBody>
            <a:bodyPr wrap="square" lIns="36000" tIns="36000" rIns="36000" bIns="36000" rtlCol="0" anchor="t">
              <a:spAutoFit/>
            </a:bodyPr>
            <a:lstStyle/>
            <a:p>
              <a:pPr marL="180975" marR="0" lvl="0" indent="-180975" algn="l" defTabSz="914400" rtl="0" eaLnBrk="1" fontAlgn="base" latinLnBrk="0" hangingPunct="1">
                <a:lnSpc>
                  <a:spcPct val="100000"/>
                </a:lnSpc>
                <a:spcBef>
                  <a:spcPct val="0"/>
                </a:spcBef>
                <a:spcAft>
                  <a:spcPct val="0"/>
                </a:spcAft>
                <a:buClrTx/>
                <a:buSzTx/>
                <a:buFontTx/>
                <a:buNone/>
                <a:tabLst/>
                <a:defRPr/>
              </a:pPr>
              <a:r>
                <a:rPr kumimoji="0" lang="de-DE" sz="600" b="0" i="0" u="none" strike="noStrike" kern="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4)</a:t>
              </a:r>
            </a:p>
          </p:txBody>
        </p:sp>
      </p:grpSp>
      <p:sp>
        <p:nvSpPr>
          <p:cNvPr id="108" name="Rechteck 53"/>
          <p:cNvSpPr/>
          <p:nvPr/>
        </p:nvSpPr>
        <p:spPr bwMode="auto">
          <a:xfrm>
            <a:off x="1926038" y="4135338"/>
            <a:ext cx="109301" cy="123758"/>
          </a:xfrm>
          <a:prstGeom prst="rect">
            <a:avLst/>
          </a:prstGeom>
          <a:gradFill flip="none" rotWithShape="1">
            <a:gsLst>
              <a:gs pos="0">
                <a:srgbClr val="ADEFB5"/>
              </a:gs>
              <a:gs pos="100000">
                <a:srgbClr val="8CEF8C"/>
              </a:gs>
            </a:gsLst>
            <a:lin ang="7800000" scaled="0"/>
            <a:tileRect/>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CH"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272" name="Ellipse 14"/>
          <p:cNvSpPr/>
          <p:nvPr/>
        </p:nvSpPr>
        <p:spPr bwMode="auto">
          <a:xfrm rot="4265114">
            <a:off x="2019397" y="1548750"/>
            <a:ext cx="1169381" cy="2472245"/>
          </a:xfrm>
          <a:custGeom>
            <a:avLst/>
            <a:gdLst>
              <a:gd name="connsiteX0" fmla="*/ 0 w 1743943"/>
              <a:gd name="connsiteY0" fmla="*/ 1023827 h 2047653"/>
              <a:gd name="connsiteX1" fmla="*/ 871972 w 1743943"/>
              <a:gd name="connsiteY1" fmla="*/ 0 h 2047653"/>
              <a:gd name="connsiteX2" fmla="*/ 1743944 w 1743943"/>
              <a:gd name="connsiteY2" fmla="*/ 1023827 h 2047653"/>
              <a:gd name="connsiteX3" fmla="*/ 871972 w 1743943"/>
              <a:gd name="connsiteY3" fmla="*/ 2047654 h 2047653"/>
              <a:gd name="connsiteX4" fmla="*/ 0 w 1743943"/>
              <a:gd name="connsiteY4" fmla="*/ 1023827 h 2047653"/>
              <a:gd name="connsiteX0" fmla="*/ 10957 w 1776963"/>
              <a:gd name="connsiteY0" fmla="*/ 1023827 h 2351494"/>
              <a:gd name="connsiteX1" fmla="*/ 882929 w 1776963"/>
              <a:gd name="connsiteY1" fmla="*/ 0 h 2351494"/>
              <a:gd name="connsiteX2" fmla="*/ 1754901 w 1776963"/>
              <a:gd name="connsiteY2" fmla="*/ 1023827 h 2351494"/>
              <a:gd name="connsiteX3" fmla="*/ 1423210 w 1776963"/>
              <a:gd name="connsiteY3" fmla="*/ 2351494 h 2351494"/>
              <a:gd name="connsiteX4" fmla="*/ 10957 w 1776963"/>
              <a:gd name="connsiteY4" fmla="*/ 1023827 h 2351494"/>
              <a:gd name="connsiteX0" fmla="*/ 16952 w 1300703"/>
              <a:gd name="connsiteY0" fmla="*/ 1199717 h 2353516"/>
              <a:gd name="connsiteX1" fmla="*/ 428731 w 1300703"/>
              <a:gd name="connsiteY1" fmla="*/ 1240 h 2353516"/>
              <a:gd name="connsiteX2" fmla="*/ 1300703 w 1300703"/>
              <a:gd name="connsiteY2" fmla="*/ 1025067 h 2353516"/>
              <a:gd name="connsiteX3" fmla="*/ 969012 w 1300703"/>
              <a:gd name="connsiteY3" fmla="*/ 2352734 h 2353516"/>
              <a:gd name="connsiteX4" fmla="*/ 16952 w 1300703"/>
              <a:gd name="connsiteY4" fmla="*/ 1199717 h 2353516"/>
              <a:gd name="connsiteX0" fmla="*/ 2383 w 1286134"/>
              <a:gd name="connsiteY0" fmla="*/ 1411709 h 2565543"/>
              <a:gd name="connsiteX1" fmla="*/ 701727 w 1286134"/>
              <a:gd name="connsiteY1" fmla="*/ 878 h 2565543"/>
              <a:gd name="connsiteX2" fmla="*/ 1286134 w 1286134"/>
              <a:gd name="connsiteY2" fmla="*/ 1237059 h 2565543"/>
              <a:gd name="connsiteX3" fmla="*/ 954443 w 1286134"/>
              <a:gd name="connsiteY3" fmla="*/ 2564726 h 2565543"/>
              <a:gd name="connsiteX4" fmla="*/ 2383 w 1286134"/>
              <a:gd name="connsiteY4" fmla="*/ 1411709 h 2565543"/>
              <a:gd name="connsiteX0" fmla="*/ 3516 w 1070416"/>
              <a:gd name="connsiteY0" fmla="*/ 962042 h 2568332"/>
              <a:gd name="connsiteX1" fmla="*/ 486009 w 1070416"/>
              <a:gd name="connsiteY1" fmla="*/ 2595 h 2568332"/>
              <a:gd name="connsiteX2" fmla="*/ 1070416 w 1070416"/>
              <a:gd name="connsiteY2" fmla="*/ 1238776 h 2568332"/>
              <a:gd name="connsiteX3" fmla="*/ 738725 w 1070416"/>
              <a:gd name="connsiteY3" fmla="*/ 2566443 h 2568332"/>
              <a:gd name="connsiteX4" fmla="*/ 3516 w 1070416"/>
              <a:gd name="connsiteY4" fmla="*/ 962042 h 2568332"/>
              <a:gd name="connsiteX0" fmla="*/ 5967 w 1072867"/>
              <a:gd name="connsiteY0" fmla="*/ 858112 h 2464402"/>
              <a:gd name="connsiteX1" fmla="*/ 430090 w 1072867"/>
              <a:gd name="connsiteY1" fmla="*/ 3020 h 2464402"/>
              <a:gd name="connsiteX2" fmla="*/ 1072867 w 1072867"/>
              <a:gd name="connsiteY2" fmla="*/ 1134846 h 2464402"/>
              <a:gd name="connsiteX3" fmla="*/ 741176 w 1072867"/>
              <a:gd name="connsiteY3" fmla="*/ 2462513 h 2464402"/>
              <a:gd name="connsiteX4" fmla="*/ 5967 w 1072867"/>
              <a:gd name="connsiteY4" fmla="*/ 858112 h 2464402"/>
              <a:gd name="connsiteX0" fmla="*/ 5717 w 979687"/>
              <a:gd name="connsiteY0" fmla="*/ 857929 h 2464082"/>
              <a:gd name="connsiteX1" fmla="*/ 429840 w 979687"/>
              <a:gd name="connsiteY1" fmla="*/ 2837 h 2464082"/>
              <a:gd name="connsiteX2" fmla="*/ 979687 w 979687"/>
              <a:gd name="connsiteY2" fmla="*/ 1125431 h 2464082"/>
              <a:gd name="connsiteX3" fmla="*/ 740926 w 979687"/>
              <a:gd name="connsiteY3" fmla="*/ 2462330 h 2464082"/>
              <a:gd name="connsiteX4" fmla="*/ 5717 w 979687"/>
              <a:gd name="connsiteY4" fmla="*/ 857929 h 2464082"/>
              <a:gd name="connsiteX0" fmla="*/ 5717 w 1082411"/>
              <a:gd name="connsiteY0" fmla="*/ 857929 h 2533094"/>
              <a:gd name="connsiteX1" fmla="*/ 429840 w 1082411"/>
              <a:gd name="connsiteY1" fmla="*/ 2837 h 2533094"/>
              <a:gd name="connsiteX2" fmla="*/ 979687 w 1082411"/>
              <a:gd name="connsiteY2" fmla="*/ 1125431 h 2533094"/>
              <a:gd name="connsiteX3" fmla="*/ 1068241 w 1082411"/>
              <a:gd name="connsiteY3" fmla="*/ 2137111 h 2533094"/>
              <a:gd name="connsiteX4" fmla="*/ 740926 w 1082411"/>
              <a:gd name="connsiteY4" fmla="*/ 2462330 h 2533094"/>
              <a:gd name="connsiteX5" fmla="*/ 5717 w 1082411"/>
              <a:gd name="connsiteY5" fmla="*/ 857929 h 2533094"/>
              <a:gd name="connsiteX0" fmla="*/ 1675 w 1078369"/>
              <a:gd name="connsiteY0" fmla="*/ 857838 h 2444475"/>
              <a:gd name="connsiteX1" fmla="*/ 425798 w 1078369"/>
              <a:gd name="connsiteY1" fmla="*/ 2746 h 2444475"/>
              <a:gd name="connsiteX2" fmla="*/ 975645 w 1078369"/>
              <a:gd name="connsiteY2" fmla="*/ 1125340 h 2444475"/>
              <a:gd name="connsiteX3" fmla="*/ 1064199 w 1078369"/>
              <a:gd name="connsiteY3" fmla="*/ 2137020 h 2444475"/>
              <a:gd name="connsiteX4" fmla="*/ 309943 w 1078369"/>
              <a:gd name="connsiteY4" fmla="*/ 2355509 h 2444475"/>
              <a:gd name="connsiteX5" fmla="*/ 1675 w 1078369"/>
              <a:gd name="connsiteY5" fmla="*/ 857838 h 2444475"/>
              <a:gd name="connsiteX0" fmla="*/ 1731 w 1109478"/>
              <a:gd name="connsiteY0" fmla="*/ 857838 h 2464157"/>
              <a:gd name="connsiteX1" fmla="*/ 425854 w 1109478"/>
              <a:gd name="connsiteY1" fmla="*/ 2746 h 2464157"/>
              <a:gd name="connsiteX2" fmla="*/ 975701 w 1109478"/>
              <a:gd name="connsiteY2" fmla="*/ 1125340 h 2464157"/>
              <a:gd name="connsiteX3" fmla="*/ 1099240 w 1109478"/>
              <a:gd name="connsiteY3" fmla="*/ 2199882 h 2464157"/>
              <a:gd name="connsiteX4" fmla="*/ 309999 w 1109478"/>
              <a:gd name="connsiteY4" fmla="*/ 2355509 h 2464157"/>
              <a:gd name="connsiteX5" fmla="*/ 1731 w 1109478"/>
              <a:gd name="connsiteY5" fmla="*/ 857838 h 2464157"/>
              <a:gd name="connsiteX0" fmla="*/ 1731 w 1124725"/>
              <a:gd name="connsiteY0" fmla="*/ 857838 h 2449213"/>
              <a:gd name="connsiteX1" fmla="*/ 425854 w 1124725"/>
              <a:gd name="connsiteY1" fmla="*/ 2746 h 2449213"/>
              <a:gd name="connsiteX2" fmla="*/ 975701 w 1124725"/>
              <a:gd name="connsiteY2" fmla="*/ 1125340 h 2449213"/>
              <a:gd name="connsiteX3" fmla="*/ 862091 w 1124725"/>
              <a:gd name="connsiteY3" fmla="*/ 1440308 h 2449213"/>
              <a:gd name="connsiteX4" fmla="*/ 1099240 w 1124725"/>
              <a:gd name="connsiteY4" fmla="*/ 2199882 h 2449213"/>
              <a:gd name="connsiteX5" fmla="*/ 309999 w 1124725"/>
              <a:gd name="connsiteY5" fmla="*/ 2355509 h 2449213"/>
              <a:gd name="connsiteX6" fmla="*/ 1731 w 1124725"/>
              <a:gd name="connsiteY6" fmla="*/ 857838 h 2449213"/>
              <a:gd name="connsiteX0" fmla="*/ 1731 w 1124725"/>
              <a:gd name="connsiteY0" fmla="*/ 856801 h 2448176"/>
              <a:gd name="connsiteX1" fmla="*/ 425854 w 1124725"/>
              <a:gd name="connsiteY1" fmla="*/ 1709 h 2448176"/>
              <a:gd name="connsiteX2" fmla="*/ 883196 w 1124725"/>
              <a:gd name="connsiteY2" fmla="*/ 1064342 h 2448176"/>
              <a:gd name="connsiteX3" fmla="*/ 862091 w 1124725"/>
              <a:gd name="connsiteY3" fmla="*/ 1439271 h 2448176"/>
              <a:gd name="connsiteX4" fmla="*/ 1099240 w 1124725"/>
              <a:gd name="connsiteY4" fmla="*/ 2198845 h 2448176"/>
              <a:gd name="connsiteX5" fmla="*/ 309999 w 1124725"/>
              <a:gd name="connsiteY5" fmla="*/ 2354472 h 2448176"/>
              <a:gd name="connsiteX6" fmla="*/ 1731 w 1124725"/>
              <a:gd name="connsiteY6" fmla="*/ 856801 h 2448176"/>
              <a:gd name="connsiteX0" fmla="*/ 1731 w 1124725"/>
              <a:gd name="connsiteY0" fmla="*/ 856801 h 2448176"/>
              <a:gd name="connsiteX1" fmla="*/ 425854 w 1124725"/>
              <a:gd name="connsiteY1" fmla="*/ 1709 h 2448176"/>
              <a:gd name="connsiteX2" fmla="*/ 883196 w 1124725"/>
              <a:gd name="connsiteY2" fmla="*/ 1064342 h 2448176"/>
              <a:gd name="connsiteX3" fmla="*/ 862091 w 1124725"/>
              <a:gd name="connsiteY3" fmla="*/ 1439271 h 2448176"/>
              <a:gd name="connsiteX4" fmla="*/ 1099240 w 1124725"/>
              <a:gd name="connsiteY4" fmla="*/ 2198845 h 2448176"/>
              <a:gd name="connsiteX5" fmla="*/ 309999 w 1124725"/>
              <a:gd name="connsiteY5" fmla="*/ 2354472 h 2448176"/>
              <a:gd name="connsiteX6" fmla="*/ 1731 w 1124725"/>
              <a:gd name="connsiteY6" fmla="*/ 856801 h 2448176"/>
              <a:gd name="connsiteX0" fmla="*/ 1731 w 1124725"/>
              <a:gd name="connsiteY0" fmla="*/ 856618 h 2447993"/>
              <a:gd name="connsiteX1" fmla="*/ 425854 w 1124725"/>
              <a:gd name="connsiteY1" fmla="*/ 1526 h 2447993"/>
              <a:gd name="connsiteX2" fmla="*/ 847786 w 1124725"/>
              <a:gd name="connsiteY2" fmla="*/ 1052024 h 2447993"/>
              <a:gd name="connsiteX3" fmla="*/ 862091 w 1124725"/>
              <a:gd name="connsiteY3" fmla="*/ 1439088 h 2447993"/>
              <a:gd name="connsiteX4" fmla="*/ 1099240 w 1124725"/>
              <a:gd name="connsiteY4" fmla="*/ 2198662 h 2447993"/>
              <a:gd name="connsiteX5" fmla="*/ 309999 w 1124725"/>
              <a:gd name="connsiteY5" fmla="*/ 2354289 h 2447993"/>
              <a:gd name="connsiteX6" fmla="*/ 1731 w 1124725"/>
              <a:gd name="connsiteY6" fmla="*/ 856618 h 2447993"/>
              <a:gd name="connsiteX0" fmla="*/ 1731 w 1124725"/>
              <a:gd name="connsiteY0" fmla="*/ 857512 h 2448887"/>
              <a:gd name="connsiteX1" fmla="*/ 425854 w 1124725"/>
              <a:gd name="connsiteY1" fmla="*/ 2420 h 2448887"/>
              <a:gd name="connsiteX2" fmla="*/ 847786 w 1124725"/>
              <a:gd name="connsiteY2" fmla="*/ 1052918 h 2448887"/>
              <a:gd name="connsiteX3" fmla="*/ 862091 w 1124725"/>
              <a:gd name="connsiteY3" fmla="*/ 1439982 h 2448887"/>
              <a:gd name="connsiteX4" fmla="*/ 1099240 w 1124725"/>
              <a:gd name="connsiteY4" fmla="*/ 2199556 h 2448887"/>
              <a:gd name="connsiteX5" fmla="*/ 309999 w 1124725"/>
              <a:gd name="connsiteY5" fmla="*/ 2355183 h 2448887"/>
              <a:gd name="connsiteX6" fmla="*/ 1731 w 1124725"/>
              <a:gd name="connsiteY6" fmla="*/ 857512 h 2448887"/>
              <a:gd name="connsiteX0" fmla="*/ 12525 w 1135519"/>
              <a:gd name="connsiteY0" fmla="*/ 857389 h 2448764"/>
              <a:gd name="connsiteX1" fmla="*/ 436648 w 1135519"/>
              <a:gd name="connsiteY1" fmla="*/ 2297 h 2448764"/>
              <a:gd name="connsiteX2" fmla="*/ 858580 w 1135519"/>
              <a:gd name="connsiteY2" fmla="*/ 1052795 h 2448764"/>
              <a:gd name="connsiteX3" fmla="*/ 872885 w 1135519"/>
              <a:gd name="connsiteY3" fmla="*/ 1439859 h 2448764"/>
              <a:gd name="connsiteX4" fmla="*/ 1110034 w 1135519"/>
              <a:gd name="connsiteY4" fmla="*/ 2199433 h 2448764"/>
              <a:gd name="connsiteX5" fmla="*/ 320793 w 1135519"/>
              <a:gd name="connsiteY5" fmla="*/ 2355060 h 2448764"/>
              <a:gd name="connsiteX6" fmla="*/ 12525 w 1135519"/>
              <a:gd name="connsiteY6" fmla="*/ 857389 h 2448764"/>
              <a:gd name="connsiteX0" fmla="*/ 12525 w 1177039"/>
              <a:gd name="connsiteY0" fmla="*/ 857389 h 2449860"/>
              <a:gd name="connsiteX1" fmla="*/ 436648 w 1177039"/>
              <a:gd name="connsiteY1" fmla="*/ 2297 h 2449860"/>
              <a:gd name="connsiteX2" fmla="*/ 858580 w 1177039"/>
              <a:gd name="connsiteY2" fmla="*/ 1052795 h 2449860"/>
              <a:gd name="connsiteX3" fmla="*/ 872885 w 1177039"/>
              <a:gd name="connsiteY3" fmla="*/ 1439859 h 2449860"/>
              <a:gd name="connsiteX4" fmla="*/ 1153971 w 1177039"/>
              <a:gd name="connsiteY4" fmla="*/ 2203183 h 2449860"/>
              <a:gd name="connsiteX5" fmla="*/ 320793 w 1177039"/>
              <a:gd name="connsiteY5" fmla="*/ 2355060 h 2449860"/>
              <a:gd name="connsiteX6" fmla="*/ 12525 w 1177039"/>
              <a:gd name="connsiteY6" fmla="*/ 857389 h 2449860"/>
              <a:gd name="connsiteX0" fmla="*/ 3525 w 1168039"/>
              <a:gd name="connsiteY0" fmla="*/ 857512 h 2449762"/>
              <a:gd name="connsiteX1" fmla="*/ 427648 w 1168039"/>
              <a:gd name="connsiteY1" fmla="*/ 2420 h 2449762"/>
              <a:gd name="connsiteX2" fmla="*/ 849580 w 1168039"/>
              <a:gd name="connsiteY2" fmla="*/ 1052918 h 2449762"/>
              <a:gd name="connsiteX3" fmla="*/ 863885 w 1168039"/>
              <a:gd name="connsiteY3" fmla="*/ 1439982 h 2449762"/>
              <a:gd name="connsiteX4" fmla="*/ 1144971 w 1168039"/>
              <a:gd name="connsiteY4" fmla="*/ 2203306 h 2449762"/>
              <a:gd name="connsiteX5" fmla="*/ 277974 w 1168039"/>
              <a:gd name="connsiteY5" fmla="*/ 2354900 h 2449762"/>
              <a:gd name="connsiteX6" fmla="*/ 3525 w 1168039"/>
              <a:gd name="connsiteY6" fmla="*/ 857512 h 2449762"/>
              <a:gd name="connsiteX0" fmla="*/ 3525 w 1170326"/>
              <a:gd name="connsiteY0" fmla="*/ 857512 h 2449762"/>
              <a:gd name="connsiteX1" fmla="*/ 427648 w 1170326"/>
              <a:gd name="connsiteY1" fmla="*/ 2420 h 2449762"/>
              <a:gd name="connsiteX2" fmla="*/ 849580 w 1170326"/>
              <a:gd name="connsiteY2" fmla="*/ 1052918 h 2449762"/>
              <a:gd name="connsiteX3" fmla="*/ 863885 w 1170326"/>
              <a:gd name="connsiteY3" fmla="*/ 1439982 h 2449762"/>
              <a:gd name="connsiteX4" fmla="*/ 1144971 w 1170326"/>
              <a:gd name="connsiteY4" fmla="*/ 2203306 h 2449762"/>
              <a:gd name="connsiteX5" fmla="*/ 277974 w 1170326"/>
              <a:gd name="connsiteY5" fmla="*/ 2354900 h 2449762"/>
              <a:gd name="connsiteX6" fmla="*/ 3525 w 1170326"/>
              <a:gd name="connsiteY6" fmla="*/ 857512 h 2449762"/>
              <a:gd name="connsiteX0" fmla="*/ 6132 w 1172933"/>
              <a:gd name="connsiteY0" fmla="*/ 857520 h 2458847"/>
              <a:gd name="connsiteX1" fmla="*/ 430255 w 1172933"/>
              <a:gd name="connsiteY1" fmla="*/ 2428 h 2458847"/>
              <a:gd name="connsiteX2" fmla="*/ 852187 w 1172933"/>
              <a:gd name="connsiteY2" fmla="*/ 1052926 h 2458847"/>
              <a:gd name="connsiteX3" fmla="*/ 866492 w 1172933"/>
              <a:gd name="connsiteY3" fmla="*/ 1439990 h 2458847"/>
              <a:gd name="connsiteX4" fmla="*/ 1147578 w 1172933"/>
              <a:gd name="connsiteY4" fmla="*/ 2203314 h 2458847"/>
              <a:gd name="connsiteX5" fmla="*/ 248355 w 1172933"/>
              <a:gd name="connsiteY5" fmla="*/ 2366476 h 2458847"/>
              <a:gd name="connsiteX6" fmla="*/ 6132 w 1172933"/>
              <a:gd name="connsiteY6" fmla="*/ 857520 h 2458847"/>
              <a:gd name="connsiteX0" fmla="*/ 6104 w 1169381"/>
              <a:gd name="connsiteY0" fmla="*/ 857520 h 2472245"/>
              <a:gd name="connsiteX1" fmla="*/ 430227 w 1169381"/>
              <a:gd name="connsiteY1" fmla="*/ 2428 h 2472245"/>
              <a:gd name="connsiteX2" fmla="*/ 852159 w 1169381"/>
              <a:gd name="connsiteY2" fmla="*/ 1052926 h 2472245"/>
              <a:gd name="connsiteX3" fmla="*/ 866464 w 1169381"/>
              <a:gd name="connsiteY3" fmla="*/ 1439990 h 2472245"/>
              <a:gd name="connsiteX4" fmla="*/ 1143800 w 1169381"/>
              <a:gd name="connsiteY4" fmla="*/ 2247250 h 2472245"/>
              <a:gd name="connsiteX5" fmla="*/ 248327 w 1169381"/>
              <a:gd name="connsiteY5" fmla="*/ 2366476 h 2472245"/>
              <a:gd name="connsiteX6" fmla="*/ 6104 w 1169381"/>
              <a:gd name="connsiteY6" fmla="*/ 857520 h 247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9381" h="2472245">
                <a:moveTo>
                  <a:pt x="6104" y="857520"/>
                </a:moveTo>
                <a:cubicBezTo>
                  <a:pt x="36421" y="463512"/>
                  <a:pt x="213198" y="-39232"/>
                  <a:pt x="430227" y="2428"/>
                </a:cubicBezTo>
                <a:cubicBezTo>
                  <a:pt x="647256" y="44088"/>
                  <a:pt x="1083195" y="688483"/>
                  <a:pt x="852159" y="1052926"/>
                </a:cubicBezTo>
                <a:cubicBezTo>
                  <a:pt x="951915" y="1293310"/>
                  <a:pt x="845874" y="1260900"/>
                  <a:pt x="866464" y="1439990"/>
                </a:cubicBezTo>
                <a:cubicBezTo>
                  <a:pt x="931273" y="1589011"/>
                  <a:pt x="1262865" y="2095507"/>
                  <a:pt x="1143800" y="2247250"/>
                </a:cubicBezTo>
                <a:cubicBezTo>
                  <a:pt x="1024735" y="2398993"/>
                  <a:pt x="437943" y="2598098"/>
                  <a:pt x="248327" y="2366476"/>
                </a:cubicBezTo>
                <a:cubicBezTo>
                  <a:pt x="58711" y="2134854"/>
                  <a:pt x="-24213" y="1251528"/>
                  <a:pt x="6104" y="857520"/>
                </a:cubicBezTo>
                <a:close/>
              </a:path>
            </a:pathLst>
          </a:custGeom>
          <a:gradFill flip="none" rotWithShape="1">
            <a:gsLst>
              <a:gs pos="0">
                <a:schemeClr val="accent1">
                  <a:lumMod val="40000"/>
                  <a:lumOff val="60000"/>
                  <a:alpha val="82000"/>
                </a:schemeClr>
              </a:gs>
              <a:gs pos="100000">
                <a:schemeClr val="accent1">
                  <a:lumMod val="60000"/>
                  <a:lumOff val="40000"/>
                  <a:alpha val="58000"/>
                </a:schemeClr>
              </a:gs>
            </a:gsLst>
            <a:lin ang="16200000" scaled="1"/>
            <a:tileRect/>
          </a:gradFill>
          <a:ln w="25400" cap="rnd" cmpd="sng" algn="ctr">
            <a:noFill/>
            <a:prstDash val="solid"/>
            <a:round/>
            <a:headEnd type="none" w="med" len="med"/>
            <a:tailEnd type="none" w="med" len="med"/>
          </a:ln>
          <a:effectLst>
            <a:softEdge rad="127000"/>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9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14" name="Rectangle 87"/>
          <p:cNvSpPr/>
          <p:nvPr/>
        </p:nvSpPr>
        <p:spPr>
          <a:xfrm>
            <a:off x="4462971" y="3853062"/>
            <a:ext cx="935585" cy="373949"/>
          </a:xfrm>
          <a:prstGeom prst="rect">
            <a:avLst/>
          </a:prstGeom>
        </p:spPr>
        <p:txBody>
          <a:bodyPr wrap="square" lIns="0" tIns="0" rIns="0" bIns="0">
            <a:spAutoFit/>
          </a:bodyPr>
          <a:lstStyle/>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1200" cap="none" spc="0" normalizeH="0" baseline="0" noProof="0" dirty="0">
                <a:ln>
                  <a:noFill/>
                </a:ln>
                <a:solidFill>
                  <a:srgbClr val="5F2987"/>
                </a:solidFill>
                <a:effectLst/>
                <a:uLnTx/>
                <a:uFillTx/>
                <a:latin typeface="Arial" panose="020B0604020202020204" pitchFamily="34" charset="0"/>
                <a:ea typeface="+mn-ea"/>
                <a:cs typeface="Arial" panose="020B0604020202020204" pitchFamily="34" charset="0"/>
              </a:rPr>
              <a:t>Nachhaltige Stadtvisionen entwickeln</a:t>
            </a:r>
          </a:p>
        </p:txBody>
      </p:sp>
      <p:sp>
        <p:nvSpPr>
          <p:cNvPr id="117" name="Textfeld 18"/>
          <p:cNvSpPr txBox="1"/>
          <p:nvPr/>
        </p:nvSpPr>
        <p:spPr>
          <a:xfrm>
            <a:off x="650689" y="3445232"/>
            <a:ext cx="1183111" cy="276999"/>
          </a:xfrm>
          <a:prstGeom prst="roundRect">
            <a:avLst>
              <a:gd name="adj" fmla="val 0"/>
            </a:avLst>
          </a:prstGeom>
          <a:noFill/>
          <a:ln w="15875" algn="ctr">
            <a:noFill/>
          </a:ln>
        </p:spPr>
        <p:txBody>
          <a:bodyPr wrap="square" lIns="0" tIns="0" rIns="0" bIns="0" rtlCol="0" anchor="ctr">
            <a:spAutoFit/>
          </a:bodyPr>
          <a:lstStyle/>
          <a:p>
            <a:pPr marL="0" marR="0" lvl="0" indent="0" algn="l" defTabSz="914400" rtl="0" eaLnBrk="0" fontAlgn="base" latinLnBrk="0" hangingPunct="0">
              <a:lnSpc>
                <a:spcPct val="100000"/>
              </a:lnSpc>
              <a:spcBef>
                <a:spcPct val="0"/>
              </a:spcBef>
              <a:spcAft>
                <a:spcPct val="20000"/>
              </a:spcAft>
              <a:buClrTx/>
              <a:buSzTx/>
              <a:buFontTx/>
              <a:buNone/>
              <a:tabLst/>
              <a:defRPr/>
            </a:pPr>
            <a:r>
              <a:rPr kumimoji="0" lang="de-DE" sz="900" b="1" i="0" u="none" strike="noStrike" kern="0" cap="none" spc="0" normalizeH="0" baseline="0" noProof="0" dirty="0">
                <a:ln>
                  <a:noFill/>
                </a:ln>
                <a:solidFill>
                  <a:srgbClr val="15935A"/>
                </a:solidFill>
                <a:effectLst/>
                <a:uLnTx/>
                <a:uFillTx/>
                <a:latin typeface="Arial" panose="020B0604020202020204" pitchFamily="34" charset="0"/>
                <a:ea typeface="+mn-ea"/>
                <a:cs typeface="Arial" panose="020B0604020202020204" pitchFamily="34" charset="0"/>
              </a:rPr>
              <a:t>Wirtschaftlichkeit </a:t>
            </a:r>
            <a:r>
              <a:rPr kumimoji="0" lang="de-DE" sz="900" b="1" i="0" u="none" strike="noStrike" kern="0" cap="none" spc="0" normalizeH="0" baseline="0" noProof="0" dirty="0" err="1">
                <a:ln>
                  <a:noFill/>
                </a:ln>
                <a:solidFill>
                  <a:srgbClr val="15935A"/>
                </a:solidFill>
                <a:effectLst/>
                <a:uLnTx/>
                <a:uFillTx/>
                <a:latin typeface="Arial" panose="020B0604020202020204" pitchFamily="34" charset="0"/>
                <a:ea typeface="+mn-ea"/>
                <a:cs typeface="Arial" panose="020B0604020202020204" pitchFamily="34" charset="0"/>
              </a:rPr>
              <a:t>Massnahmen</a:t>
            </a:r>
            <a:endParaRPr kumimoji="0" lang="de-DE" sz="900" b="1" i="0" u="none" strike="noStrike" kern="0" cap="none" spc="0" normalizeH="0" baseline="0" noProof="0" dirty="0">
              <a:ln>
                <a:noFill/>
              </a:ln>
              <a:solidFill>
                <a:srgbClr val="15935A"/>
              </a:solidFill>
              <a:effectLst/>
              <a:uLnTx/>
              <a:uFillTx/>
              <a:latin typeface="Arial" panose="020B0604020202020204" pitchFamily="34" charset="0"/>
              <a:ea typeface="+mn-ea"/>
              <a:cs typeface="Arial" panose="020B0604020202020204" pitchFamily="34" charset="0"/>
            </a:endParaRPr>
          </a:p>
        </p:txBody>
      </p:sp>
      <p:sp>
        <p:nvSpPr>
          <p:cNvPr id="118" name="Oval 30"/>
          <p:cNvSpPr/>
          <p:nvPr/>
        </p:nvSpPr>
        <p:spPr bwMode="auto">
          <a:xfrm>
            <a:off x="3583738" y="2876785"/>
            <a:ext cx="187200" cy="187200"/>
          </a:xfrm>
          <a:prstGeom prst="ellipse">
            <a:avLst/>
          </a:prstGeom>
          <a:gradFill>
            <a:gsLst>
              <a:gs pos="100000">
                <a:srgbClr val="E08080"/>
              </a:gs>
              <a:gs pos="0">
                <a:srgbClr val="FCF0F0"/>
              </a:gs>
            </a:gsLst>
            <a:lin ang="5400000" scaled="1"/>
          </a:gradFill>
          <a:ln w="15875" cap="flat" cmpd="sng" algn="ctr">
            <a:solidFill>
              <a:srgbClr val="8E0000"/>
            </a:solidFill>
            <a:prstDash val="solid"/>
            <a:round/>
            <a:headEnd type="none" w="med" len="med"/>
            <a:tailEnd type="none" w="med" len="med"/>
          </a:ln>
          <a:effectLst/>
        </p:spPr>
        <p:txBody>
          <a:bodyPr vert="horz" wrap="non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1050" b="1" i="0" u="none" strike="noStrike" kern="1200" cap="none" spc="0" normalizeH="0" baseline="0" noProof="0" dirty="0" smtClean="0">
                <a:ln>
                  <a:noFill/>
                </a:ln>
                <a:solidFill>
                  <a:srgbClr val="8E0000"/>
                </a:solidFill>
                <a:effectLst/>
                <a:uLnTx/>
                <a:uFillTx/>
                <a:latin typeface="Arial" panose="020B0604020202020204" pitchFamily="34" charset="0"/>
                <a:ea typeface="+mn-ea"/>
                <a:cs typeface="Arial" panose="020B0604020202020204" pitchFamily="34" charset="0"/>
              </a:rPr>
              <a:t>21</a:t>
            </a:r>
          </a:p>
        </p:txBody>
      </p:sp>
      <p:cxnSp>
        <p:nvCxnSpPr>
          <p:cNvPr id="119" name="Straight Connector 63"/>
          <p:cNvCxnSpPr>
            <a:cxnSpLocks/>
          </p:cNvCxnSpPr>
          <p:nvPr/>
        </p:nvCxnSpPr>
        <p:spPr bwMode="auto">
          <a:xfrm>
            <a:off x="3677338" y="2807099"/>
            <a:ext cx="0" cy="72000"/>
          </a:xfrm>
          <a:prstGeom prst="line">
            <a:avLst/>
          </a:prstGeom>
          <a:solidFill>
            <a:schemeClr val="accent1"/>
          </a:solidFill>
          <a:ln w="9525" cap="flat" cmpd="sng" algn="ctr">
            <a:solidFill>
              <a:srgbClr val="700000"/>
            </a:solidFill>
            <a:prstDash val="solid"/>
            <a:round/>
            <a:headEnd type="none" w="med" len="med"/>
            <a:tailEnd type="none" w="med" len="med"/>
          </a:ln>
          <a:effectLst/>
        </p:spPr>
      </p:cxnSp>
      <p:sp>
        <p:nvSpPr>
          <p:cNvPr id="120" name="Rectangle 133"/>
          <p:cNvSpPr/>
          <p:nvPr/>
        </p:nvSpPr>
        <p:spPr>
          <a:xfrm>
            <a:off x="2589161" y="4648449"/>
            <a:ext cx="1033520" cy="124650"/>
          </a:xfrm>
          <a:prstGeom prst="rect">
            <a:avLst/>
          </a:prstGeom>
        </p:spPr>
        <p:txBody>
          <a:bodyPr wrap="square" lIns="0" tIns="0" rIns="0" bIns="0">
            <a:spAutoFit/>
          </a:bodyPr>
          <a:lstStyle/>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1200" cap="none" spc="0" normalizeH="0" baseline="0" noProof="0" dirty="0">
                <a:ln>
                  <a:noFill/>
                </a:ln>
                <a:solidFill>
                  <a:srgbClr val="243F6A"/>
                </a:solidFill>
                <a:effectLst/>
                <a:uLnTx/>
                <a:uFillTx/>
                <a:latin typeface="Arial" panose="020B0604020202020204" pitchFamily="34" charset="0"/>
                <a:ea typeface="+mn-ea"/>
                <a:cs typeface="Arial" panose="020B0604020202020204" pitchFamily="34" charset="0"/>
              </a:rPr>
              <a:t>Industrie-Lobby</a:t>
            </a:r>
          </a:p>
        </p:txBody>
      </p:sp>
      <p:sp>
        <p:nvSpPr>
          <p:cNvPr id="121" name="Oval 115"/>
          <p:cNvSpPr/>
          <p:nvPr/>
        </p:nvSpPr>
        <p:spPr bwMode="auto">
          <a:xfrm>
            <a:off x="2986579" y="4134446"/>
            <a:ext cx="185277" cy="187200"/>
          </a:xfrm>
          <a:prstGeom prst="ellipse">
            <a:avLst/>
          </a:prstGeom>
          <a:gradFill>
            <a:gsLst>
              <a:gs pos="100000">
                <a:schemeClr val="accent4"/>
              </a:gs>
              <a:gs pos="0">
                <a:srgbClr val="E6EBF2"/>
              </a:gs>
            </a:gsLst>
            <a:lin ang="5400000" scaled="1"/>
          </a:gradFill>
          <a:ln w="15875" cap="flat" cmpd="sng" algn="ctr">
            <a:solidFill>
              <a:schemeClr val="accent4"/>
            </a:solidFill>
            <a:prstDash val="solid"/>
            <a:round/>
            <a:headEnd type="none" w="med" len="med"/>
            <a:tailEnd type="none" w="med" len="med"/>
          </a:ln>
          <a:effectLst/>
        </p:spPr>
        <p:txBody>
          <a:bodyPr vert="horz" wrap="non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1050" b="1" i="0" u="none" strike="noStrike" kern="1200" cap="none" spc="0" normalizeH="0" baseline="0" noProof="0" dirty="0" smtClean="0">
                <a:ln>
                  <a:noFill/>
                </a:ln>
                <a:solidFill>
                  <a:srgbClr val="345996">
                    <a:lumMod val="75000"/>
                  </a:srgbClr>
                </a:solidFill>
                <a:effectLst/>
                <a:uLnTx/>
                <a:uFillTx/>
                <a:latin typeface="Arial" panose="020B0604020202020204" pitchFamily="34" charset="0"/>
                <a:ea typeface="+mn-ea"/>
                <a:cs typeface="Arial" panose="020B0604020202020204" pitchFamily="34" charset="0"/>
              </a:rPr>
              <a:t>20</a:t>
            </a:r>
          </a:p>
        </p:txBody>
      </p:sp>
      <p:cxnSp>
        <p:nvCxnSpPr>
          <p:cNvPr id="122" name="Straight Connector 63"/>
          <p:cNvCxnSpPr>
            <a:cxnSpLocks/>
          </p:cNvCxnSpPr>
          <p:nvPr/>
        </p:nvCxnSpPr>
        <p:spPr bwMode="auto">
          <a:xfrm flipH="1">
            <a:off x="2906913" y="4647323"/>
            <a:ext cx="6813" cy="0"/>
          </a:xfrm>
          <a:prstGeom prst="line">
            <a:avLst/>
          </a:prstGeom>
          <a:solidFill>
            <a:schemeClr val="accent1"/>
          </a:solidFill>
          <a:ln w="9525" cap="flat" cmpd="sng" algn="ctr">
            <a:solidFill>
              <a:schemeClr val="accent4"/>
            </a:solidFill>
            <a:prstDash val="solid"/>
            <a:round/>
            <a:headEnd type="none" w="med" len="med"/>
            <a:tailEnd type="none" w="med" len="med"/>
          </a:ln>
          <a:effectLst/>
        </p:spPr>
      </p:cxnSp>
      <p:sp>
        <p:nvSpPr>
          <p:cNvPr id="123" name="Oval 114">
            <a:hlinkClick r:id="" action="ppaction://noaction"/>
          </p:cNvPr>
          <p:cNvSpPr/>
          <p:nvPr/>
        </p:nvSpPr>
        <p:spPr bwMode="auto">
          <a:xfrm>
            <a:off x="1598935" y="2884598"/>
            <a:ext cx="187200" cy="187200"/>
          </a:xfrm>
          <a:prstGeom prst="ellipse">
            <a:avLst/>
          </a:prstGeom>
          <a:gradFill>
            <a:gsLst>
              <a:gs pos="100000">
                <a:schemeClr val="accent1"/>
              </a:gs>
              <a:gs pos="0">
                <a:schemeClr val="accent1">
                  <a:lumMod val="20000"/>
                  <a:lumOff val="80000"/>
                </a:schemeClr>
              </a:gs>
            </a:gsLst>
            <a:lin ang="5400000" scaled="1"/>
          </a:gradFill>
          <a:ln w="15875" cap="flat" cmpd="sng" algn="ctr">
            <a:solidFill>
              <a:schemeClr val="accent1">
                <a:lumMod val="75000"/>
              </a:schemeClr>
            </a:solidFill>
            <a:prstDash val="solid"/>
            <a:round/>
            <a:headEnd type="none" w="med" len="med"/>
            <a:tailEnd type="none" w="med" len="med"/>
          </a:ln>
          <a:effectLst/>
        </p:spPr>
        <p:txBody>
          <a:bodyPr vert="horz" wrap="non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1050" b="1" i="0" u="none" strike="noStrike" kern="1200" cap="none" spc="0" normalizeH="0" baseline="0" noProof="0" dirty="0">
                <a:ln>
                  <a:noFill/>
                </a:ln>
                <a:solidFill>
                  <a:srgbClr val="15935A">
                    <a:lumMod val="75000"/>
                  </a:srgbClr>
                </a:solidFill>
                <a:effectLst/>
                <a:uLnTx/>
                <a:uFillTx/>
                <a:latin typeface="Arial" panose="020B0604020202020204" pitchFamily="34" charset="0"/>
                <a:ea typeface="+mn-ea"/>
                <a:cs typeface="Arial" panose="020B0604020202020204" pitchFamily="34" charset="0"/>
              </a:rPr>
              <a:t>2</a:t>
            </a:r>
          </a:p>
        </p:txBody>
      </p:sp>
      <p:sp>
        <p:nvSpPr>
          <p:cNvPr id="124" name="Oval 114">
            <a:hlinkClick r:id="" action="ppaction://noaction"/>
          </p:cNvPr>
          <p:cNvSpPr/>
          <p:nvPr/>
        </p:nvSpPr>
        <p:spPr bwMode="auto">
          <a:xfrm>
            <a:off x="2081911" y="3973978"/>
            <a:ext cx="187200" cy="187200"/>
          </a:xfrm>
          <a:prstGeom prst="ellipse">
            <a:avLst/>
          </a:prstGeom>
          <a:gradFill flip="none" rotWithShape="1">
            <a:gsLst>
              <a:gs pos="0">
                <a:schemeClr val="bg1">
                  <a:lumMod val="95000"/>
                </a:schemeClr>
              </a:gs>
              <a:gs pos="100000">
                <a:schemeClr val="bg1">
                  <a:lumMod val="75000"/>
                </a:schemeClr>
              </a:gs>
            </a:gsLst>
            <a:lin ang="5400000" scaled="1"/>
            <a:tileRect/>
          </a:gradFill>
          <a:ln w="15875" cap="flat" cmpd="sng" algn="ctr">
            <a:solidFill>
              <a:schemeClr val="tx1"/>
            </a:solidFill>
            <a:prstDash val="solid"/>
            <a:round/>
            <a:headEnd type="none" w="med" len="med"/>
            <a:tailEnd type="none" w="med" len="med"/>
          </a:ln>
          <a:effectLst/>
        </p:spPr>
        <p:txBody>
          <a:bodyPr vert="horz" wrap="non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105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14</a:t>
            </a:r>
            <a:endParaRPr kumimoji="0" lang="de-DE"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5" name="Rechteck 13"/>
          <p:cNvSpPr/>
          <p:nvPr/>
        </p:nvSpPr>
        <p:spPr bwMode="auto">
          <a:xfrm rot="2518715">
            <a:off x="2288340" y="3840787"/>
            <a:ext cx="154865" cy="137905"/>
          </a:xfrm>
          <a:prstGeom prst="rect">
            <a:avLst/>
          </a:prstGeom>
          <a:gradFill>
            <a:gsLst>
              <a:gs pos="0">
                <a:srgbClr val="CEDEBD"/>
              </a:gs>
              <a:gs pos="76000">
                <a:srgbClr val="CEDEBD"/>
              </a:gs>
              <a:gs pos="83000">
                <a:srgbClr val="ADEFB5"/>
              </a:gs>
              <a:gs pos="100000">
                <a:srgbClr val="ADEFB5"/>
              </a:gs>
            </a:gsLst>
            <a:lin ang="5400000" scaled="1"/>
          </a:gra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en-GB" sz="1200" b="1" i="0" u="none" strike="noStrike" kern="1200" cap="none" spc="0" normalizeH="0" baseline="0" noProof="0" dirty="0" err="1" smtClean="0">
              <a:ln>
                <a:noFill/>
              </a:ln>
              <a:solidFill>
                <a:srgbClr val="000000"/>
              </a:solidFill>
              <a:effectLst/>
              <a:uLnTx/>
              <a:uFillTx/>
              <a:latin typeface="Arial" panose="020B0604020202020204"/>
              <a:ea typeface="+mn-ea"/>
              <a:cs typeface="+mn-cs"/>
            </a:endParaRPr>
          </a:p>
        </p:txBody>
      </p:sp>
      <p:sp>
        <p:nvSpPr>
          <p:cNvPr id="126" name="Textfeld 18"/>
          <p:cNvSpPr txBox="1"/>
          <p:nvPr/>
        </p:nvSpPr>
        <p:spPr>
          <a:xfrm>
            <a:off x="2089651" y="4227330"/>
            <a:ext cx="906156" cy="415498"/>
          </a:xfrm>
          <a:prstGeom prst="roundRect">
            <a:avLst>
              <a:gd name="adj" fmla="val 0"/>
            </a:avLst>
          </a:prstGeom>
          <a:noFill/>
          <a:ln w="15875" algn="ctr">
            <a:noFill/>
          </a:ln>
        </p:spPr>
        <p:txBody>
          <a:bodyPr wrap="square" lIns="0" tIns="0" rIns="0" bIns="0" rtlCol="0" anchor="ctr">
            <a:spAutoFit/>
          </a:bodyPr>
          <a:lstStyle/>
          <a:p>
            <a:pPr marL="0" marR="0" lvl="0" indent="0" algn="l" defTabSz="914400" rtl="0" eaLnBrk="0" fontAlgn="base" latinLnBrk="0" hangingPunct="0">
              <a:lnSpc>
                <a:spcPct val="100000"/>
              </a:lnSpc>
              <a:spcBef>
                <a:spcPct val="0"/>
              </a:spcBef>
              <a:spcAft>
                <a:spcPct val="20000"/>
              </a:spcAft>
              <a:buClrTx/>
              <a:buSzTx/>
              <a:buFontTx/>
              <a:buNone/>
              <a:tabLst/>
              <a:defRPr/>
            </a:pPr>
            <a:r>
              <a:rPr kumimoji="0" lang="de-DE"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ildung und Aufklärung fördern </a:t>
            </a:r>
          </a:p>
        </p:txBody>
      </p:sp>
      <p:sp>
        <p:nvSpPr>
          <p:cNvPr id="128" name="Oval 89"/>
          <p:cNvSpPr/>
          <p:nvPr/>
        </p:nvSpPr>
        <p:spPr bwMode="auto">
          <a:xfrm>
            <a:off x="3233958" y="2190561"/>
            <a:ext cx="187200" cy="187200"/>
          </a:xfrm>
          <a:prstGeom prst="ellipse">
            <a:avLst/>
          </a:prstGeom>
          <a:gradFill>
            <a:gsLst>
              <a:gs pos="100000">
                <a:srgbClr val="FFDB69"/>
              </a:gs>
              <a:gs pos="61000">
                <a:srgbClr val="FFF3CD"/>
              </a:gs>
            </a:gsLst>
            <a:lin ang="5400000" scaled="1"/>
          </a:gradFill>
          <a:ln w="15875" cap="flat" cmpd="sng" algn="ctr">
            <a:solidFill>
              <a:srgbClr val="B86900"/>
            </a:solidFill>
            <a:prstDash val="solid"/>
            <a:round/>
            <a:headEnd type="none" w="med" len="med"/>
            <a:tailEnd type="none" w="med" len="med"/>
          </a:ln>
          <a:effectLst/>
        </p:spPr>
        <p:txBody>
          <a:bodyPr vert="horz" wrap="non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1050" b="1" i="0" u="none" strike="noStrike" kern="1200" cap="none" spc="0" normalizeH="0" baseline="0" noProof="0" dirty="0">
                <a:ln>
                  <a:noFill/>
                </a:ln>
                <a:solidFill>
                  <a:srgbClr val="9A5800"/>
                </a:solidFill>
                <a:effectLst/>
                <a:uLnTx/>
                <a:uFillTx/>
                <a:latin typeface="Arial" panose="020B0604020202020204" pitchFamily="34" charset="0"/>
                <a:ea typeface="+mn-ea"/>
                <a:cs typeface="Arial" panose="020B0604020202020204" pitchFamily="34" charset="0"/>
              </a:rPr>
              <a:t>9</a:t>
            </a:r>
          </a:p>
        </p:txBody>
      </p:sp>
      <p:cxnSp>
        <p:nvCxnSpPr>
          <p:cNvPr id="129" name="Straight Connector 63"/>
          <p:cNvCxnSpPr>
            <a:cxnSpLocks/>
          </p:cNvCxnSpPr>
          <p:nvPr/>
        </p:nvCxnSpPr>
        <p:spPr bwMode="auto">
          <a:xfrm>
            <a:off x="2493139" y="2464133"/>
            <a:ext cx="71222" cy="160828"/>
          </a:xfrm>
          <a:prstGeom prst="line">
            <a:avLst/>
          </a:prstGeom>
          <a:solidFill>
            <a:schemeClr val="accent1"/>
          </a:solidFill>
          <a:ln w="9525" cap="flat" cmpd="sng" algn="ctr">
            <a:solidFill>
              <a:srgbClr val="B86900"/>
            </a:solidFill>
            <a:prstDash val="solid"/>
            <a:round/>
            <a:headEnd type="none" w="med" len="med"/>
            <a:tailEnd type="none" w="med" len="med"/>
          </a:ln>
          <a:effectLst/>
        </p:spPr>
      </p:cxnSp>
      <p:sp>
        <p:nvSpPr>
          <p:cNvPr id="130" name="Oval 30"/>
          <p:cNvSpPr/>
          <p:nvPr/>
        </p:nvSpPr>
        <p:spPr bwMode="auto">
          <a:xfrm>
            <a:off x="4177790" y="3806996"/>
            <a:ext cx="187200" cy="187200"/>
          </a:xfrm>
          <a:prstGeom prst="ellipse">
            <a:avLst/>
          </a:prstGeom>
          <a:gradFill>
            <a:gsLst>
              <a:gs pos="100000">
                <a:srgbClr val="B889DB"/>
              </a:gs>
              <a:gs pos="0">
                <a:srgbClr val="E4D2F2"/>
              </a:gs>
            </a:gsLst>
            <a:lin ang="5400000" scaled="1"/>
          </a:gradFill>
          <a:ln w="15875" cap="flat" cmpd="sng" algn="ctr">
            <a:solidFill>
              <a:srgbClr val="7030A0"/>
            </a:solidFill>
            <a:prstDash val="solid"/>
            <a:round/>
            <a:headEnd type="none" w="med" len="med"/>
            <a:tailEnd type="none" w="med" len="med"/>
          </a:ln>
          <a:effectLst/>
        </p:spPr>
        <p:txBody>
          <a:bodyPr vert="horz" wrap="non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1050" b="1" i="0" u="none" strike="noStrike" kern="1200" cap="none" spc="0" normalizeH="0" baseline="0" noProof="0" dirty="0">
                <a:ln>
                  <a:noFill/>
                </a:ln>
                <a:solidFill>
                  <a:srgbClr val="5F2987"/>
                </a:solidFill>
                <a:effectLst/>
                <a:uLnTx/>
                <a:uFillTx/>
                <a:latin typeface="Arial" panose="020B0604020202020204" pitchFamily="34" charset="0"/>
                <a:ea typeface="+mn-ea"/>
                <a:cs typeface="Arial" panose="020B0604020202020204" pitchFamily="34" charset="0"/>
              </a:rPr>
              <a:t>4</a:t>
            </a:r>
            <a:endParaRPr kumimoji="0" lang="de-DE" sz="1050" b="1" i="0" u="none" strike="noStrike" kern="1200" cap="none" spc="0" normalizeH="0" baseline="0" noProof="0" dirty="0" smtClean="0">
              <a:ln>
                <a:noFill/>
              </a:ln>
              <a:solidFill>
                <a:srgbClr val="5F2987"/>
              </a:solidFill>
              <a:effectLst/>
              <a:uLnTx/>
              <a:uFillTx/>
              <a:latin typeface="Arial" panose="020B0604020202020204" pitchFamily="34" charset="0"/>
              <a:ea typeface="+mn-ea"/>
              <a:cs typeface="Arial" panose="020B0604020202020204" pitchFamily="34" charset="0"/>
            </a:endParaRPr>
          </a:p>
        </p:txBody>
      </p:sp>
      <p:cxnSp>
        <p:nvCxnSpPr>
          <p:cNvPr id="131" name="Straight Connector 63"/>
          <p:cNvCxnSpPr>
            <a:cxnSpLocks/>
          </p:cNvCxnSpPr>
          <p:nvPr/>
        </p:nvCxnSpPr>
        <p:spPr bwMode="auto">
          <a:xfrm flipH="1" flipV="1">
            <a:off x="4350908" y="3922948"/>
            <a:ext cx="105630" cy="16266"/>
          </a:xfrm>
          <a:prstGeom prst="line">
            <a:avLst/>
          </a:prstGeom>
          <a:solidFill>
            <a:schemeClr val="accent1"/>
          </a:solidFill>
          <a:ln w="9525" cap="flat" cmpd="sng" algn="ctr">
            <a:solidFill>
              <a:srgbClr val="7030A0"/>
            </a:solidFill>
            <a:prstDash val="solid"/>
            <a:round/>
            <a:headEnd type="none" w="med" len="med"/>
            <a:tailEnd type="none" w="med" len="med"/>
          </a:ln>
          <a:effectLst/>
        </p:spPr>
      </p:cxnSp>
      <p:cxnSp>
        <p:nvCxnSpPr>
          <p:cNvPr id="132" name="Straight Connector 63"/>
          <p:cNvCxnSpPr>
            <a:cxnSpLocks/>
            <a:endCxn id="121" idx="4"/>
          </p:cNvCxnSpPr>
          <p:nvPr/>
        </p:nvCxnSpPr>
        <p:spPr bwMode="auto">
          <a:xfrm flipV="1">
            <a:off x="3066496" y="4321646"/>
            <a:ext cx="12722" cy="346966"/>
          </a:xfrm>
          <a:prstGeom prst="line">
            <a:avLst/>
          </a:prstGeom>
          <a:solidFill>
            <a:schemeClr val="accent1"/>
          </a:solidFill>
          <a:ln w="9525" cap="flat" cmpd="sng" algn="ctr">
            <a:solidFill>
              <a:schemeClr val="accent4"/>
            </a:solidFill>
            <a:prstDash val="solid"/>
            <a:round/>
            <a:headEnd type="none" w="med" len="med"/>
            <a:tailEnd type="none" w="med" len="med"/>
          </a:ln>
          <a:effectLst/>
        </p:spPr>
      </p:cxnSp>
      <p:sp>
        <p:nvSpPr>
          <p:cNvPr id="133" name="Textfeld 18"/>
          <p:cNvSpPr txBox="1"/>
          <p:nvPr/>
        </p:nvSpPr>
        <p:spPr>
          <a:xfrm>
            <a:off x="263608" y="2613713"/>
            <a:ext cx="1560960" cy="124650"/>
          </a:xfrm>
          <a:prstGeom prst="roundRect">
            <a:avLst>
              <a:gd name="adj" fmla="val 0"/>
            </a:avLst>
          </a:prstGeom>
        </p:spPr>
        <p:txBody>
          <a:bodyPr wrap="square" lIns="0" tIns="0" rIns="0" bIns="0">
            <a:spAutoFit/>
          </a:bodyPr>
          <a:lstStyle>
            <a:defPPr>
              <a:defRPr lang="de-DE"/>
            </a:defPPr>
            <a:lvl1pPr>
              <a:lnSpc>
                <a:spcPct val="90000"/>
              </a:lnSpc>
              <a:spcAft>
                <a:spcPts val="0"/>
              </a:spcAft>
              <a:defRPr sz="1000" b="1" kern="0">
                <a:solidFill>
                  <a:srgbClr val="15935A"/>
                </a:solidFill>
                <a:latin typeface="Arial" panose="020B0604020202020204" pitchFamily="34" charset="0"/>
                <a:cs typeface="Arial" panose="020B0604020202020204" pitchFamily="34" charset="0"/>
              </a:defRPr>
            </a:lvl1pPr>
          </a:lstStyle>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0" cap="none" spc="0" normalizeH="0" baseline="0" noProof="0" dirty="0">
                <a:ln>
                  <a:noFill/>
                </a:ln>
                <a:solidFill>
                  <a:srgbClr val="15935A"/>
                </a:solidFill>
                <a:effectLst/>
                <a:uLnTx/>
                <a:uFillTx/>
                <a:latin typeface="Arial" panose="020B0604020202020204" pitchFamily="34" charset="0"/>
                <a:ea typeface="+mn-ea"/>
                <a:cs typeface="Arial" panose="020B0604020202020204" pitchFamily="34" charset="0"/>
              </a:rPr>
              <a:t>(Inter-)nationale Vorgaben</a:t>
            </a:r>
          </a:p>
        </p:txBody>
      </p:sp>
      <p:sp>
        <p:nvSpPr>
          <p:cNvPr id="134" name="Rectangle 87"/>
          <p:cNvSpPr/>
          <p:nvPr/>
        </p:nvSpPr>
        <p:spPr>
          <a:xfrm>
            <a:off x="3594433" y="2698146"/>
            <a:ext cx="820503" cy="124650"/>
          </a:xfrm>
          <a:prstGeom prst="rect">
            <a:avLst/>
          </a:prstGeom>
        </p:spPr>
        <p:txBody>
          <a:bodyPr wrap="square" lIns="0" tIns="0" rIns="0" bIns="0">
            <a:spAutoFit/>
          </a:bodyPr>
          <a:lstStyle/>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1200" cap="none" spc="0" normalizeH="0" baseline="0" noProof="0" dirty="0">
                <a:ln>
                  <a:noFill/>
                </a:ln>
                <a:solidFill>
                  <a:srgbClr val="700000"/>
                </a:solidFill>
                <a:effectLst/>
                <a:uLnTx/>
                <a:uFillTx/>
                <a:latin typeface="Arial" panose="020B0604020202020204" pitchFamily="34" charset="0"/>
                <a:ea typeface="+mn-ea"/>
                <a:cs typeface="Arial" panose="020B0604020202020204" pitchFamily="34" charset="0"/>
              </a:rPr>
              <a:t>Zielkonflikte</a:t>
            </a:r>
          </a:p>
        </p:txBody>
      </p:sp>
      <p:sp>
        <p:nvSpPr>
          <p:cNvPr id="135" name="Oval 89"/>
          <p:cNvSpPr/>
          <p:nvPr/>
        </p:nvSpPr>
        <p:spPr bwMode="auto">
          <a:xfrm>
            <a:off x="2886100" y="2472519"/>
            <a:ext cx="187200" cy="187200"/>
          </a:xfrm>
          <a:prstGeom prst="ellipse">
            <a:avLst/>
          </a:prstGeom>
          <a:gradFill>
            <a:gsLst>
              <a:gs pos="100000">
                <a:srgbClr val="FFDB69"/>
              </a:gs>
              <a:gs pos="61000">
                <a:srgbClr val="FFF3CD"/>
              </a:gs>
            </a:gsLst>
            <a:lin ang="5400000" scaled="1"/>
          </a:gradFill>
          <a:ln w="15875" cap="flat" cmpd="sng" algn="ctr">
            <a:solidFill>
              <a:srgbClr val="B86900"/>
            </a:solidFill>
            <a:prstDash val="solid"/>
            <a:round/>
            <a:headEnd type="none" w="med" len="med"/>
            <a:tailEnd type="none" w="med" len="med"/>
          </a:ln>
          <a:effectLst/>
        </p:spPr>
        <p:txBody>
          <a:bodyPr vert="horz" wrap="non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1050" b="1" i="0" u="none" strike="noStrike" kern="1200" cap="none" spc="0" normalizeH="0" baseline="0" noProof="0" dirty="0" smtClean="0">
                <a:ln>
                  <a:noFill/>
                </a:ln>
                <a:solidFill>
                  <a:srgbClr val="9A5800"/>
                </a:solidFill>
                <a:effectLst/>
                <a:uLnTx/>
                <a:uFillTx/>
                <a:latin typeface="Arial" panose="020B0604020202020204" pitchFamily="34" charset="0"/>
                <a:ea typeface="+mn-ea"/>
                <a:cs typeface="Arial" panose="020B0604020202020204" pitchFamily="34" charset="0"/>
              </a:rPr>
              <a:t>6</a:t>
            </a:r>
            <a:endParaRPr kumimoji="0" lang="de-DE" sz="1050" b="1" i="0" u="none" strike="noStrike" kern="1200" cap="none" spc="0" normalizeH="0" baseline="0" noProof="0" dirty="0">
              <a:ln>
                <a:noFill/>
              </a:ln>
              <a:solidFill>
                <a:srgbClr val="9A5800"/>
              </a:solidFill>
              <a:effectLst/>
              <a:uLnTx/>
              <a:uFillTx/>
              <a:latin typeface="Arial" panose="020B0604020202020204" pitchFamily="34" charset="0"/>
              <a:ea typeface="+mn-ea"/>
              <a:cs typeface="Arial" panose="020B0604020202020204" pitchFamily="34" charset="0"/>
            </a:endParaRPr>
          </a:p>
        </p:txBody>
      </p:sp>
      <p:sp>
        <p:nvSpPr>
          <p:cNvPr id="136" name="Oval 89"/>
          <p:cNvSpPr/>
          <p:nvPr/>
        </p:nvSpPr>
        <p:spPr bwMode="auto">
          <a:xfrm>
            <a:off x="2542729" y="2596284"/>
            <a:ext cx="187200" cy="187200"/>
          </a:xfrm>
          <a:prstGeom prst="ellipse">
            <a:avLst/>
          </a:prstGeom>
          <a:gradFill>
            <a:gsLst>
              <a:gs pos="100000">
                <a:srgbClr val="FFDB69"/>
              </a:gs>
              <a:gs pos="61000">
                <a:srgbClr val="FFF3CD"/>
              </a:gs>
            </a:gsLst>
            <a:lin ang="5400000" scaled="1"/>
          </a:gradFill>
          <a:ln w="15875" cap="flat" cmpd="sng" algn="ctr">
            <a:solidFill>
              <a:srgbClr val="B86900"/>
            </a:solidFill>
            <a:prstDash val="solid"/>
            <a:round/>
            <a:headEnd type="none" w="med" len="med"/>
            <a:tailEnd type="none" w="med" len="med"/>
          </a:ln>
          <a:effectLst/>
        </p:spPr>
        <p:txBody>
          <a:bodyPr vert="horz" wrap="non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1050" b="1" i="0" u="none" strike="noStrike" kern="1200" cap="none" spc="0" normalizeH="0" baseline="0" noProof="0" dirty="0">
                <a:ln>
                  <a:noFill/>
                </a:ln>
                <a:solidFill>
                  <a:srgbClr val="9A5800"/>
                </a:solidFill>
                <a:effectLst/>
                <a:uLnTx/>
                <a:uFillTx/>
                <a:latin typeface="Arial" panose="020B0604020202020204" pitchFamily="34" charset="0"/>
                <a:ea typeface="+mn-ea"/>
                <a:cs typeface="Arial" panose="020B0604020202020204" pitchFamily="34" charset="0"/>
              </a:rPr>
              <a:t>7</a:t>
            </a:r>
          </a:p>
        </p:txBody>
      </p:sp>
      <p:sp>
        <p:nvSpPr>
          <p:cNvPr id="137" name="Rectangle 65"/>
          <p:cNvSpPr/>
          <p:nvPr/>
        </p:nvSpPr>
        <p:spPr>
          <a:xfrm>
            <a:off x="1086171" y="2310356"/>
            <a:ext cx="1638590" cy="249299"/>
          </a:xfrm>
          <a:prstGeom prst="rect">
            <a:avLst/>
          </a:prstGeom>
        </p:spPr>
        <p:txBody>
          <a:bodyPr wrap="square" lIns="0" tIns="0" rIns="0" bIns="0">
            <a:spAutoFit/>
          </a:bodyPr>
          <a:lstStyle/>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1200" cap="none" spc="0" normalizeH="0" baseline="0" noProof="0" dirty="0">
                <a:ln>
                  <a:noFill/>
                </a:ln>
                <a:solidFill>
                  <a:srgbClr val="9A5100"/>
                </a:solidFill>
                <a:effectLst/>
                <a:uLnTx/>
                <a:uFillTx/>
                <a:latin typeface="Arial" panose="020B0604020202020204" pitchFamily="34" charset="0"/>
                <a:ea typeface="+mn-ea"/>
                <a:cs typeface="Arial" panose="020B0604020202020204" pitchFamily="34" charset="0"/>
              </a:rPr>
              <a:t>Wirksame Strukturen und Prozesse der Stadt</a:t>
            </a:r>
          </a:p>
        </p:txBody>
      </p:sp>
      <p:cxnSp>
        <p:nvCxnSpPr>
          <p:cNvPr id="138" name="Straight Connector 63"/>
          <p:cNvCxnSpPr>
            <a:cxnSpLocks/>
          </p:cNvCxnSpPr>
          <p:nvPr/>
        </p:nvCxnSpPr>
        <p:spPr bwMode="auto">
          <a:xfrm>
            <a:off x="3263250" y="2103417"/>
            <a:ext cx="42062" cy="79965"/>
          </a:xfrm>
          <a:prstGeom prst="line">
            <a:avLst/>
          </a:prstGeom>
          <a:solidFill>
            <a:schemeClr val="accent1"/>
          </a:solidFill>
          <a:ln w="9525" cap="flat" cmpd="sng" algn="ctr">
            <a:solidFill>
              <a:srgbClr val="B86900"/>
            </a:solidFill>
            <a:prstDash val="solid"/>
            <a:round/>
            <a:headEnd type="none" w="med" len="med"/>
            <a:tailEnd type="none" w="med" len="med"/>
          </a:ln>
          <a:effectLst/>
        </p:spPr>
      </p:cxnSp>
      <p:cxnSp>
        <p:nvCxnSpPr>
          <p:cNvPr id="139" name="Straight Connector 63"/>
          <p:cNvCxnSpPr>
            <a:cxnSpLocks/>
          </p:cNvCxnSpPr>
          <p:nvPr/>
        </p:nvCxnSpPr>
        <p:spPr bwMode="auto">
          <a:xfrm>
            <a:off x="2789819" y="2222926"/>
            <a:ext cx="114991" cy="281480"/>
          </a:xfrm>
          <a:prstGeom prst="line">
            <a:avLst/>
          </a:prstGeom>
          <a:solidFill>
            <a:schemeClr val="accent1"/>
          </a:solidFill>
          <a:ln w="9525" cap="flat" cmpd="sng" algn="ctr">
            <a:solidFill>
              <a:srgbClr val="B86900"/>
            </a:solidFill>
            <a:prstDash val="solid"/>
            <a:round/>
            <a:headEnd type="none" w="med" len="med"/>
            <a:tailEnd type="none" w="med" len="med"/>
          </a:ln>
          <a:effectLst/>
        </p:spPr>
      </p:cxnSp>
      <p:sp>
        <p:nvSpPr>
          <p:cNvPr id="140" name="Oval 114">
            <a:hlinkClick r:id="" action="ppaction://noaction"/>
          </p:cNvPr>
          <p:cNvSpPr/>
          <p:nvPr/>
        </p:nvSpPr>
        <p:spPr bwMode="auto">
          <a:xfrm>
            <a:off x="1817653" y="3276041"/>
            <a:ext cx="187200" cy="187200"/>
          </a:xfrm>
          <a:prstGeom prst="ellipse">
            <a:avLst/>
          </a:prstGeom>
          <a:gradFill>
            <a:gsLst>
              <a:gs pos="100000">
                <a:schemeClr val="accent1"/>
              </a:gs>
              <a:gs pos="0">
                <a:schemeClr val="accent1">
                  <a:lumMod val="20000"/>
                  <a:lumOff val="80000"/>
                </a:schemeClr>
              </a:gs>
            </a:gsLst>
            <a:lin ang="5400000" scaled="1"/>
          </a:gradFill>
          <a:ln w="15875" cap="flat" cmpd="sng" algn="ctr">
            <a:solidFill>
              <a:schemeClr val="accent1">
                <a:lumMod val="75000"/>
              </a:schemeClr>
            </a:solidFill>
            <a:prstDash val="solid"/>
            <a:round/>
            <a:headEnd type="none" w="med" len="med"/>
            <a:tailEnd type="none" w="med" len="med"/>
          </a:ln>
          <a:effectLst/>
        </p:spPr>
        <p:txBody>
          <a:bodyPr vert="horz" wrap="non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1050" b="1" i="0" u="none" strike="noStrike" kern="1200" cap="none" spc="0" normalizeH="0" baseline="0" noProof="0" dirty="0" smtClean="0">
                <a:ln>
                  <a:noFill/>
                </a:ln>
                <a:solidFill>
                  <a:srgbClr val="15935A">
                    <a:lumMod val="75000"/>
                  </a:srgbClr>
                </a:solidFill>
                <a:effectLst/>
                <a:uLnTx/>
                <a:uFillTx/>
                <a:latin typeface="Arial" panose="020B0604020202020204" pitchFamily="34" charset="0"/>
                <a:ea typeface="+mn-ea"/>
                <a:cs typeface="Arial" panose="020B0604020202020204" pitchFamily="34" charset="0"/>
              </a:rPr>
              <a:t>22</a:t>
            </a:r>
            <a:endParaRPr kumimoji="0" lang="de-DE" sz="1050" b="1" i="0" u="none" strike="noStrike" kern="1200" cap="none" spc="0" normalizeH="0" baseline="0" noProof="0" dirty="0">
              <a:ln>
                <a:noFill/>
              </a:ln>
              <a:solidFill>
                <a:srgbClr val="15935A">
                  <a:lumMod val="75000"/>
                </a:srgbClr>
              </a:solidFill>
              <a:effectLst/>
              <a:uLnTx/>
              <a:uFillTx/>
              <a:latin typeface="Arial" panose="020B0604020202020204" pitchFamily="34" charset="0"/>
              <a:ea typeface="+mn-ea"/>
              <a:cs typeface="Arial" panose="020B0604020202020204" pitchFamily="34" charset="0"/>
            </a:endParaRPr>
          </a:p>
        </p:txBody>
      </p:sp>
      <p:cxnSp>
        <p:nvCxnSpPr>
          <p:cNvPr id="141" name="Straight Connector 63"/>
          <p:cNvCxnSpPr>
            <a:cxnSpLocks/>
          </p:cNvCxnSpPr>
          <p:nvPr/>
        </p:nvCxnSpPr>
        <p:spPr bwMode="auto">
          <a:xfrm>
            <a:off x="1468294" y="2757013"/>
            <a:ext cx="155678" cy="171144"/>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cxnSp>
        <p:nvCxnSpPr>
          <p:cNvPr id="142" name="Straight Connector 63"/>
          <p:cNvCxnSpPr>
            <a:cxnSpLocks/>
          </p:cNvCxnSpPr>
          <p:nvPr/>
        </p:nvCxnSpPr>
        <p:spPr bwMode="auto">
          <a:xfrm>
            <a:off x="2210972" y="4162776"/>
            <a:ext cx="37776" cy="70566"/>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44" name="Rectangle 65"/>
          <p:cNvSpPr/>
          <p:nvPr/>
        </p:nvSpPr>
        <p:spPr>
          <a:xfrm>
            <a:off x="2429344" y="1979664"/>
            <a:ext cx="1556302" cy="124650"/>
          </a:xfrm>
          <a:prstGeom prst="rect">
            <a:avLst/>
          </a:prstGeom>
        </p:spPr>
        <p:txBody>
          <a:bodyPr wrap="square" lIns="0" tIns="0" rIns="0" bIns="0">
            <a:spAutoFit/>
          </a:bodyPr>
          <a:lstStyle/>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1200" cap="none" spc="0" normalizeH="0" baseline="0" noProof="0" dirty="0">
                <a:ln>
                  <a:noFill/>
                </a:ln>
                <a:solidFill>
                  <a:srgbClr val="9A5100"/>
                </a:solidFill>
                <a:effectLst/>
                <a:uLnTx/>
                <a:uFillTx/>
                <a:latin typeface="Arial" panose="020B0604020202020204" pitchFamily="34" charset="0"/>
                <a:ea typeface="+mn-ea"/>
                <a:cs typeface="Arial" panose="020B0604020202020204" pitchFamily="34" charset="0"/>
              </a:rPr>
              <a:t>Partizipation ermöglichen</a:t>
            </a:r>
          </a:p>
        </p:txBody>
      </p:sp>
      <p:sp>
        <p:nvSpPr>
          <p:cNvPr id="145" name="Rectangle 65"/>
          <p:cNvSpPr/>
          <p:nvPr/>
        </p:nvSpPr>
        <p:spPr>
          <a:xfrm>
            <a:off x="1350522" y="2122841"/>
            <a:ext cx="1644778" cy="124650"/>
          </a:xfrm>
          <a:prstGeom prst="rect">
            <a:avLst/>
          </a:prstGeom>
        </p:spPr>
        <p:txBody>
          <a:bodyPr wrap="square" lIns="0" tIns="0" rIns="0" bIns="0">
            <a:spAutoFit/>
          </a:bodyPr>
          <a:lstStyle/>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1200" cap="none" spc="0" normalizeH="0" baseline="0" noProof="0" dirty="0">
                <a:ln>
                  <a:noFill/>
                </a:ln>
                <a:solidFill>
                  <a:srgbClr val="9A5100"/>
                </a:solidFill>
                <a:effectLst/>
                <a:uLnTx/>
                <a:uFillTx/>
                <a:latin typeface="Arial" panose="020B0604020202020204" pitchFamily="34" charset="0"/>
                <a:ea typeface="+mn-ea"/>
                <a:cs typeface="Arial" panose="020B0604020202020204" pitchFamily="34" charset="0"/>
              </a:rPr>
              <a:t>Verbindlichkeiten schaffen</a:t>
            </a:r>
          </a:p>
        </p:txBody>
      </p:sp>
      <p:sp>
        <p:nvSpPr>
          <p:cNvPr id="146" name="Ellipse 5"/>
          <p:cNvSpPr/>
          <p:nvPr/>
        </p:nvSpPr>
        <p:spPr bwMode="auto">
          <a:xfrm rot="20105234">
            <a:off x="2458706" y="2222235"/>
            <a:ext cx="1160575" cy="595712"/>
          </a:xfrm>
          <a:prstGeom prst="ellipse">
            <a:avLst/>
          </a:prstGeom>
          <a:noFill/>
          <a:ln w="22225" cap="flat" cmpd="sng" algn="ctr">
            <a:solidFill>
              <a:srgbClr val="B86900"/>
            </a:solid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47" name="Straight Connector 63"/>
          <p:cNvCxnSpPr>
            <a:cxnSpLocks/>
          </p:cNvCxnSpPr>
          <p:nvPr/>
        </p:nvCxnSpPr>
        <p:spPr bwMode="auto">
          <a:xfrm flipH="1">
            <a:off x="1683834" y="3415088"/>
            <a:ext cx="143612" cy="97546"/>
          </a:xfrm>
          <a:prstGeom prst="line">
            <a:avLst/>
          </a:prstGeom>
          <a:solidFill>
            <a:schemeClr val="accent1"/>
          </a:solidFill>
          <a:ln w="9525" cap="flat" cmpd="sng" algn="ctr">
            <a:solidFill>
              <a:schemeClr val="accent1">
                <a:lumMod val="75000"/>
              </a:schemeClr>
            </a:solidFill>
            <a:prstDash val="solid"/>
            <a:round/>
            <a:headEnd type="none" w="med" len="med"/>
            <a:tailEnd type="none" w="med" len="med"/>
          </a:ln>
          <a:effectLst/>
        </p:spPr>
      </p:cxnSp>
      <p:sp>
        <p:nvSpPr>
          <p:cNvPr id="151" name="Oval 114">
            <a:hlinkClick r:id="" action="ppaction://noaction"/>
          </p:cNvPr>
          <p:cNvSpPr/>
          <p:nvPr/>
        </p:nvSpPr>
        <p:spPr bwMode="auto">
          <a:xfrm>
            <a:off x="425534" y="3196663"/>
            <a:ext cx="187200" cy="187200"/>
          </a:xfrm>
          <a:prstGeom prst="ellipse">
            <a:avLst/>
          </a:prstGeom>
          <a:gradFill>
            <a:gsLst>
              <a:gs pos="100000">
                <a:schemeClr val="accent4">
                  <a:lumMod val="75000"/>
                </a:schemeClr>
              </a:gs>
              <a:gs pos="0">
                <a:schemeClr val="accent4">
                  <a:lumMod val="20000"/>
                  <a:lumOff val="80000"/>
                </a:schemeClr>
              </a:gs>
            </a:gsLst>
            <a:lin ang="5400000" scaled="1"/>
          </a:gradFill>
          <a:ln w="15875" cap="flat" cmpd="sng" algn="ctr">
            <a:solidFill>
              <a:schemeClr val="accent4">
                <a:lumMod val="75000"/>
              </a:schemeClr>
            </a:solidFill>
            <a:prstDash val="solid"/>
            <a:round/>
            <a:headEnd type="none" w="med" len="med"/>
            <a:tailEnd type="none" w="med" len="med"/>
          </a:ln>
          <a:effectLst/>
        </p:spPr>
        <p:txBody>
          <a:bodyPr vert="horz" wrap="non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1050" b="1" i="0" u="none" strike="noStrike" kern="1200" cap="none" spc="0" normalizeH="0" baseline="0" noProof="0" dirty="0" smtClean="0">
                <a:ln>
                  <a:noFill/>
                </a:ln>
                <a:solidFill>
                  <a:srgbClr val="345996">
                    <a:lumMod val="75000"/>
                  </a:srgbClr>
                </a:solidFill>
                <a:effectLst/>
                <a:uLnTx/>
                <a:uFillTx/>
                <a:latin typeface="Arial" panose="020B0604020202020204" pitchFamily="34" charset="0"/>
                <a:ea typeface="+mn-ea"/>
                <a:cs typeface="Arial" panose="020B0604020202020204" pitchFamily="34" charset="0"/>
              </a:rPr>
              <a:t>15</a:t>
            </a:r>
            <a:endParaRPr kumimoji="0" lang="de-DE" sz="1050" b="1" i="0" u="none" strike="noStrike" kern="1200" cap="none" spc="0" normalizeH="0" baseline="0" noProof="0" dirty="0">
              <a:ln>
                <a:noFill/>
              </a:ln>
              <a:solidFill>
                <a:srgbClr val="345996">
                  <a:lumMod val="75000"/>
                </a:srgbClr>
              </a:solidFill>
              <a:effectLst/>
              <a:uLnTx/>
              <a:uFillTx/>
              <a:latin typeface="Arial" panose="020B0604020202020204" pitchFamily="34" charset="0"/>
              <a:ea typeface="+mn-ea"/>
              <a:cs typeface="Arial" panose="020B0604020202020204" pitchFamily="34" charset="0"/>
            </a:endParaRPr>
          </a:p>
        </p:txBody>
      </p:sp>
      <p:sp>
        <p:nvSpPr>
          <p:cNvPr id="152" name="Textfeld 18"/>
          <p:cNvSpPr txBox="1"/>
          <p:nvPr/>
        </p:nvSpPr>
        <p:spPr>
          <a:xfrm>
            <a:off x="263607" y="2855325"/>
            <a:ext cx="1244964" cy="249299"/>
          </a:xfrm>
          <a:prstGeom prst="roundRect">
            <a:avLst>
              <a:gd name="adj" fmla="val 0"/>
            </a:avLst>
          </a:prstGeom>
          <a:ln>
            <a:noFill/>
          </a:ln>
        </p:spPr>
        <p:txBody>
          <a:bodyPr wrap="square" lIns="0" tIns="0" rIns="0" bIns="0">
            <a:spAutoFit/>
          </a:bodyPr>
          <a:lstStyle>
            <a:defPPr>
              <a:defRPr lang="de-DE"/>
            </a:defPPr>
            <a:lvl1pPr>
              <a:lnSpc>
                <a:spcPct val="90000"/>
              </a:lnSpc>
              <a:spcAft>
                <a:spcPts val="0"/>
              </a:spcAft>
              <a:defRPr sz="1000" b="1" kern="0">
                <a:solidFill>
                  <a:srgbClr val="15935A"/>
                </a:solidFill>
                <a:latin typeface="Arial" panose="020B0604020202020204" pitchFamily="34" charset="0"/>
                <a:cs typeface="Arial" panose="020B0604020202020204" pitchFamily="34" charset="0"/>
              </a:defRPr>
            </a:lvl1pPr>
          </a:lstStyle>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0" cap="none" spc="0" normalizeH="0" baseline="0" noProof="0" dirty="0">
                <a:ln>
                  <a:noFill/>
                </a:ln>
                <a:solidFill>
                  <a:srgbClr val="345996">
                    <a:lumMod val="75000"/>
                  </a:srgbClr>
                </a:solidFill>
                <a:effectLst/>
                <a:uLnTx/>
                <a:uFillTx/>
                <a:latin typeface="Arial" panose="020B0604020202020204" pitchFamily="34" charset="0"/>
                <a:ea typeface="+mn-ea"/>
                <a:cs typeface="Arial" panose="020B0604020202020204" pitchFamily="34" charset="0"/>
              </a:rPr>
              <a:t>Klimafolgen auf Lebensqualität</a:t>
            </a:r>
          </a:p>
        </p:txBody>
      </p:sp>
      <p:cxnSp>
        <p:nvCxnSpPr>
          <p:cNvPr id="153" name="Straight Connector 63"/>
          <p:cNvCxnSpPr>
            <a:cxnSpLocks/>
          </p:cNvCxnSpPr>
          <p:nvPr/>
        </p:nvCxnSpPr>
        <p:spPr bwMode="auto">
          <a:xfrm>
            <a:off x="511550" y="3108340"/>
            <a:ext cx="0" cy="88323"/>
          </a:xfrm>
          <a:prstGeom prst="line">
            <a:avLst/>
          </a:prstGeom>
          <a:solidFill>
            <a:schemeClr val="accent1"/>
          </a:solidFill>
          <a:ln w="9525" cap="flat" cmpd="sng" algn="ctr">
            <a:solidFill>
              <a:schemeClr val="accent4">
                <a:lumMod val="75000"/>
              </a:schemeClr>
            </a:solidFill>
            <a:prstDash val="solid"/>
            <a:round/>
            <a:headEnd type="none" w="med" len="med"/>
            <a:tailEnd type="none" w="med" len="med"/>
          </a:ln>
          <a:effectLst/>
        </p:spPr>
      </p:cxnSp>
      <p:sp>
        <p:nvSpPr>
          <p:cNvPr id="155" name="Oval 30"/>
          <p:cNvSpPr/>
          <p:nvPr/>
        </p:nvSpPr>
        <p:spPr bwMode="auto">
          <a:xfrm>
            <a:off x="3482013" y="3786778"/>
            <a:ext cx="187200" cy="187200"/>
          </a:xfrm>
          <a:prstGeom prst="ellipse">
            <a:avLst/>
          </a:prstGeom>
          <a:gradFill>
            <a:gsLst>
              <a:gs pos="100000">
                <a:srgbClr val="B889DB"/>
              </a:gs>
              <a:gs pos="0">
                <a:srgbClr val="E4D2F2"/>
              </a:gs>
            </a:gsLst>
            <a:lin ang="5400000" scaled="1"/>
          </a:gradFill>
          <a:ln w="15875" cap="flat" cmpd="sng" algn="ctr">
            <a:solidFill>
              <a:srgbClr val="7030A0"/>
            </a:solidFill>
            <a:prstDash val="solid"/>
            <a:round/>
            <a:headEnd type="none" w="med" len="med"/>
            <a:tailEnd type="none" w="med" len="med"/>
          </a:ln>
          <a:effectLst/>
        </p:spPr>
        <p:txBody>
          <a:bodyPr vert="horz" wrap="non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1050" b="1" i="0" u="none" strike="noStrike" kern="1200" cap="none" spc="0" normalizeH="0" baseline="0" noProof="0" dirty="0" smtClean="0">
                <a:ln>
                  <a:noFill/>
                </a:ln>
                <a:solidFill>
                  <a:srgbClr val="5F2987"/>
                </a:solidFill>
                <a:effectLst/>
                <a:uLnTx/>
                <a:uFillTx/>
                <a:latin typeface="Arial" panose="020B0604020202020204" pitchFamily="34" charset="0"/>
                <a:ea typeface="+mn-ea"/>
                <a:cs typeface="Arial" panose="020B0604020202020204" pitchFamily="34" charset="0"/>
              </a:rPr>
              <a:t>14</a:t>
            </a:r>
          </a:p>
        </p:txBody>
      </p:sp>
      <p:cxnSp>
        <p:nvCxnSpPr>
          <p:cNvPr id="156" name="Straight Connector 63"/>
          <p:cNvCxnSpPr>
            <a:cxnSpLocks/>
          </p:cNvCxnSpPr>
          <p:nvPr/>
        </p:nvCxnSpPr>
        <p:spPr bwMode="auto">
          <a:xfrm flipH="1">
            <a:off x="3572401" y="3973978"/>
            <a:ext cx="0" cy="252000"/>
          </a:xfrm>
          <a:prstGeom prst="line">
            <a:avLst/>
          </a:prstGeom>
          <a:solidFill>
            <a:schemeClr val="accent1"/>
          </a:solidFill>
          <a:ln w="9525" cap="flat" cmpd="sng" algn="ctr">
            <a:solidFill>
              <a:srgbClr val="7030A0"/>
            </a:solidFill>
            <a:prstDash val="solid"/>
            <a:round/>
            <a:headEnd type="none" w="med" len="med"/>
            <a:tailEnd type="none" w="med" len="med"/>
          </a:ln>
          <a:effectLst/>
        </p:spPr>
      </p:cxnSp>
      <p:sp>
        <p:nvSpPr>
          <p:cNvPr id="160" name="Oval 89"/>
          <p:cNvSpPr/>
          <p:nvPr/>
        </p:nvSpPr>
        <p:spPr bwMode="auto">
          <a:xfrm>
            <a:off x="3016434" y="2606364"/>
            <a:ext cx="187200" cy="187200"/>
          </a:xfrm>
          <a:prstGeom prst="ellipse">
            <a:avLst/>
          </a:prstGeom>
          <a:gradFill>
            <a:gsLst>
              <a:gs pos="100000">
                <a:srgbClr val="FFDB69"/>
              </a:gs>
              <a:gs pos="61000">
                <a:srgbClr val="FFF3CD"/>
              </a:gs>
            </a:gsLst>
            <a:lin ang="5400000" scaled="1"/>
          </a:gradFill>
          <a:ln w="15875" cap="flat" cmpd="sng" algn="ctr">
            <a:solidFill>
              <a:srgbClr val="B86900"/>
            </a:solidFill>
            <a:prstDash val="solid"/>
            <a:round/>
            <a:headEnd type="none" w="med" len="med"/>
            <a:tailEnd type="none" w="med" len="med"/>
          </a:ln>
          <a:effectLst/>
        </p:spPr>
        <p:txBody>
          <a:bodyPr vert="horz" wrap="non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1050" b="1" i="0" u="none" strike="noStrike" kern="1200" cap="none" spc="0" normalizeH="0" baseline="0" noProof="0" dirty="0" smtClean="0">
                <a:ln>
                  <a:noFill/>
                </a:ln>
                <a:solidFill>
                  <a:srgbClr val="9A5800"/>
                </a:solidFill>
                <a:effectLst/>
                <a:uLnTx/>
                <a:uFillTx/>
                <a:latin typeface="Arial" panose="020B0604020202020204" pitchFamily="34" charset="0"/>
                <a:ea typeface="+mn-ea"/>
                <a:cs typeface="Arial" panose="020B0604020202020204" pitchFamily="34" charset="0"/>
              </a:rPr>
              <a:t>19</a:t>
            </a:r>
            <a:endParaRPr kumimoji="0" lang="de-DE" sz="1050" b="1" i="0" u="none" strike="noStrike" kern="1200" cap="none" spc="0" normalizeH="0" baseline="0" noProof="0" dirty="0">
              <a:ln>
                <a:noFill/>
              </a:ln>
              <a:solidFill>
                <a:srgbClr val="9A5800"/>
              </a:solidFill>
              <a:effectLst/>
              <a:uLnTx/>
              <a:uFillTx/>
              <a:latin typeface="Arial" panose="020B0604020202020204" pitchFamily="34" charset="0"/>
              <a:ea typeface="+mn-ea"/>
              <a:cs typeface="Arial" panose="020B0604020202020204" pitchFamily="34" charset="0"/>
            </a:endParaRPr>
          </a:p>
        </p:txBody>
      </p:sp>
      <p:cxnSp>
        <p:nvCxnSpPr>
          <p:cNvPr id="213" name="Straight Connector 63"/>
          <p:cNvCxnSpPr>
            <a:cxnSpLocks/>
          </p:cNvCxnSpPr>
          <p:nvPr/>
        </p:nvCxnSpPr>
        <p:spPr bwMode="auto">
          <a:xfrm flipV="1">
            <a:off x="2998629" y="2785110"/>
            <a:ext cx="76041" cy="156601"/>
          </a:xfrm>
          <a:prstGeom prst="line">
            <a:avLst/>
          </a:prstGeom>
          <a:solidFill>
            <a:schemeClr val="accent1"/>
          </a:solidFill>
          <a:ln w="9525" cap="flat" cmpd="sng" algn="ctr">
            <a:solidFill>
              <a:srgbClr val="B86900"/>
            </a:solidFill>
            <a:prstDash val="solid"/>
            <a:round/>
            <a:headEnd type="none" w="med" len="med"/>
            <a:tailEnd type="none" w="med" len="med"/>
          </a:ln>
          <a:effectLst/>
        </p:spPr>
      </p:cxnSp>
      <p:sp>
        <p:nvSpPr>
          <p:cNvPr id="214" name="Rectangle 65"/>
          <p:cNvSpPr/>
          <p:nvPr/>
        </p:nvSpPr>
        <p:spPr>
          <a:xfrm>
            <a:off x="2567264" y="2922465"/>
            <a:ext cx="1441661" cy="373949"/>
          </a:xfrm>
          <a:prstGeom prst="rect">
            <a:avLst/>
          </a:prstGeom>
        </p:spPr>
        <p:txBody>
          <a:bodyPr wrap="square" lIns="0" tIns="0" rIns="0" bIns="0">
            <a:spAutoFit/>
          </a:bodyPr>
          <a:lstStyle/>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1200" cap="none" spc="0" normalizeH="0" baseline="0" noProof="0" dirty="0">
                <a:ln>
                  <a:noFill/>
                </a:ln>
                <a:solidFill>
                  <a:srgbClr val="9A5100"/>
                </a:solidFill>
                <a:effectLst/>
                <a:uLnTx/>
                <a:uFillTx/>
                <a:latin typeface="Arial" panose="020B0604020202020204" pitchFamily="34" charset="0"/>
                <a:ea typeface="+mn-ea"/>
                <a:cs typeface="Arial" panose="020B0604020202020204" pitchFamily="34" charset="0"/>
              </a:rPr>
              <a:t>Gemeinsame</a:t>
            </a:r>
            <a:r>
              <a:rPr kumimoji="0" lang="de-DE" sz="900" b="1" i="0" u="none" strike="noStrike" kern="1200" cap="none" spc="0" normalizeH="0" baseline="0" noProof="0" dirty="0" smtClean="0">
                <a:ln>
                  <a:noFill/>
                </a:ln>
                <a:solidFill>
                  <a:srgbClr val="9A5100"/>
                </a:solidFill>
                <a:effectLst/>
                <a:uLnTx/>
                <a:uFillTx/>
                <a:latin typeface="Arial" panose="020B0604020202020204" pitchFamily="34" charset="0"/>
                <a:ea typeface="+mn-ea"/>
                <a:cs typeface="Arial" panose="020B0604020202020204" pitchFamily="34" charset="0"/>
              </a:rPr>
              <a:t>/</a:t>
            </a:r>
          </a:p>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1200" cap="none" spc="0" normalizeH="0" baseline="0" noProof="0" dirty="0" smtClean="0">
                <a:ln>
                  <a:noFill/>
                </a:ln>
                <a:solidFill>
                  <a:srgbClr val="9A5100"/>
                </a:solidFill>
                <a:effectLst/>
                <a:uLnTx/>
                <a:uFillTx/>
                <a:latin typeface="Arial" panose="020B0604020202020204" pitchFamily="34" charset="0"/>
                <a:ea typeface="+mn-ea"/>
                <a:cs typeface="Arial" panose="020B0604020202020204" pitchFamily="34" charset="0"/>
              </a:rPr>
              <a:t>Wirksame </a:t>
            </a:r>
          </a:p>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1200" cap="none" spc="0" normalizeH="0" baseline="0" noProof="0" dirty="0" smtClean="0">
                <a:ln>
                  <a:noFill/>
                </a:ln>
                <a:solidFill>
                  <a:srgbClr val="9A5100"/>
                </a:solidFill>
                <a:effectLst/>
                <a:uLnTx/>
                <a:uFillTx/>
                <a:latin typeface="Arial" panose="020B0604020202020204" pitchFamily="34" charset="0"/>
                <a:ea typeface="+mn-ea"/>
                <a:cs typeface="Arial" panose="020B0604020202020204" pitchFamily="34" charset="0"/>
              </a:rPr>
              <a:t>Strategie</a:t>
            </a:r>
            <a:endParaRPr kumimoji="0" lang="de-DE" sz="900" b="1" i="0" u="none" strike="noStrike" kern="1200" cap="none" spc="0" normalizeH="0" baseline="0" noProof="0" dirty="0">
              <a:ln>
                <a:noFill/>
              </a:ln>
              <a:solidFill>
                <a:srgbClr val="9A5100"/>
              </a:solidFill>
              <a:effectLst/>
              <a:uLnTx/>
              <a:uFillTx/>
              <a:latin typeface="Arial" panose="020B0604020202020204" pitchFamily="34" charset="0"/>
              <a:ea typeface="+mn-ea"/>
              <a:cs typeface="Arial" panose="020B0604020202020204" pitchFamily="34" charset="0"/>
            </a:endParaRPr>
          </a:p>
        </p:txBody>
      </p:sp>
      <p:sp>
        <p:nvSpPr>
          <p:cNvPr id="215" name="Oval 30"/>
          <p:cNvSpPr/>
          <p:nvPr/>
        </p:nvSpPr>
        <p:spPr bwMode="auto">
          <a:xfrm>
            <a:off x="4047759" y="2260761"/>
            <a:ext cx="187200" cy="187200"/>
          </a:xfrm>
          <a:prstGeom prst="ellipse">
            <a:avLst/>
          </a:prstGeom>
          <a:gradFill>
            <a:gsLst>
              <a:gs pos="100000">
                <a:srgbClr val="E08080"/>
              </a:gs>
              <a:gs pos="0">
                <a:srgbClr val="FCF0F0"/>
              </a:gs>
            </a:gsLst>
            <a:lin ang="5400000" scaled="1"/>
          </a:gradFill>
          <a:ln w="15875" cap="flat" cmpd="sng" algn="ctr">
            <a:solidFill>
              <a:srgbClr val="8E0000"/>
            </a:solidFill>
            <a:prstDash val="solid"/>
            <a:round/>
            <a:headEnd type="none" w="med" len="med"/>
            <a:tailEnd type="none" w="med" len="med"/>
          </a:ln>
          <a:effectLst/>
        </p:spPr>
        <p:txBody>
          <a:bodyPr vert="horz" wrap="non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1050" b="1" i="0" u="none" strike="noStrike" kern="1200" cap="none" spc="0" normalizeH="0" baseline="0" noProof="0" dirty="0">
                <a:ln>
                  <a:noFill/>
                </a:ln>
                <a:solidFill>
                  <a:srgbClr val="8E0000"/>
                </a:solidFill>
                <a:effectLst/>
                <a:uLnTx/>
                <a:uFillTx/>
                <a:latin typeface="Arial" panose="020B0604020202020204" pitchFamily="34" charset="0"/>
                <a:ea typeface="+mn-ea"/>
                <a:cs typeface="Arial" panose="020B0604020202020204" pitchFamily="34" charset="0"/>
              </a:rPr>
              <a:t>3</a:t>
            </a:r>
            <a:endParaRPr kumimoji="0" lang="de-DE" sz="1050" b="1" i="0" u="none" strike="noStrike" kern="1200" cap="none" spc="0" normalizeH="0" baseline="0" noProof="0" dirty="0" smtClean="0">
              <a:ln>
                <a:noFill/>
              </a:ln>
              <a:solidFill>
                <a:srgbClr val="8E0000"/>
              </a:solidFill>
              <a:effectLst/>
              <a:uLnTx/>
              <a:uFillTx/>
              <a:latin typeface="Arial" panose="020B0604020202020204" pitchFamily="34" charset="0"/>
              <a:ea typeface="+mn-ea"/>
              <a:cs typeface="Arial" panose="020B0604020202020204" pitchFamily="34" charset="0"/>
            </a:endParaRPr>
          </a:p>
        </p:txBody>
      </p:sp>
      <p:cxnSp>
        <p:nvCxnSpPr>
          <p:cNvPr id="216" name="Straight Connector 63"/>
          <p:cNvCxnSpPr>
            <a:cxnSpLocks/>
            <a:stCxn id="217" idx="2"/>
          </p:cNvCxnSpPr>
          <p:nvPr/>
        </p:nvCxnSpPr>
        <p:spPr bwMode="auto">
          <a:xfrm>
            <a:off x="3955705" y="1948509"/>
            <a:ext cx="151475" cy="314631"/>
          </a:xfrm>
          <a:prstGeom prst="line">
            <a:avLst/>
          </a:prstGeom>
          <a:solidFill>
            <a:schemeClr val="accent1"/>
          </a:solidFill>
          <a:ln w="9525" cap="flat" cmpd="sng" algn="ctr">
            <a:solidFill>
              <a:srgbClr val="700000"/>
            </a:solidFill>
            <a:prstDash val="solid"/>
            <a:round/>
            <a:headEnd type="none" w="med" len="med"/>
            <a:tailEnd type="none" w="med" len="med"/>
          </a:ln>
          <a:effectLst/>
        </p:spPr>
      </p:cxnSp>
      <p:sp>
        <p:nvSpPr>
          <p:cNvPr id="217" name="Rectangle 87"/>
          <p:cNvSpPr/>
          <p:nvPr/>
        </p:nvSpPr>
        <p:spPr>
          <a:xfrm>
            <a:off x="3280579" y="1699210"/>
            <a:ext cx="1350251" cy="249299"/>
          </a:xfrm>
          <a:prstGeom prst="rect">
            <a:avLst/>
          </a:prstGeom>
        </p:spPr>
        <p:txBody>
          <a:bodyPr wrap="square" lIns="0" tIns="0" rIns="0" bIns="0">
            <a:spAutoFit/>
          </a:bodyPr>
          <a:lstStyle/>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1200" cap="none" spc="0" normalizeH="0" baseline="0" noProof="0" dirty="0">
                <a:ln>
                  <a:noFill/>
                </a:ln>
                <a:solidFill>
                  <a:srgbClr val="700000"/>
                </a:solidFill>
                <a:effectLst/>
                <a:uLnTx/>
                <a:uFillTx/>
                <a:latin typeface="Arial" panose="020B0604020202020204" pitchFamily="34" charset="0"/>
                <a:ea typeface="+mn-ea"/>
                <a:cs typeface="Arial" panose="020B0604020202020204" pitchFamily="34" charset="0"/>
              </a:rPr>
              <a:t>Politischer Wille</a:t>
            </a:r>
            <a:r>
              <a:rPr kumimoji="0" lang="de-DE" sz="900" b="1" i="0" u="none" strike="noStrike" kern="1200" cap="none" spc="0" normalizeH="0" baseline="0" noProof="0" dirty="0" smtClean="0">
                <a:ln>
                  <a:noFill/>
                </a:ln>
                <a:solidFill>
                  <a:srgbClr val="700000"/>
                </a:solidFill>
                <a:effectLst/>
                <a:uLnTx/>
                <a:uFillTx/>
                <a:latin typeface="Arial" panose="020B0604020202020204" pitchFamily="34" charset="0"/>
                <a:ea typeface="+mn-ea"/>
                <a:cs typeface="Arial" panose="020B0604020202020204" pitchFamily="34" charset="0"/>
              </a:rPr>
              <a:t>/ </a:t>
            </a:r>
            <a:r>
              <a:rPr kumimoji="0" lang="de-DE" sz="900" b="1" i="0" u="none" strike="noStrike" kern="1200" cap="none" spc="0" normalizeH="0" baseline="0" noProof="0" dirty="0" err="1" smtClean="0">
                <a:ln>
                  <a:noFill/>
                </a:ln>
                <a:solidFill>
                  <a:srgbClr val="700000"/>
                </a:solidFill>
                <a:effectLst/>
                <a:uLnTx/>
                <a:uFillTx/>
                <a:latin typeface="Arial" panose="020B0604020202020204" pitchFamily="34" charset="0"/>
                <a:ea typeface="+mn-ea"/>
                <a:cs typeface="Arial" panose="020B0604020202020204" pitchFamily="34" charset="0"/>
              </a:rPr>
              <a:t>Commitment</a:t>
            </a:r>
            <a:endParaRPr kumimoji="0" lang="de-DE" sz="900" b="1" i="0" u="none" strike="noStrike" kern="1200" cap="none" spc="0" normalizeH="0" baseline="0" noProof="0" dirty="0">
              <a:ln>
                <a:noFill/>
              </a:ln>
              <a:solidFill>
                <a:srgbClr val="700000"/>
              </a:solidFill>
              <a:effectLst/>
              <a:uLnTx/>
              <a:uFillTx/>
              <a:latin typeface="Arial" panose="020B0604020202020204" pitchFamily="34" charset="0"/>
              <a:ea typeface="+mn-ea"/>
              <a:cs typeface="Arial" panose="020B0604020202020204" pitchFamily="34" charset="0"/>
            </a:endParaRPr>
          </a:p>
        </p:txBody>
      </p:sp>
      <p:sp>
        <p:nvSpPr>
          <p:cNvPr id="218" name="Oval 30"/>
          <p:cNvSpPr/>
          <p:nvPr/>
        </p:nvSpPr>
        <p:spPr bwMode="auto">
          <a:xfrm>
            <a:off x="4656960" y="1771254"/>
            <a:ext cx="187200" cy="187200"/>
          </a:xfrm>
          <a:prstGeom prst="ellipse">
            <a:avLst/>
          </a:prstGeom>
          <a:gradFill>
            <a:gsLst>
              <a:gs pos="100000">
                <a:srgbClr val="E08080"/>
              </a:gs>
              <a:gs pos="0">
                <a:srgbClr val="FCF0F0"/>
              </a:gs>
            </a:gsLst>
            <a:lin ang="5400000" scaled="1"/>
          </a:gradFill>
          <a:ln w="15875" cap="flat" cmpd="sng" algn="ctr">
            <a:solidFill>
              <a:srgbClr val="8E0000"/>
            </a:solidFill>
            <a:prstDash val="solid"/>
            <a:round/>
            <a:headEnd type="none" w="med" len="med"/>
            <a:tailEnd type="none" w="med" len="med"/>
          </a:ln>
          <a:effectLst/>
        </p:spPr>
        <p:txBody>
          <a:bodyPr vert="horz" wrap="non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1050" b="1" i="0" u="none" strike="noStrike" kern="1200" cap="none" spc="0" normalizeH="0" baseline="0" noProof="0" dirty="0" smtClean="0">
                <a:ln>
                  <a:noFill/>
                </a:ln>
                <a:solidFill>
                  <a:srgbClr val="8E0000"/>
                </a:solidFill>
                <a:effectLst/>
                <a:uLnTx/>
                <a:uFillTx/>
                <a:latin typeface="Arial" panose="020B0604020202020204" pitchFamily="34" charset="0"/>
                <a:ea typeface="+mn-ea"/>
                <a:cs typeface="Arial" panose="020B0604020202020204" pitchFamily="34" charset="0"/>
              </a:rPr>
              <a:t>10</a:t>
            </a:r>
          </a:p>
        </p:txBody>
      </p:sp>
      <p:cxnSp>
        <p:nvCxnSpPr>
          <p:cNvPr id="219" name="Straight Connector 63"/>
          <p:cNvCxnSpPr>
            <a:cxnSpLocks/>
          </p:cNvCxnSpPr>
          <p:nvPr/>
        </p:nvCxnSpPr>
        <p:spPr bwMode="auto">
          <a:xfrm>
            <a:off x="4562403" y="1710139"/>
            <a:ext cx="108000" cy="108000"/>
          </a:xfrm>
          <a:prstGeom prst="line">
            <a:avLst/>
          </a:prstGeom>
          <a:solidFill>
            <a:schemeClr val="accent1"/>
          </a:solidFill>
          <a:ln w="9525" cap="flat" cmpd="sng" algn="ctr">
            <a:solidFill>
              <a:srgbClr val="700000"/>
            </a:solidFill>
            <a:prstDash val="solid"/>
            <a:round/>
            <a:headEnd type="none" w="med" len="med"/>
            <a:tailEnd type="none" w="med" len="med"/>
          </a:ln>
          <a:effectLst/>
        </p:spPr>
      </p:cxnSp>
      <p:sp>
        <p:nvSpPr>
          <p:cNvPr id="220" name="Rectangle 87"/>
          <p:cNvSpPr/>
          <p:nvPr/>
        </p:nvSpPr>
        <p:spPr>
          <a:xfrm>
            <a:off x="4326952" y="1478441"/>
            <a:ext cx="1350251" cy="249299"/>
          </a:xfrm>
          <a:prstGeom prst="rect">
            <a:avLst/>
          </a:prstGeom>
        </p:spPr>
        <p:txBody>
          <a:bodyPr wrap="square" lIns="0" tIns="0" rIns="0" bIns="0">
            <a:spAutoFit/>
          </a:bodyPr>
          <a:lstStyle/>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1200" cap="none" spc="0" normalizeH="0" baseline="0" noProof="0" dirty="0">
                <a:ln>
                  <a:noFill/>
                </a:ln>
                <a:solidFill>
                  <a:srgbClr val="700000"/>
                </a:solidFill>
                <a:effectLst/>
                <a:uLnTx/>
                <a:uFillTx/>
                <a:latin typeface="Arial" panose="020B0604020202020204" pitchFamily="34" charset="0"/>
                <a:ea typeface="+mn-ea"/>
                <a:cs typeface="Arial" panose="020B0604020202020204" pitchFamily="34" charset="0"/>
              </a:rPr>
              <a:t>Klimaprojekte / Initiativen</a:t>
            </a:r>
          </a:p>
        </p:txBody>
      </p:sp>
      <p:sp>
        <p:nvSpPr>
          <p:cNvPr id="221" name="Oval 30"/>
          <p:cNvSpPr/>
          <p:nvPr/>
        </p:nvSpPr>
        <p:spPr bwMode="auto">
          <a:xfrm>
            <a:off x="4300707" y="2587355"/>
            <a:ext cx="187200" cy="187200"/>
          </a:xfrm>
          <a:prstGeom prst="ellipse">
            <a:avLst/>
          </a:prstGeom>
          <a:gradFill>
            <a:gsLst>
              <a:gs pos="100000">
                <a:srgbClr val="E08080"/>
              </a:gs>
              <a:gs pos="0">
                <a:srgbClr val="FCF0F0"/>
              </a:gs>
            </a:gsLst>
            <a:lin ang="5400000" scaled="1"/>
          </a:gradFill>
          <a:ln w="15875" cap="flat" cmpd="sng" algn="ctr">
            <a:solidFill>
              <a:srgbClr val="8E0000"/>
            </a:solidFill>
            <a:prstDash val="solid"/>
            <a:round/>
            <a:headEnd type="none" w="med" len="med"/>
            <a:tailEnd type="none" w="med" len="med"/>
          </a:ln>
          <a:effectLst/>
        </p:spPr>
        <p:txBody>
          <a:bodyPr vert="horz" wrap="non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1050" b="1" i="0" u="none" strike="noStrike" kern="1200" cap="none" spc="0" normalizeH="0" baseline="0" noProof="0" dirty="0" smtClean="0">
                <a:ln>
                  <a:noFill/>
                </a:ln>
                <a:solidFill>
                  <a:srgbClr val="8E0000"/>
                </a:solidFill>
                <a:effectLst/>
                <a:uLnTx/>
                <a:uFillTx/>
                <a:latin typeface="Arial" panose="020B0604020202020204" pitchFamily="34" charset="0"/>
                <a:ea typeface="+mn-ea"/>
                <a:cs typeface="Arial" panose="020B0604020202020204" pitchFamily="34" charset="0"/>
              </a:rPr>
              <a:t>1</a:t>
            </a:r>
          </a:p>
        </p:txBody>
      </p:sp>
      <p:cxnSp>
        <p:nvCxnSpPr>
          <p:cNvPr id="222" name="Straight Connector 63"/>
          <p:cNvCxnSpPr>
            <a:cxnSpLocks/>
          </p:cNvCxnSpPr>
          <p:nvPr/>
        </p:nvCxnSpPr>
        <p:spPr bwMode="auto">
          <a:xfrm flipH="1" flipV="1">
            <a:off x="4485016" y="2714593"/>
            <a:ext cx="72000" cy="35214"/>
          </a:xfrm>
          <a:prstGeom prst="line">
            <a:avLst/>
          </a:prstGeom>
          <a:solidFill>
            <a:schemeClr val="accent1"/>
          </a:solidFill>
          <a:ln w="9525" cap="flat" cmpd="sng" algn="ctr">
            <a:solidFill>
              <a:srgbClr val="700000"/>
            </a:solidFill>
            <a:prstDash val="solid"/>
            <a:round/>
            <a:headEnd type="none" w="med" len="med"/>
            <a:tailEnd type="none" w="med" len="med"/>
          </a:ln>
          <a:effectLst/>
        </p:spPr>
      </p:cxnSp>
      <p:sp>
        <p:nvSpPr>
          <p:cNvPr id="223" name="Rectangle 87"/>
          <p:cNvSpPr/>
          <p:nvPr/>
        </p:nvSpPr>
        <p:spPr>
          <a:xfrm>
            <a:off x="4529059" y="2595111"/>
            <a:ext cx="1350251" cy="249299"/>
          </a:xfrm>
          <a:prstGeom prst="rect">
            <a:avLst/>
          </a:prstGeom>
        </p:spPr>
        <p:txBody>
          <a:bodyPr wrap="square" lIns="0" tIns="0" rIns="0" bIns="0">
            <a:spAutoFit/>
          </a:bodyPr>
          <a:lstStyle/>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1200" cap="none" spc="0" normalizeH="0" baseline="0" noProof="0" dirty="0" smtClean="0">
                <a:ln>
                  <a:noFill/>
                </a:ln>
                <a:solidFill>
                  <a:srgbClr val="700000"/>
                </a:solidFill>
                <a:effectLst/>
                <a:uLnTx/>
                <a:uFillTx/>
                <a:latin typeface="Arial" panose="020B0604020202020204" pitchFamily="34" charset="0"/>
                <a:ea typeface="+mn-ea"/>
                <a:cs typeface="Arial" panose="020B0604020202020204" pitchFamily="34" charset="0"/>
              </a:rPr>
              <a:t>Handlungs-</a:t>
            </a:r>
          </a:p>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1200" cap="none" spc="0" normalizeH="0" baseline="0" noProof="0" dirty="0" smtClean="0">
                <a:ln>
                  <a:noFill/>
                </a:ln>
                <a:solidFill>
                  <a:srgbClr val="700000"/>
                </a:solidFill>
                <a:effectLst/>
                <a:uLnTx/>
                <a:uFillTx/>
                <a:latin typeface="Arial" panose="020B0604020202020204" pitchFamily="34" charset="0"/>
                <a:ea typeface="+mn-ea"/>
                <a:cs typeface="Arial" panose="020B0604020202020204" pitchFamily="34" charset="0"/>
              </a:rPr>
              <a:t>druck</a:t>
            </a:r>
            <a:endParaRPr kumimoji="0" lang="de-DE" sz="900" b="1" i="0" u="none" strike="noStrike" kern="1200" cap="none" spc="0" normalizeH="0" baseline="0" noProof="0" dirty="0">
              <a:ln>
                <a:noFill/>
              </a:ln>
              <a:solidFill>
                <a:srgbClr val="700000"/>
              </a:solidFill>
              <a:effectLst/>
              <a:uLnTx/>
              <a:uFillTx/>
              <a:latin typeface="Arial" panose="020B0604020202020204" pitchFamily="34" charset="0"/>
              <a:ea typeface="+mn-ea"/>
              <a:cs typeface="Arial" panose="020B0604020202020204" pitchFamily="34" charset="0"/>
            </a:endParaRPr>
          </a:p>
        </p:txBody>
      </p:sp>
      <p:sp>
        <p:nvSpPr>
          <p:cNvPr id="224" name="Oval 30"/>
          <p:cNvSpPr/>
          <p:nvPr/>
        </p:nvSpPr>
        <p:spPr bwMode="auto">
          <a:xfrm>
            <a:off x="3938818" y="2893766"/>
            <a:ext cx="187200" cy="187200"/>
          </a:xfrm>
          <a:prstGeom prst="ellipse">
            <a:avLst/>
          </a:prstGeom>
          <a:gradFill>
            <a:gsLst>
              <a:gs pos="100000">
                <a:srgbClr val="E08080"/>
              </a:gs>
              <a:gs pos="0">
                <a:srgbClr val="FCF0F0"/>
              </a:gs>
            </a:gsLst>
            <a:lin ang="5400000" scaled="1"/>
          </a:gradFill>
          <a:ln w="15875" cap="flat" cmpd="sng" algn="ctr">
            <a:solidFill>
              <a:srgbClr val="8E0000"/>
            </a:solidFill>
            <a:prstDash val="solid"/>
            <a:round/>
            <a:headEnd type="none" w="med" len="med"/>
            <a:tailEnd type="none" w="med" len="med"/>
          </a:ln>
          <a:effectLst/>
        </p:spPr>
        <p:txBody>
          <a:bodyPr vert="horz" wrap="non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1050" b="1" i="0" u="none" strike="noStrike" kern="1200" cap="none" spc="0" normalizeH="0" baseline="0" noProof="0" dirty="0" smtClean="0">
                <a:ln>
                  <a:noFill/>
                </a:ln>
                <a:solidFill>
                  <a:srgbClr val="8E0000"/>
                </a:solidFill>
                <a:effectLst/>
                <a:uLnTx/>
                <a:uFillTx/>
                <a:latin typeface="Arial" panose="020B0604020202020204" pitchFamily="34" charset="0"/>
                <a:ea typeface="+mn-ea"/>
                <a:cs typeface="Arial" panose="020B0604020202020204" pitchFamily="34" charset="0"/>
              </a:rPr>
              <a:t>12</a:t>
            </a:r>
          </a:p>
        </p:txBody>
      </p:sp>
      <p:cxnSp>
        <p:nvCxnSpPr>
          <p:cNvPr id="225" name="Straight Connector 63"/>
          <p:cNvCxnSpPr>
            <a:cxnSpLocks/>
          </p:cNvCxnSpPr>
          <p:nvPr/>
        </p:nvCxnSpPr>
        <p:spPr bwMode="auto">
          <a:xfrm flipH="1" flipV="1">
            <a:off x="4113843" y="3004022"/>
            <a:ext cx="84777" cy="9688"/>
          </a:xfrm>
          <a:prstGeom prst="line">
            <a:avLst/>
          </a:prstGeom>
          <a:solidFill>
            <a:schemeClr val="accent1"/>
          </a:solidFill>
          <a:ln w="9525" cap="flat" cmpd="sng" algn="ctr">
            <a:solidFill>
              <a:srgbClr val="700000"/>
            </a:solidFill>
            <a:prstDash val="solid"/>
            <a:round/>
            <a:headEnd type="none" w="med" len="med"/>
            <a:tailEnd type="none" w="med" len="med"/>
          </a:ln>
          <a:effectLst/>
        </p:spPr>
      </p:cxnSp>
      <p:sp>
        <p:nvSpPr>
          <p:cNvPr id="226" name="Rectangle 87"/>
          <p:cNvSpPr/>
          <p:nvPr/>
        </p:nvSpPr>
        <p:spPr>
          <a:xfrm>
            <a:off x="4198038" y="2871051"/>
            <a:ext cx="1350251" cy="373949"/>
          </a:xfrm>
          <a:prstGeom prst="rect">
            <a:avLst/>
          </a:prstGeom>
        </p:spPr>
        <p:txBody>
          <a:bodyPr wrap="square" lIns="0" tIns="0" rIns="0" bIns="0">
            <a:spAutoFit/>
          </a:bodyPr>
          <a:lstStyle/>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1200" cap="none" spc="0" normalizeH="0" baseline="0" noProof="0" dirty="0">
                <a:ln>
                  <a:noFill/>
                </a:ln>
                <a:solidFill>
                  <a:srgbClr val="700000"/>
                </a:solidFill>
                <a:effectLst/>
                <a:uLnTx/>
                <a:uFillTx/>
                <a:latin typeface="Arial" panose="020B0604020202020204" pitchFamily="34" charset="0"/>
                <a:ea typeface="+mn-ea"/>
                <a:cs typeface="Arial" panose="020B0604020202020204" pitchFamily="34" charset="0"/>
              </a:rPr>
              <a:t>Unternehmens-netzwerke </a:t>
            </a:r>
            <a:endParaRPr kumimoji="0" lang="de-DE" sz="900" b="1" i="0" u="none" strike="noStrike" kern="1200" cap="none" spc="0" normalizeH="0" baseline="0" noProof="0" dirty="0" smtClean="0">
              <a:ln>
                <a:noFill/>
              </a:ln>
              <a:solidFill>
                <a:srgbClr val="7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1200" cap="none" spc="0" normalizeH="0" baseline="0" noProof="0" dirty="0" smtClean="0">
                <a:ln>
                  <a:noFill/>
                </a:ln>
                <a:solidFill>
                  <a:srgbClr val="700000"/>
                </a:solidFill>
                <a:effectLst/>
                <a:uLnTx/>
                <a:uFillTx/>
                <a:latin typeface="Arial" panose="020B0604020202020204" pitchFamily="34" charset="0"/>
                <a:ea typeface="+mn-ea"/>
                <a:cs typeface="Arial" panose="020B0604020202020204" pitchFamily="34" charset="0"/>
              </a:rPr>
              <a:t>aktivieren</a:t>
            </a:r>
            <a:endParaRPr kumimoji="0" lang="de-DE" sz="900" b="1" i="0" u="none" strike="noStrike" kern="1200" cap="none" spc="0" normalizeH="0" baseline="0" noProof="0" dirty="0">
              <a:ln>
                <a:noFill/>
              </a:ln>
              <a:solidFill>
                <a:srgbClr val="700000"/>
              </a:solidFill>
              <a:effectLst/>
              <a:uLnTx/>
              <a:uFillTx/>
              <a:latin typeface="Arial" panose="020B0604020202020204" pitchFamily="34" charset="0"/>
              <a:ea typeface="+mn-ea"/>
              <a:cs typeface="Arial" panose="020B0604020202020204" pitchFamily="34" charset="0"/>
            </a:endParaRPr>
          </a:p>
        </p:txBody>
      </p:sp>
      <p:sp>
        <p:nvSpPr>
          <p:cNvPr id="240" name="Oval 30"/>
          <p:cNvSpPr/>
          <p:nvPr/>
        </p:nvSpPr>
        <p:spPr bwMode="auto">
          <a:xfrm>
            <a:off x="3127859" y="3811516"/>
            <a:ext cx="187200" cy="187200"/>
          </a:xfrm>
          <a:prstGeom prst="ellipse">
            <a:avLst/>
          </a:prstGeom>
          <a:gradFill>
            <a:gsLst>
              <a:gs pos="100000">
                <a:srgbClr val="B889DB"/>
              </a:gs>
              <a:gs pos="0">
                <a:srgbClr val="E4D2F2"/>
              </a:gs>
            </a:gsLst>
            <a:lin ang="5400000" scaled="1"/>
          </a:gradFill>
          <a:ln w="15875" cap="flat" cmpd="sng" algn="ctr">
            <a:solidFill>
              <a:srgbClr val="7030A0"/>
            </a:solidFill>
            <a:prstDash val="solid"/>
            <a:round/>
            <a:headEnd type="none" w="med" len="med"/>
            <a:tailEnd type="none" w="med" len="med"/>
          </a:ln>
          <a:effectLst/>
        </p:spPr>
        <p:txBody>
          <a:bodyPr vert="horz" wrap="non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1050" b="1" i="0" u="none" strike="noStrike" kern="1200" cap="none" spc="0" normalizeH="0" baseline="0" noProof="0" dirty="0" smtClean="0">
                <a:ln>
                  <a:noFill/>
                </a:ln>
                <a:solidFill>
                  <a:srgbClr val="5F2987"/>
                </a:solidFill>
                <a:effectLst/>
                <a:uLnTx/>
                <a:uFillTx/>
                <a:latin typeface="Arial" panose="020B0604020202020204" pitchFamily="34" charset="0"/>
                <a:ea typeface="+mn-ea"/>
                <a:cs typeface="Arial" panose="020B0604020202020204" pitchFamily="34" charset="0"/>
              </a:rPr>
              <a:t>17</a:t>
            </a:r>
          </a:p>
        </p:txBody>
      </p:sp>
      <p:cxnSp>
        <p:nvCxnSpPr>
          <p:cNvPr id="244" name="Straight Connector 63"/>
          <p:cNvCxnSpPr>
            <a:cxnSpLocks/>
          </p:cNvCxnSpPr>
          <p:nvPr/>
        </p:nvCxnSpPr>
        <p:spPr bwMode="auto">
          <a:xfrm flipH="1">
            <a:off x="3229809" y="4009206"/>
            <a:ext cx="0" cy="396000"/>
          </a:xfrm>
          <a:prstGeom prst="line">
            <a:avLst/>
          </a:prstGeom>
          <a:solidFill>
            <a:schemeClr val="accent1"/>
          </a:solidFill>
          <a:ln w="9525" cap="flat" cmpd="sng" algn="ctr">
            <a:solidFill>
              <a:srgbClr val="7030A0"/>
            </a:solidFill>
            <a:prstDash val="solid"/>
            <a:round/>
            <a:headEnd type="none" w="med" len="med"/>
            <a:tailEnd type="none" w="med" len="med"/>
          </a:ln>
          <a:effectLst/>
        </p:spPr>
      </p:cxnSp>
      <p:sp>
        <p:nvSpPr>
          <p:cNvPr id="248" name="Oval 114">
            <a:hlinkClick r:id="" action="ppaction://noaction"/>
          </p:cNvPr>
          <p:cNvSpPr/>
          <p:nvPr/>
        </p:nvSpPr>
        <p:spPr bwMode="auto">
          <a:xfrm>
            <a:off x="2321808" y="3299006"/>
            <a:ext cx="187200" cy="187200"/>
          </a:xfrm>
          <a:prstGeom prst="ellipse">
            <a:avLst/>
          </a:prstGeom>
          <a:gradFill flip="none" rotWithShape="1">
            <a:gsLst>
              <a:gs pos="0">
                <a:schemeClr val="bg1">
                  <a:lumMod val="95000"/>
                </a:schemeClr>
              </a:gs>
              <a:gs pos="100000">
                <a:schemeClr val="bg1">
                  <a:lumMod val="75000"/>
                </a:schemeClr>
              </a:gs>
            </a:gsLst>
            <a:lin ang="5400000" scaled="1"/>
            <a:tileRect/>
          </a:gradFill>
          <a:ln w="15875" cap="flat" cmpd="sng" algn="ctr">
            <a:solidFill>
              <a:schemeClr val="tx1"/>
            </a:solidFill>
            <a:prstDash val="solid"/>
            <a:round/>
            <a:headEnd type="none" w="med" len="med"/>
            <a:tailEnd type="none" w="med" len="med"/>
          </a:ln>
          <a:effectLst/>
        </p:spPr>
        <p:txBody>
          <a:bodyPr vert="horz" wrap="non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a:t>
            </a:r>
          </a:p>
        </p:txBody>
      </p:sp>
      <p:sp>
        <p:nvSpPr>
          <p:cNvPr id="249" name="Textfeld 18"/>
          <p:cNvSpPr txBox="1"/>
          <p:nvPr/>
        </p:nvSpPr>
        <p:spPr>
          <a:xfrm>
            <a:off x="1403712" y="3615688"/>
            <a:ext cx="1049345" cy="415498"/>
          </a:xfrm>
          <a:prstGeom prst="roundRect">
            <a:avLst>
              <a:gd name="adj" fmla="val 0"/>
            </a:avLst>
          </a:prstGeom>
          <a:noFill/>
          <a:ln w="15875" algn="ctr">
            <a:noFill/>
          </a:ln>
        </p:spPr>
        <p:txBody>
          <a:bodyPr wrap="square" lIns="0" tIns="0" rIns="0" bIns="0" rtlCol="0" anchor="ctr">
            <a:spAutoFit/>
          </a:bodyPr>
          <a:lstStyle/>
          <a:p>
            <a:pPr marL="0" marR="0" lvl="0" indent="0" algn="l" defTabSz="914400" rtl="0" eaLnBrk="0" fontAlgn="base" latinLnBrk="0" hangingPunct="0">
              <a:lnSpc>
                <a:spcPct val="100000"/>
              </a:lnSpc>
              <a:spcBef>
                <a:spcPct val="0"/>
              </a:spcBef>
              <a:spcAft>
                <a:spcPct val="20000"/>
              </a:spcAft>
              <a:buClrTx/>
              <a:buSzTx/>
              <a:buFontTx/>
              <a:buNone/>
              <a:tabLst/>
              <a:defRPr/>
            </a:pPr>
            <a:r>
              <a:rPr kumimoji="0" lang="de-DE"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apazitäten </a:t>
            </a:r>
            <a:r>
              <a:rPr kumimoji="0" lang="de-DE" sz="9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und Kompetenzen </a:t>
            </a:r>
            <a:r>
              <a:rPr kumimoji="0" lang="de-DE"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erwaltung</a:t>
            </a:r>
          </a:p>
        </p:txBody>
      </p:sp>
      <p:cxnSp>
        <p:nvCxnSpPr>
          <p:cNvPr id="250" name="Straight Connector 63"/>
          <p:cNvCxnSpPr>
            <a:cxnSpLocks/>
          </p:cNvCxnSpPr>
          <p:nvPr/>
        </p:nvCxnSpPr>
        <p:spPr bwMode="auto">
          <a:xfrm flipV="1">
            <a:off x="2174488" y="3452898"/>
            <a:ext cx="173745" cy="148946"/>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51" name="Oval 114">
            <a:hlinkClick r:id="" action="ppaction://noaction"/>
          </p:cNvPr>
          <p:cNvSpPr/>
          <p:nvPr/>
        </p:nvSpPr>
        <p:spPr bwMode="auto">
          <a:xfrm>
            <a:off x="2565718" y="3513537"/>
            <a:ext cx="187200" cy="187200"/>
          </a:xfrm>
          <a:prstGeom prst="ellipse">
            <a:avLst/>
          </a:prstGeom>
          <a:gradFill flip="none" rotWithShape="1">
            <a:gsLst>
              <a:gs pos="0">
                <a:schemeClr val="bg1">
                  <a:lumMod val="95000"/>
                </a:schemeClr>
              </a:gs>
              <a:gs pos="100000">
                <a:schemeClr val="bg1">
                  <a:lumMod val="75000"/>
                </a:schemeClr>
              </a:gs>
            </a:gsLst>
            <a:lin ang="5400000" scaled="1"/>
            <a:tileRect/>
          </a:gradFill>
          <a:ln w="15875" cap="flat" cmpd="sng" algn="ctr">
            <a:solidFill>
              <a:schemeClr val="tx1"/>
            </a:solidFill>
            <a:prstDash val="solid"/>
            <a:round/>
            <a:headEnd type="none" w="med" len="med"/>
            <a:tailEnd type="none" w="med" len="med"/>
          </a:ln>
          <a:effectLst/>
        </p:spPr>
        <p:txBody>
          <a:bodyPr vert="horz" wrap="non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a:t>
            </a:r>
          </a:p>
        </p:txBody>
      </p:sp>
      <p:sp>
        <p:nvSpPr>
          <p:cNvPr id="252" name="Textfeld 18"/>
          <p:cNvSpPr txBox="1"/>
          <p:nvPr/>
        </p:nvSpPr>
        <p:spPr>
          <a:xfrm>
            <a:off x="2273061" y="3820928"/>
            <a:ext cx="1013810" cy="276999"/>
          </a:xfrm>
          <a:prstGeom prst="roundRect">
            <a:avLst>
              <a:gd name="adj" fmla="val 0"/>
            </a:avLst>
          </a:prstGeom>
          <a:noFill/>
          <a:ln w="15875" algn="ctr">
            <a:noFill/>
          </a:ln>
        </p:spPr>
        <p:txBody>
          <a:bodyPr wrap="square" lIns="0" tIns="0" rIns="0" bIns="0" rtlCol="0" anchor="ctr">
            <a:spAutoFit/>
          </a:bodyPr>
          <a:lstStyle/>
          <a:p>
            <a:pPr marL="0" marR="0" lvl="0" indent="0" algn="l" defTabSz="914400" rtl="0" eaLnBrk="0" fontAlgn="base" latinLnBrk="0" hangingPunct="0">
              <a:lnSpc>
                <a:spcPct val="100000"/>
              </a:lnSpc>
              <a:spcBef>
                <a:spcPct val="0"/>
              </a:spcBef>
              <a:spcAft>
                <a:spcPct val="20000"/>
              </a:spcAft>
              <a:buClrTx/>
              <a:buSzTx/>
              <a:buFontTx/>
              <a:buNone/>
              <a:tabLst/>
              <a:defRPr/>
            </a:pPr>
            <a:r>
              <a:rPr kumimoji="0" lang="de-DE"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irksame Kommunikation</a:t>
            </a:r>
          </a:p>
        </p:txBody>
      </p:sp>
      <p:cxnSp>
        <p:nvCxnSpPr>
          <p:cNvPr id="253" name="Straight Connector 63"/>
          <p:cNvCxnSpPr>
            <a:cxnSpLocks/>
          </p:cNvCxnSpPr>
          <p:nvPr/>
        </p:nvCxnSpPr>
        <p:spPr bwMode="auto">
          <a:xfrm flipV="1">
            <a:off x="2651319" y="3700256"/>
            <a:ext cx="4572" cy="150988"/>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57" name="Oval 114">
            <a:hlinkClick r:id="" action="ppaction://noaction"/>
          </p:cNvPr>
          <p:cNvSpPr/>
          <p:nvPr/>
        </p:nvSpPr>
        <p:spPr bwMode="auto">
          <a:xfrm>
            <a:off x="1834879" y="4516912"/>
            <a:ext cx="187200" cy="187200"/>
          </a:xfrm>
          <a:prstGeom prst="ellipse">
            <a:avLst/>
          </a:prstGeom>
          <a:gradFill flip="none" rotWithShape="1">
            <a:gsLst>
              <a:gs pos="0">
                <a:schemeClr val="bg1">
                  <a:lumMod val="95000"/>
                </a:schemeClr>
              </a:gs>
              <a:gs pos="100000">
                <a:schemeClr val="bg1">
                  <a:lumMod val="75000"/>
                </a:schemeClr>
              </a:gs>
            </a:gsLst>
            <a:lin ang="5400000" scaled="1"/>
            <a:tileRect/>
          </a:gradFill>
          <a:ln w="15875" cap="flat" cmpd="sng" algn="ctr">
            <a:solidFill>
              <a:schemeClr val="tx1"/>
            </a:solidFill>
            <a:prstDash val="solid"/>
            <a:round/>
            <a:headEnd type="none" w="med" len="med"/>
            <a:tailEnd type="none" w="med" len="med"/>
          </a:ln>
          <a:effectLst/>
        </p:spPr>
        <p:txBody>
          <a:bodyPr vert="horz" wrap="non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r>
              <a:rPr kumimoji="0" lang="de-DE" sz="105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1</a:t>
            </a:r>
            <a:endParaRPr kumimoji="0" lang="de-DE"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2" name="Textfeld 18"/>
          <p:cNvSpPr txBox="1"/>
          <p:nvPr/>
        </p:nvSpPr>
        <p:spPr>
          <a:xfrm>
            <a:off x="2000757" y="4751591"/>
            <a:ext cx="906156" cy="276999"/>
          </a:xfrm>
          <a:prstGeom prst="roundRect">
            <a:avLst>
              <a:gd name="adj" fmla="val 0"/>
            </a:avLst>
          </a:prstGeom>
          <a:noFill/>
          <a:ln w="15875" algn="ctr">
            <a:noFill/>
          </a:ln>
        </p:spPr>
        <p:txBody>
          <a:bodyPr wrap="square" lIns="0" tIns="0" rIns="0" bIns="0" rtlCol="0" anchor="ctr">
            <a:spAutoFit/>
          </a:bodyPr>
          <a:lstStyle/>
          <a:p>
            <a:pPr marL="0" marR="0" lvl="0" indent="0" algn="l" defTabSz="914400" rtl="0" eaLnBrk="0" fontAlgn="base" latinLnBrk="0" hangingPunct="0">
              <a:lnSpc>
                <a:spcPct val="100000"/>
              </a:lnSpc>
              <a:spcBef>
                <a:spcPct val="0"/>
              </a:spcBef>
              <a:spcAft>
                <a:spcPct val="20000"/>
              </a:spcAft>
              <a:buClrTx/>
              <a:buSzTx/>
              <a:buFontTx/>
              <a:buNone/>
              <a:tabLst/>
              <a:defRPr/>
            </a:pPr>
            <a:r>
              <a:rPr kumimoji="0" lang="de-DE"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mage Unternehmen</a:t>
            </a:r>
          </a:p>
        </p:txBody>
      </p:sp>
      <p:cxnSp>
        <p:nvCxnSpPr>
          <p:cNvPr id="263" name="Straight Connector 63"/>
          <p:cNvCxnSpPr>
            <a:cxnSpLocks/>
          </p:cNvCxnSpPr>
          <p:nvPr/>
        </p:nvCxnSpPr>
        <p:spPr bwMode="auto">
          <a:xfrm>
            <a:off x="1963940" y="4695381"/>
            <a:ext cx="37776" cy="70566"/>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64" name="Rectangle 87"/>
          <p:cNvSpPr/>
          <p:nvPr/>
        </p:nvSpPr>
        <p:spPr>
          <a:xfrm>
            <a:off x="3211532" y="4387927"/>
            <a:ext cx="941064" cy="249299"/>
          </a:xfrm>
          <a:prstGeom prst="rect">
            <a:avLst/>
          </a:prstGeom>
        </p:spPr>
        <p:txBody>
          <a:bodyPr wrap="square" lIns="0" tIns="0" rIns="0" bIns="0">
            <a:spAutoFit/>
          </a:bodyPr>
          <a:lstStyle/>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1200" cap="none" spc="0" normalizeH="0" baseline="0" noProof="0" dirty="0" smtClean="0">
                <a:ln>
                  <a:noFill/>
                </a:ln>
                <a:solidFill>
                  <a:srgbClr val="5F2987"/>
                </a:solidFill>
                <a:effectLst/>
                <a:uLnTx/>
                <a:uFillTx/>
                <a:latin typeface="Arial" panose="020B0604020202020204" pitchFamily="34" charset="0"/>
                <a:ea typeface="+mn-ea"/>
                <a:cs typeface="Arial" panose="020B0604020202020204" pitchFamily="34" charset="0"/>
              </a:rPr>
              <a:t>Vorbildfunktion der Stadt</a:t>
            </a:r>
            <a:endParaRPr kumimoji="0" lang="de-DE" sz="900" b="1" i="0" u="none" strike="noStrike" kern="1200" cap="none" spc="0" normalizeH="0" baseline="0" noProof="0" dirty="0">
              <a:ln>
                <a:noFill/>
              </a:ln>
              <a:solidFill>
                <a:srgbClr val="5F2987"/>
              </a:solidFill>
              <a:effectLst/>
              <a:uLnTx/>
              <a:uFillTx/>
              <a:latin typeface="Arial" panose="020B0604020202020204" pitchFamily="34" charset="0"/>
              <a:ea typeface="+mn-ea"/>
              <a:cs typeface="Arial" panose="020B0604020202020204" pitchFamily="34" charset="0"/>
            </a:endParaRPr>
          </a:p>
        </p:txBody>
      </p:sp>
      <p:sp>
        <p:nvSpPr>
          <p:cNvPr id="265" name="Rectangle 87"/>
          <p:cNvSpPr/>
          <p:nvPr/>
        </p:nvSpPr>
        <p:spPr>
          <a:xfrm>
            <a:off x="3311237" y="4202046"/>
            <a:ext cx="1456885" cy="124650"/>
          </a:xfrm>
          <a:prstGeom prst="rect">
            <a:avLst/>
          </a:prstGeom>
        </p:spPr>
        <p:txBody>
          <a:bodyPr wrap="square" lIns="0" tIns="0" rIns="0" bIns="0">
            <a:spAutoFit/>
          </a:bodyPr>
          <a:lstStyle/>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1200" cap="none" spc="0" normalizeH="0" baseline="0" noProof="0" dirty="0" smtClean="0">
                <a:ln>
                  <a:noFill/>
                </a:ln>
                <a:solidFill>
                  <a:srgbClr val="5F2987"/>
                </a:solidFill>
                <a:effectLst/>
                <a:uLnTx/>
                <a:uFillTx/>
                <a:latin typeface="Arial" panose="020B0604020202020204" pitchFamily="34" charset="0"/>
                <a:ea typeface="+mn-ea"/>
                <a:cs typeface="Arial" panose="020B0604020202020204" pitchFamily="34" charset="0"/>
              </a:rPr>
              <a:t>Bildung und Aufklärung</a:t>
            </a:r>
            <a:endParaRPr kumimoji="0" lang="de-DE" sz="900" b="1" i="0" u="none" strike="noStrike" kern="1200" cap="none" spc="0" normalizeH="0" baseline="0" noProof="0" dirty="0">
              <a:ln>
                <a:noFill/>
              </a:ln>
              <a:solidFill>
                <a:srgbClr val="5F2987"/>
              </a:solidFill>
              <a:effectLst/>
              <a:uLnTx/>
              <a:uFillTx/>
              <a:latin typeface="Arial" panose="020B0604020202020204" pitchFamily="34" charset="0"/>
              <a:ea typeface="+mn-ea"/>
              <a:cs typeface="Arial" panose="020B0604020202020204" pitchFamily="34" charset="0"/>
            </a:endParaRPr>
          </a:p>
        </p:txBody>
      </p:sp>
      <p:sp>
        <p:nvSpPr>
          <p:cNvPr id="266" name="Ellipse 5"/>
          <p:cNvSpPr/>
          <p:nvPr/>
        </p:nvSpPr>
        <p:spPr bwMode="auto">
          <a:xfrm rot="15011601">
            <a:off x="1440442" y="2935084"/>
            <a:ext cx="745032" cy="446477"/>
          </a:xfrm>
          <a:custGeom>
            <a:avLst/>
            <a:gdLst>
              <a:gd name="connsiteX0" fmla="*/ 0 w 1622133"/>
              <a:gd name="connsiteY0" fmla="*/ 204342 h 408683"/>
              <a:gd name="connsiteX1" fmla="*/ 811067 w 1622133"/>
              <a:gd name="connsiteY1" fmla="*/ 0 h 408683"/>
              <a:gd name="connsiteX2" fmla="*/ 1622134 w 1622133"/>
              <a:gd name="connsiteY2" fmla="*/ 204342 h 408683"/>
              <a:gd name="connsiteX3" fmla="*/ 811067 w 1622133"/>
              <a:gd name="connsiteY3" fmla="*/ 408684 h 408683"/>
              <a:gd name="connsiteX4" fmla="*/ 0 w 1622133"/>
              <a:gd name="connsiteY4" fmla="*/ 204342 h 408683"/>
              <a:gd name="connsiteX0" fmla="*/ 0 w 1506504"/>
              <a:gd name="connsiteY0" fmla="*/ 207112 h 408686"/>
              <a:gd name="connsiteX1" fmla="*/ 695437 w 1506504"/>
              <a:gd name="connsiteY1" fmla="*/ 1 h 408686"/>
              <a:gd name="connsiteX2" fmla="*/ 1506504 w 1506504"/>
              <a:gd name="connsiteY2" fmla="*/ 204343 h 408686"/>
              <a:gd name="connsiteX3" fmla="*/ 695437 w 1506504"/>
              <a:gd name="connsiteY3" fmla="*/ 408685 h 408686"/>
              <a:gd name="connsiteX4" fmla="*/ 0 w 1506504"/>
              <a:gd name="connsiteY4" fmla="*/ 207112 h 408686"/>
              <a:gd name="connsiteX0" fmla="*/ 19251 w 1525755"/>
              <a:gd name="connsiteY0" fmla="*/ 251505 h 453079"/>
              <a:gd name="connsiteX1" fmla="*/ 239381 w 1525755"/>
              <a:gd name="connsiteY1" fmla="*/ 16779 h 453079"/>
              <a:gd name="connsiteX2" fmla="*/ 714688 w 1525755"/>
              <a:gd name="connsiteY2" fmla="*/ 44394 h 453079"/>
              <a:gd name="connsiteX3" fmla="*/ 1525755 w 1525755"/>
              <a:gd name="connsiteY3" fmla="*/ 248736 h 453079"/>
              <a:gd name="connsiteX4" fmla="*/ 714688 w 1525755"/>
              <a:gd name="connsiteY4" fmla="*/ 453078 h 453079"/>
              <a:gd name="connsiteX5" fmla="*/ 19251 w 1525755"/>
              <a:gd name="connsiteY5" fmla="*/ 251505 h 453079"/>
              <a:gd name="connsiteX0" fmla="*/ 850 w 1507354"/>
              <a:gd name="connsiteY0" fmla="*/ 251505 h 502462"/>
              <a:gd name="connsiteX1" fmla="*/ 220980 w 1507354"/>
              <a:gd name="connsiteY1" fmla="*/ 16779 h 502462"/>
              <a:gd name="connsiteX2" fmla="*/ 696287 w 1507354"/>
              <a:gd name="connsiteY2" fmla="*/ 44394 h 502462"/>
              <a:gd name="connsiteX3" fmla="*/ 1507354 w 1507354"/>
              <a:gd name="connsiteY3" fmla="*/ 248736 h 502462"/>
              <a:gd name="connsiteX4" fmla="*/ 696287 w 1507354"/>
              <a:gd name="connsiteY4" fmla="*/ 453078 h 502462"/>
              <a:gd name="connsiteX5" fmla="*/ 168056 w 1507354"/>
              <a:gd name="connsiteY5" fmla="*/ 487555 h 502462"/>
              <a:gd name="connsiteX6" fmla="*/ 850 w 1507354"/>
              <a:gd name="connsiteY6" fmla="*/ 251505 h 502462"/>
              <a:gd name="connsiteX0" fmla="*/ 850 w 1507354"/>
              <a:gd name="connsiteY0" fmla="*/ 251505 h 494798"/>
              <a:gd name="connsiteX1" fmla="*/ 220980 w 1507354"/>
              <a:gd name="connsiteY1" fmla="*/ 16779 h 494798"/>
              <a:gd name="connsiteX2" fmla="*/ 696287 w 1507354"/>
              <a:gd name="connsiteY2" fmla="*/ 44394 h 494798"/>
              <a:gd name="connsiteX3" fmla="*/ 1507354 w 1507354"/>
              <a:gd name="connsiteY3" fmla="*/ 248736 h 494798"/>
              <a:gd name="connsiteX4" fmla="*/ 696287 w 1507354"/>
              <a:gd name="connsiteY4" fmla="*/ 453078 h 494798"/>
              <a:gd name="connsiteX5" fmla="*/ 168056 w 1507354"/>
              <a:gd name="connsiteY5" fmla="*/ 487555 h 494798"/>
              <a:gd name="connsiteX6" fmla="*/ 850 w 1507354"/>
              <a:gd name="connsiteY6" fmla="*/ 251505 h 494798"/>
              <a:gd name="connsiteX0" fmla="*/ 850 w 1507354"/>
              <a:gd name="connsiteY0" fmla="*/ 298567 h 541860"/>
              <a:gd name="connsiteX1" fmla="*/ 220980 w 1507354"/>
              <a:gd name="connsiteY1" fmla="*/ 63841 h 541860"/>
              <a:gd name="connsiteX2" fmla="*/ 716671 w 1507354"/>
              <a:gd name="connsiteY2" fmla="*/ 13271 h 541860"/>
              <a:gd name="connsiteX3" fmla="*/ 1507354 w 1507354"/>
              <a:gd name="connsiteY3" fmla="*/ 295798 h 541860"/>
              <a:gd name="connsiteX4" fmla="*/ 696287 w 1507354"/>
              <a:gd name="connsiteY4" fmla="*/ 500140 h 541860"/>
              <a:gd name="connsiteX5" fmla="*/ 168056 w 1507354"/>
              <a:gd name="connsiteY5" fmla="*/ 534617 h 541860"/>
              <a:gd name="connsiteX6" fmla="*/ 850 w 1507354"/>
              <a:gd name="connsiteY6" fmla="*/ 298567 h 541860"/>
              <a:gd name="connsiteX0" fmla="*/ 850 w 1507354"/>
              <a:gd name="connsiteY0" fmla="*/ 298567 h 539612"/>
              <a:gd name="connsiteX1" fmla="*/ 220980 w 1507354"/>
              <a:gd name="connsiteY1" fmla="*/ 63841 h 539612"/>
              <a:gd name="connsiteX2" fmla="*/ 716671 w 1507354"/>
              <a:gd name="connsiteY2" fmla="*/ 13271 h 539612"/>
              <a:gd name="connsiteX3" fmla="*/ 1507354 w 1507354"/>
              <a:gd name="connsiteY3" fmla="*/ 295798 h 539612"/>
              <a:gd name="connsiteX4" fmla="*/ 696287 w 1507354"/>
              <a:gd name="connsiteY4" fmla="*/ 500140 h 539612"/>
              <a:gd name="connsiteX5" fmla="*/ 450815 w 1507354"/>
              <a:gd name="connsiteY5" fmla="*/ 418748 h 539612"/>
              <a:gd name="connsiteX6" fmla="*/ 168056 w 1507354"/>
              <a:gd name="connsiteY6" fmla="*/ 534617 h 539612"/>
              <a:gd name="connsiteX7" fmla="*/ 850 w 1507354"/>
              <a:gd name="connsiteY7" fmla="*/ 298567 h 539612"/>
              <a:gd name="connsiteX0" fmla="*/ 850 w 1507354"/>
              <a:gd name="connsiteY0" fmla="*/ 298567 h 539612"/>
              <a:gd name="connsiteX1" fmla="*/ 220980 w 1507354"/>
              <a:gd name="connsiteY1" fmla="*/ 63841 h 539612"/>
              <a:gd name="connsiteX2" fmla="*/ 716671 w 1507354"/>
              <a:gd name="connsiteY2" fmla="*/ 13271 h 539612"/>
              <a:gd name="connsiteX3" fmla="*/ 1507354 w 1507354"/>
              <a:gd name="connsiteY3" fmla="*/ 295798 h 539612"/>
              <a:gd name="connsiteX4" fmla="*/ 717224 w 1507354"/>
              <a:gd name="connsiteY4" fmla="*/ 398828 h 539612"/>
              <a:gd name="connsiteX5" fmla="*/ 450815 w 1507354"/>
              <a:gd name="connsiteY5" fmla="*/ 418748 h 539612"/>
              <a:gd name="connsiteX6" fmla="*/ 168056 w 1507354"/>
              <a:gd name="connsiteY6" fmla="*/ 534617 h 539612"/>
              <a:gd name="connsiteX7" fmla="*/ 850 w 1507354"/>
              <a:gd name="connsiteY7" fmla="*/ 298567 h 539612"/>
              <a:gd name="connsiteX0" fmla="*/ 850 w 1507354"/>
              <a:gd name="connsiteY0" fmla="*/ 298567 h 539612"/>
              <a:gd name="connsiteX1" fmla="*/ 220980 w 1507354"/>
              <a:gd name="connsiteY1" fmla="*/ 63841 h 539612"/>
              <a:gd name="connsiteX2" fmla="*/ 716671 w 1507354"/>
              <a:gd name="connsiteY2" fmla="*/ 13271 h 539612"/>
              <a:gd name="connsiteX3" fmla="*/ 1507354 w 1507354"/>
              <a:gd name="connsiteY3" fmla="*/ 295798 h 539612"/>
              <a:gd name="connsiteX4" fmla="*/ 1136789 w 1507354"/>
              <a:gd name="connsiteY4" fmla="*/ 464409 h 539612"/>
              <a:gd name="connsiteX5" fmla="*/ 450815 w 1507354"/>
              <a:gd name="connsiteY5" fmla="*/ 418748 h 539612"/>
              <a:gd name="connsiteX6" fmla="*/ 168056 w 1507354"/>
              <a:gd name="connsiteY6" fmla="*/ 534617 h 539612"/>
              <a:gd name="connsiteX7" fmla="*/ 850 w 1507354"/>
              <a:gd name="connsiteY7" fmla="*/ 298567 h 539612"/>
              <a:gd name="connsiteX0" fmla="*/ 4277 w 1510781"/>
              <a:gd name="connsiteY0" fmla="*/ 298567 h 541820"/>
              <a:gd name="connsiteX1" fmla="*/ 224407 w 1510781"/>
              <a:gd name="connsiteY1" fmla="*/ 63841 h 541820"/>
              <a:gd name="connsiteX2" fmla="*/ 720098 w 1510781"/>
              <a:gd name="connsiteY2" fmla="*/ 13271 h 541820"/>
              <a:gd name="connsiteX3" fmla="*/ 1510781 w 1510781"/>
              <a:gd name="connsiteY3" fmla="*/ 295798 h 541820"/>
              <a:gd name="connsiteX4" fmla="*/ 1140216 w 1510781"/>
              <a:gd name="connsiteY4" fmla="*/ 464409 h 541820"/>
              <a:gd name="connsiteX5" fmla="*/ 171483 w 1510781"/>
              <a:gd name="connsiteY5" fmla="*/ 534617 h 541820"/>
              <a:gd name="connsiteX6" fmla="*/ 4277 w 1510781"/>
              <a:gd name="connsiteY6" fmla="*/ 298567 h 541820"/>
              <a:gd name="connsiteX0" fmla="*/ 17274 w 1532323"/>
              <a:gd name="connsiteY0" fmla="*/ 298567 h 534618"/>
              <a:gd name="connsiteX1" fmla="*/ 237404 w 1532323"/>
              <a:gd name="connsiteY1" fmla="*/ 63841 h 534618"/>
              <a:gd name="connsiteX2" fmla="*/ 733095 w 1532323"/>
              <a:gd name="connsiteY2" fmla="*/ 13271 h 534618"/>
              <a:gd name="connsiteX3" fmla="*/ 1523778 w 1532323"/>
              <a:gd name="connsiteY3" fmla="*/ 295798 h 534618"/>
              <a:gd name="connsiteX4" fmla="*/ 184480 w 1532323"/>
              <a:gd name="connsiteY4" fmla="*/ 534617 h 534618"/>
              <a:gd name="connsiteX5" fmla="*/ 17274 w 1532323"/>
              <a:gd name="connsiteY5" fmla="*/ 298567 h 534618"/>
              <a:gd name="connsiteX0" fmla="*/ 21576 w 1528094"/>
              <a:gd name="connsiteY0" fmla="*/ 298567 h 558449"/>
              <a:gd name="connsiteX1" fmla="*/ 241706 w 1528094"/>
              <a:gd name="connsiteY1" fmla="*/ 63841 h 558449"/>
              <a:gd name="connsiteX2" fmla="*/ 737397 w 1528094"/>
              <a:gd name="connsiteY2" fmla="*/ 13271 h 558449"/>
              <a:gd name="connsiteX3" fmla="*/ 1528080 w 1528094"/>
              <a:gd name="connsiteY3" fmla="*/ 295798 h 558449"/>
              <a:gd name="connsiteX4" fmla="*/ 756456 w 1528094"/>
              <a:gd name="connsiteY4" fmla="*/ 558449 h 558449"/>
              <a:gd name="connsiteX5" fmla="*/ 21576 w 1528094"/>
              <a:gd name="connsiteY5" fmla="*/ 298567 h 558449"/>
              <a:gd name="connsiteX0" fmla="*/ 17 w 1506535"/>
              <a:gd name="connsiteY0" fmla="*/ 285296 h 545178"/>
              <a:gd name="connsiteX1" fmla="*/ 715838 w 1506535"/>
              <a:gd name="connsiteY1" fmla="*/ 0 h 545178"/>
              <a:gd name="connsiteX2" fmla="*/ 1506521 w 1506535"/>
              <a:gd name="connsiteY2" fmla="*/ 282527 h 545178"/>
              <a:gd name="connsiteX3" fmla="*/ 734897 w 1506535"/>
              <a:gd name="connsiteY3" fmla="*/ 545178 h 545178"/>
              <a:gd name="connsiteX4" fmla="*/ 17 w 1506535"/>
              <a:gd name="connsiteY4" fmla="*/ 285296 h 545178"/>
              <a:gd name="connsiteX0" fmla="*/ 407 w 1507338"/>
              <a:gd name="connsiteY0" fmla="*/ 285296 h 659699"/>
              <a:gd name="connsiteX1" fmla="*/ 716228 w 1507338"/>
              <a:gd name="connsiteY1" fmla="*/ 0 h 659699"/>
              <a:gd name="connsiteX2" fmla="*/ 1506911 w 1507338"/>
              <a:gd name="connsiteY2" fmla="*/ 282527 h 659699"/>
              <a:gd name="connsiteX3" fmla="*/ 814455 w 1507338"/>
              <a:gd name="connsiteY3" fmla="*/ 659699 h 659699"/>
              <a:gd name="connsiteX4" fmla="*/ 407 w 1507338"/>
              <a:gd name="connsiteY4" fmla="*/ 285296 h 659699"/>
              <a:gd name="connsiteX0" fmla="*/ 407 w 1507336"/>
              <a:gd name="connsiteY0" fmla="*/ 285296 h 659699"/>
              <a:gd name="connsiteX1" fmla="*/ 716228 w 1507336"/>
              <a:gd name="connsiteY1" fmla="*/ 0 h 659699"/>
              <a:gd name="connsiteX2" fmla="*/ 1506911 w 1507336"/>
              <a:gd name="connsiteY2" fmla="*/ 282527 h 659699"/>
              <a:gd name="connsiteX3" fmla="*/ 814455 w 1507336"/>
              <a:gd name="connsiteY3" fmla="*/ 659699 h 659699"/>
              <a:gd name="connsiteX4" fmla="*/ 407 w 1507336"/>
              <a:gd name="connsiteY4" fmla="*/ 285296 h 659699"/>
              <a:gd name="connsiteX0" fmla="*/ 407 w 1506935"/>
              <a:gd name="connsiteY0" fmla="*/ 285296 h 659699"/>
              <a:gd name="connsiteX1" fmla="*/ 716228 w 1506935"/>
              <a:gd name="connsiteY1" fmla="*/ 0 h 659699"/>
              <a:gd name="connsiteX2" fmla="*/ 1506911 w 1506935"/>
              <a:gd name="connsiteY2" fmla="*/ 282527 h 659699"/>
              <a:gd name="connsiteX3" fmla="*/ 814455 w 1506935"/>
              <a:gd name="connsiteY3" fmla="*/ 659699 h 659699"/>
              <a:gd name="connsiteX4" fmla="*/ 407 w 1506935"/>
              <a:gd name="connsiteY4" fmla="*/ 285296 h 659699"/>
              <a:gd name="connsiteX0" fmla="*/ 409 w 1506937"/>
              <a:gd name="connsiteY0" fmla="*/ 285634 h 660037"/>
              <a:gd name="connsiteX1" fmla="*/ 716230 w 1506937"/>
              <a:gd name="connsiteY1" fmla="*/ 338 h 660037"/>
              <a:gd name="connsiteX2" fmla="*/ 1506913 w 1506937"/>
              <a:gd name="connsiteY2" fmla="*/ 282865 h 660037"/>
              <a:gd name="connsiteX3" fmla="*/ 814457 w 1506937"/>
              <a:gd name="connsiteY3" fmla="*/ 660037 h 660037"/>
              <a:gd name="connsiteX4" fmla="*/ 409 w 1506937"/>
              <a:gd name="connsiteY4" fmla="*/ 285634 h 660037"/>
              <a:gd name="connsiteX0" fmla="*/ 37 w 1506565"/>
              <a:gd name="connsiteY0" fmla="*/ 285634 h 660038"/>
              <a:gd name="connsiteX1" fmla="*/ 715858 w 1506565"/>
              <a:gd name="connsiteY1" fmla="*/ 338 h 660038"/>
              <a:gd name="connsiteX2" fmla="*/ 1506541 w 1506565"/>
              <a:gd name="connsiteY2" fmla="*/ 282865 h 660038"/>
              <a:gd name="connsiteX3" fmla="*/ 814085 w 1506565"/>
              <a:gd name="connsiteY3" fmla="*/ 660037 h 660038"/>
              <a:gd name="connsiteX4" fmla="*/ 37 w 1506565"/>
              <a:gd name="connsiteY4" fmla="*/ 285634 h 660038"/>
              <a:gd name="connsiteX0" fmla="*/ 37 w 1498048"/>
              <a:gd name="connsiteY0" fmla="*/ 362513 h 665045"/>
              <a:gd name="connsiteX1" fmla="*/ 707341 w 1498048"/>
              <a:gd name="connsiteY1" fmla="*/ 5342 h 665045"/>
              <a:gd name="connsiteX2" fmla="*/ 1498024 w 1498048"/>
              <a:gd name="connsiteY2" fmla="*/ 287869 h 665045"/>
              <a:gd name="connsiteX3" fmla="*/ 805568 w 1498048"/>
              <a:gd name="connsiteY3" fmla="*/ 665041 h 665045"/>
              <a:gd name="connsiteX4" fmla="*/ 37 w 1498048"/>
              <a:gd name="connsiteY4" fmla="*/ 362513 h 665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048" h="665045">
                <a:moveTo>
                  <a:pt x="37" y="362513"/>
                </a:moveTo>
                <a:cubicBezTo>
                  <a:pt x="5310" y="96942"/>
                  <a:pt x="457677" y="17783"/>
                  <a:pt x="707341" y="5342"/>
                </a:cubicBezTo>
                <a:cubicBezTo>
                  <a:pt x="957005" y="-7099"/>
                  <a:pt x="1494166" y="-23994"/>
                  <a:pt x="1498024" y="287869"/>
                </a:cubicBezTo>
                <a:cubicBezTo>
                  <a:pt x="1501882" y="599732"/>
                  <a:pt x="1054522" y="646611"/>
                  <a:pt x="805568" y="665041"/>
                </a:cubicBezTo>
                <a:cubicBezTo>
                  <a:pt x="554484" y="665503"/>
                  <a:pt x="-5236" y="628084"/>
                  <a:pt x="37" y="362513"/>
                </a:cubicBezTo>
                <a:close/>
              </a:path>
            </a:pathLst>
          </a:custGeom>
          <a:noFill/>
          <a:ln w="22225" cap="flat" cmpd="sng" algn="ctr">
            <a:solidFill>
              <a:srgbClr val="15935A"/>
            </a:solid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endParaRPr kumimoji="0" lang="de-DE"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273" name="Straight Connector 63"/>
          <p:cNvCxnSpPr>
            <a:cxnSpLocks/>
          </p:cNvCxnSpPr>
          <p:nvPr/>
        </p:nvCxnSpPr>
        <p:spPr bwMode="auto">
          <a:xfrm flipH="1">
            <a:off x="2906913" y="4647323"/>
            <a:ext cx="6813" cy="0"/>
          </a:xfrm>
          <a:prstGeom prst="line">
            <a:avLst/>
          </a:prstGeom>
          <a:solidFill>
            <a:schemeClr val="accent1"/>
          </a:solidFill>
          <a:ln w="9525" cap="flat" cmpd="sng" algn="ctr">
            <a:solidFill>
              <a:schemeClr val="accent4"/>
            </a:solidFill>
            <a:prstDash val="solid"/>
            <a:round/>
            <a:headEnd type="none" w="med" len="med"/>
            <a:tailEnd type="none" w="med" len="med"/>
          </a:ln>
          <a:effectLst/>
        </p:spPr>
      </p:cxnSp>
      <p:sp>
        <p:nvSpPr>
          <p:cNvPr id="274" name="Freeform 93"/>
          <p:cNvSpPr/>
          <p:nvPr/>
        </p:nvSpPr>
        <p:spPr bwMode="auto">
          <a:xfrm rot="6150560" flipH="1">
            <a:off x="2130677" y="2612075"/>
            <a:ext cx="782090" cy="912801"/>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9853"/>
              <a:gd name="connsiteY0" fmla="*/ 0 h 1710816"/>
              <a:gd name="connsiteX1" fmla="*/ 3043291 w 3049853"/>
              <a:gd name="connsiteY1" fmla="*/ 1710816 h 1710816"/>
              <a:gd name="connsiteX0" fmla="*/ 0 w 3012897"/>
              <a:gd name="connsiteY0" fmla="*/ 0 h 1700872"/>
              <a:gd name="connsiteX1" fmla="*/ 3006136 w 3012897"/>
              <a:gd name="connsiteY1" fmla="*/ 1700872 h 1700872"/>
              <a:gd name="connsiteX0" fmla="*/ 0 w 3012358"/>
              <a:gd name="connsiteY0" fmla="*/ 0 h 1700872"/>
              <a:gd name="connsiteX1" fmla="*/ 3006136 w 3012358"/>
              <a:gd name="connsiteY1" fmla="*/ 1700872 h 1700872"/>
              <a:gd name="connsiteX0" fmla="*/ 0 w 3009172"/>
              <a:gd name="connsiteY0" fmla="*/ 0 h 1700872"/>
              <a:gd name="connsiteX1" fmla="*/ 3006136 w 3009172"/>
              <a:gd name="connsiteY1" fmla="*/ 1700872 h 1700872"/>
              <a:gd name="connsiteX0" fmla="*/ 0 w 3011188"/>
              <a:gd name="connsiteY0" fmla="*/ 0 h 1700872"/>
              <a:gd name="connsiteX1" fmla="*/ 3006136 w 3011188"/>
              <a:gd name="connsiteY1" fmla="*/ 1700872 h 1700872"/>
              <a:gd name="connsiteX0" fmla="*/ 0 w 1265872"/>
              <a:gd name="connsiteY0" fmla="*/ 231846 h 231890"/>
              <a:gd name="connsiteX1" fmla="*/ 1024598 w 1265872"/>
              <a:gd name="connsiteY1" fmla="*/ 215725 h 231890"/>
              <a:gd name="connsiteX0" fmla="*/ 0 w 1089071"/>
              <a:gd name="connsiteY0" fmla="*/ 43894 h 44136"/>
              <a:gd name="connsiteX1" fmla="*/ 1024598 w 1089071"/>
              <a:gd name="connsiteY1" fmla="*/ 27773 h 44136"/>
              <a:gd name="connsiteX0" fmla="*/ 0 w 1024597"/>
              <a:gd name="connsiteY0" fmla="*/ 52170 h 52170"/>
              <a:gd name="connsiteX1" fmla="*/ 1024598 w 1024597"/>
              <a:gd name="connsiteY1" fmla="*/ 36049 h 52170"/>
              <a:gd name="connsiteX0" fmla="*/ 0 w 1024599"/>
              <a:gd name="connsiteY0" fmla="*/ 202860 h 202860"/>
              <a:gd name="connsiteX1" fmla="*/ 1024599 w 1024599"/>
              <a:gd name="connsiteY1" fmla="*/ 14374 h 202860"/>
              <a:gd name="connsiteX0" fmla="*/ 0 w 1024599"/>
              <a:gd name="connsiteY0" fmla="*/ 188486 h 188486"/>
              <a:gd name="connsiteX1" fmla="*/ 1024599 w 1024599"/>
              <a:gd name="connsiteY1" fmla="*/ 0 h 188486"/>
              <a:gd name="connsiteX0" fmla="*/ 0 w 1024599"/>
              <a:gd name="connsiteY0" fmla="*/ 188486 h 188486"/>
              <a:gd name="connsiteX1" fmla="*/ 1024599 w 1024599"/>
              <a:gd name="connsiteY1" fmla="*/ 0 h 188486"/>
              <a:gd name="connsiteX0" fmla="*/ 0 w 4327162"/>
              <a:gd name="connsiteY0" fmla="*/ 188486 h 188486"/>
              <a:gd name="connsiteX1" fmla="*/ 4327162 w 4327162"/>
              <a:gd name="connsiteY1" fmla="*/ 0 h 188486"/>
              <a:gd name="connsiteX0" fmla="*/ 0 w 4327162"/>
              <a:gd name="connsiteY0" fmla="*/ 496341 h 496341"/>
              <a:gd name="connsiteX1" fmla="*/ 4327162 w 4327162"/>
              <a:gd name="connsiteY1" fmla="*/ 307855 h 496341"/>
              <a:gd name="connsiteX0" fmla="*/ 0 w 4327162"/>
              <a:gd name="connsiteY0" fmla="*/ 874372 h 874372"/>
              <a:gd name="connsiteX1" fmla="*/ 4327162 w 4327162"/>
              <a:gd name="connsiteY1" fmla="*/ 685886 h 874372"/>
              <a:gd name="connsiteX0" fmla="*/ 0 w 4327162"/>
              <a:gd name="connsiteY0" fmla="*/ 932499 h 932499"/>
              <a:gd name="connsiteX1" fmla="*/ 4327162 w 4327162"/>
              <a:gd name="connsiteY1" fmla="*/ 744013 h 932499"/>
              <a:gd name="connsiteX0" fmla="*/ 0 w 4327162"/>
              <a:gd name="connsiteY0" fmla="*/ 900717 h 900717"/>
              <a:gd name="connsiteX1" fmla="*/ 4327162 w 4327162"/>
              <a:gd name="connsiteY1" fmla="*/ 712231 h 900717"/>
              <a:gd name="connsiteX0" fmla="*/ 0 w 4327162"/>
              <a:gd name="connsiteY0" fmla="*/ 900717 h 900717"/>
              <a:gd name="connsiteX1" fmla="*/ 4327162 w 4327162"/>
              <a:gd name="connsiteY1" fmla="*/ 712231 h 900717"/>
              <a:gd name="connsiteX0" fmla="*/ 0 w 4327162"/>
              <a:gd name="connsiteY0" fmla="*/ 918648 h 918648"/>
              <a:gd name="connsiteX1" fmla="*/ 4327162 w 4327162"/>
              <a:gd name="connsiteY1" fmla="*/ 730162 h 918648"/>
              <a:gd name="connsiteX0" fmla="*/ 0 w 5599916"/>
              <a:gd name="connsiteY0" fmla="*/ 643023 h 1216923"/>
              <a:gd name="connsiteX1" fmla="*/ 5599916 w 5599916"/>
              <a:gd name="connsiteY1" fmla="*/ 1216923 h 1216923"/>
              <a:gd name="connsiteX0" fmla="*/ 0 w 5599916"/>
              <a:gd name="connsiteY0" fmla="*/ 863522 h 1437422"/>
              <a:gd name="connsiteX1" fmla="*/ 5599916 w 5599916"/>
              <a:gd name="connsiteY1" fmla="*/ 1437422 h 1437422"/>
              <a:gd name="connsiteX0" fmla="*/ 0 w 5599916"/>
              <a:gd name="connsiteY0" fmla="*/ 984252 h 1558152"/>
              <a:gd name="connsiteX1" fmla="*/ 5599916 w 5599916"/>
              <a:gd name="connsiteY1" fmla="*/ 1558152 h 1558152"/>
              <a:gd name="connsiteX0" fmla="*/ 0 w 5599916"/>
              <a:gd name="connsiteY0" fmla="*/ 1001224 h 1575124"/>
              <a:gd name="connsiteX1" fmla="*/ 5599916 w 5599916"/>
              <a:gd name="connsiteY1" fmla="*/ 1575124 h 1575124"/>
              <a:gd name="connsiteX0" fmla="*/ 0 w 778662"/>
              <a:gd name="connsiteY0" fmla="*/ 1354876 h 1354876"/>
              <a:gd name="connsiteX1" fmla="*/ 234769 w 778662"/>
              <a:gd name="connsiteY1" fmla="*/ 1149153 h 1354876"/>
              <a:gd name="connsiteX0" fmla="*/ 0 w 935096"/>
              <a:gd name="connsiteY0" fmla="*/ 808798 h 808798"/>
              <a:gd name="connsiteX1" fmla="*/ 234769 w 935096"/>
              <a:gd name="connsiteY1" fmla="*/ 603075 h 808798"/>
              <a:gd name="connsiteX0" fmla="*/ 0 w 907643"/>
              <a:gd name="connsiteY0" fmla="*/ 790190 h 790190"/>
              <a:gd name="connsiteX1" fmla="*/ 130338 w 907643"/>
              <a:gd name="connsiteY1" fmla="*/ 648110 h 790190"/>
              <a:gd name="connsiteX0" fmla="*/ 0 w 928079"/>
              <a:gd name="connsiteY0" fmla="*/ 797069 h 797069"/>
              <a:gd name="connsiteX1" fmla="*/ 208661 w 928079"/>
              <a:gd name="connsiteY1" fmla="*/ 631123 h 797069"/>
              <a:gd name="connsiteX0" fmla="*/ 0 w 208662"/>
              <a:gd name="connsiteY0" fmla="*/ 165946 h 165946"/>
              <a:gd name="connsiteX1" fmla="*/ 208661 w 208662"/>
              <a:gd name="connsiteY1" fmla="*/ 0 h 165946"/>
              <a:gd name="connsiteX0" fmla="*/ 0 w 241295"/>
              <a:gd name="connsiteY0" fmla="*/ 175890 h 175890"/>
              <a:gd name="connsiteX1" fmla="*/ 241296 w 241295"/>
              <a:gd name="connsiteY1" fmla="*/ 0 h 175890"/>
              <a:gd name="connsiteX0" fmla="*/ 6942 w 248238"/>
              <a:gd name="connsiteY0" fmla="*/ 175890 h 175890"/>
              <a:gd name="connsiteX1" fmla="*/ 248238 w 248238"/>
              <a:gd name="connsiteY1" fmla="*/ 0 h 175890"/>
              <a:gd name="connsiteX0" fmla="*/ 8926 w 225747"/>
              <a:gd name="connsiteY0" fmla="*/ 153516 h 153516"/>
              <a:gd name="connsiteX1" fmla="*/ 225747 w 225747"/>
              <a:gd name="connsiteY1" fmla="*/ 0 h 153516"/>
              <a:gd name="connsiteX0" fmla="*/ 7514 w 240653"/>
              <a:gd name="connsiteY0" fmla="*/ 170918 h 170918"/>
              <a:gd name="connsiteX1" fmla="*/ 240653 w 240653"/>
              <a:gd name="connsiteY1" fmla="*/ 0 h 170918"/>
              <a:gd name="connsiteX0" fmla="*/ 18240 w 251379"/>
              <a:gd name="connsiteY0" fmla="*/ 170918 h 170918"/>
              <a:gd name="connsiteX1" fmla="*/ 251379 w 251379"/>
              <a:gd name="connsiteY1" fmla="*/ 0 h 170918"/>
              <a:gd name="connsiteX0" fmla="*/ 18240 w 251379"/>
              <a:gd name="connsiteY0" fmla="*/ 158488 h 158488"/>
              <a:gd name="connsiteX1" fmla="*/ 251379 w 251379"/>
              <a:gd name="connsiteY1" fmla="*/ 0 h 158488"/>
              <a:gd name="connsiteX0" fmla="*/ 17341 w 258639"/>
              <a:gd name="connsiteY0" fmla="*/ 160974 h 160974"/>
              <a:gd name="connsiteX1" fmla="*/ 258640 w 258639"/>
              <a:gd name="connsiteY1" fmla="*/ 0 h 160974"/>
              <a:gd name="connsiteX0" fmla="*/ 14278 w 255578"/>
              <a:gd name="connsiteY0" fmla="*/ 163066 h 163066"/>
              <a:gd name="connsiteX1" fmla="*/ 255577 w 255578"/>
              <a:gd name="connsiteY1" fmla="*/ 2092 h 163066"/>
              <a:gd name="connsiteX0" fmla="*/ 14278 w 255576"/>
              <a:gd name="connsiteY0" fmla="*/ 165919 h 165919"/>
              <a:gd name="connsiteX1" fmla="*/ 255577 w 255576"/>
              <a:gd name="connsiteY1" fmla="*/ 4945 h 165919"/>
              <a:gd name="connsiteX0" fmla="*/ 15719 w 257018"/>
              <a:gd name="connsiteY0" fmla="*/ 166082 h 166082"/>
              <a:gd name="connsiteX1" fmla="*/ 257018 w 257018"/>
              <a:gd name="connsiteY1" fmla="*/ 5108 h 166082"/>
              <a:gd name="connsiteX0" fmla="*/ 16029 w 257328"/>
              <a:gd name="connsiteY0" fmla="*/ 164225 h 164225"/>
              <a:gd name="connsiteX1" fmla="*/ 257328 w 257328"/>
              <a:gd name="connsiteY1" fmla="*/ 3251 h 164225"/>
              <a:gd name="connsiteX0" fmla="*/ 15126 w 256425"/>
              <a:gd name="connsiteY0" fmla="*/ 164814 h 164814"/>
              <a:gd name="connsiteX1" fmla="*/ 256425 w 256425"/>
              <a:gd name="connsiteY1" fmla="*/ 3840 h 164814"/>
              <a:gd name="connsiteX0" fmla="*/ 41402 w 135844"/>
              <a:gd name="connsiteY0" fmla="*/ 32128 h 57606"/>
              <a:gd name="connsiteX1" fmla="*/ 135844 w 135844"/>
              <a:gd name="connsiteY1" fmla="*/ 57607 h 57606"/>
              <a:gd name="connsiteX0" fmla="*/ 288769 w 288769"/>
              <a:gd name="connsiteY0" fmla="*/ 16967 h 159290"/>
              <a:gd name="connsiteX1" fmla="*/ 44626 w 288769"/>
              <a:gd name="connsiteY1" fmla="*/ 159290 h 159290"/>
              <a:gd name="connsiteX0" fmla="*/ 244143 w 244143"/>
              <a:gd name="connsiteY0" fmla="*/ 15076 h 157526"/>
              <a:gd name="connsiteX1" fmla="*/ 0 w 244143"/>
              <a:gd name="connsiteY1" fmla="*/ 157399 h 157526"/>
              <a:gd name="connsiteX0" fmla="*/ 219666 w 219666"/>
              <a:gd name="connsiteY0" fmla="*/ 14805 h 162223"/>
              <a:gd name="connsiteX1" fmla="*/ 0 w 219666"/>
              <a:gd name="connsiteY1" fmla="*/ 162100 h 162223"/>
              <a:gd name="connsiteX0" fmla="*/ 219666 w 247319"/>
              <a:gd name="connsiteY0" fmla="*/ 0 h 147529"/>
              <a:gd name="connsiteX1" fmla="*/ 0 w 247319"/>
              <a:gd name="connsiteY1" fmla="*/ 147295 h 147529"/>
              <a:gd name="connsiteX0" fmla="*/ 227824 w 254399"/>
              <a:gd name="connsiteY0" fmla="*/ 0 h 152492"/>
              <a:gd name="connsiteX1" fmla="*/ 0 w 254399"/>
              <a:gd name="connsiteY1" fmla="*/ 152268 h 152492"/>
              <a:gd name="connsiteX0" fmla="*/ 227824 w 253476"/>
              <a:gd name="connsiteY0" fmla="*/ 0 h 154921"/>
              <a:gd name="connsiteX1" fmla="*/ 0 w 253476"/>
              <a:gd name="connsiteY1" fmla="*/ 152268 h 154921"/>
              <a:gd name="connsiteX0" fmla="*/ 227824 w 261726"/>
              <a:gd name="connsiteY0" fmla="*/ 0 h 155188"/>
              <a:gd name="connsiteX1" fmla="*/ 0 w 261726"/>
              <a:gd name="connsiteY1" fmla="*/ 152268 h 155188"/>
              <a:gd name="connsiteX0" fmla="*/ 0 w 1622463"/>
              <a:gd name="connsiteY0" fmla="*/ 81420 h 94627"/>
              <a:gd name="connsiteX1" fmla="*/ 1607873 w 1622463"/>
              <a:gd name="connsiteY1" fmla="*/ 0 h 94627"/>
              <a:gd name="connsiteX0" fmla="*/ 0 w 1607873"/>
              <a:gd name="connsiteY0" fmla="*/ 90497 h 99366"/>
              <a:gd name="connsiteX1" fmla="*/ 1607873 w 1607873"/>
              <a:gd name="connsiteY1" fmla="*/ 9077 h 99366"/>
              <a:gd name="connsiteX0" fmla="*/ 0 w 1591556"/>
              <a:gd name="connsiteY0" fmla="*/ 104820 h 113107"/>
              <a:gd name="connsiteX1" fmla="*/ 1591556 w 1591556"/>
              <a:gd name="connsiteY1" fmla="*/ 8483 h 113107"/>
              <a:gd name="connsiteX0" fmla="*/ 0 w 1591556"/>
              <a:gd name="connsiteY0" fmla="*/ 117229 h 124320"/>
              <a:gd name="connsiteX1" fmla="*/ 1591556 w 1591556"/>
              <a:gd name="connsiteY1" fmla="*/ 20892 h 124320"/>
              <a:gd name="connsiteX0" fmla="*/ 0 w 1591556"/>
              <a:gd name="connsiteY0" fmla="*/ 113613 h 140106"/>
              <a:gd name="connsiteX1" fmla="*/ 1591556 w 1591556"/>
              <a:gd name="connsiteY1" fmla="*/ 17276 h 140106"/>
              <a:gd name="connsiteX0" fmla="*/ 0 w 1591556"/>
              <a:gd name="connsiteY0" fmla="*/ 118345 h 144487"/>
              <a:gd name="connsiteX1" fmla="*/ 1591556 w 1591556"/>
              <a:gd name="connsiteY1" fmla="*/ 17036 h 144487"/>
              <a:gd name="connsiteX0" fmla="*/ 0 w 1591556"/>
              <a:gd name="connsiteY0" fmla="*/ 117486 h 150580"/>
              <a:gd name="connsiteX1" fmla="*/ 1591556 w 1591556"/>
              <a:gd name="connsiteY1" fmla="*/ 16177 h 150580"/>
              <a:gd name="connsiteX0" fmla="*/ 0 w 1069402"/>
              <a:gd name="connsiteY0" fmla="*/ 0 h 77685"/>
              <a:gd name="connsiteX1" fmla="*/ 1069402 w 1069402"/>
              <a:gd name="connsiteY1" fmla="*/ 77686 h 77685"/>
              <a:gd name="connsiteX0" fmla="*/ 0 w 1069402"/>
              <a:gd name="connsiteY0" fmla="*/ 0 h 77686"/>
              <a:gd name="connsiteX1" fmla="*/ 1069402 w 1069402"/>
              <a:gd name="connsiteY1" fmla="*/ 77686 h 77686"/>
              <a:gd name="connsiteX0" fmla="*/ 0 w 1069402"/>
              <a:gd name="connsiteY0" fmla="*/ 0 h 77686"/>
              <a:gd name="connsiteX1" fmla="*/ 1069402 w 1069402"/>
              <a:gd name="connsiteY1" fmla="*/ 77686 h 77686"/>
              <a:gd name="connsiteX0" fmla="*/ 0 w 1028610"/>
              <a:gd name="connsiteY0" fmla="*/ 0 h 102546"/>
              <a:gd name="connsiteX1" fmla="*/ 1028610 w 1028610"/>
              <a:gd name="connsiteY1" fmla="*/ 102546 h 102546"/>
              <a:gd name="connsiteX0" fmla="*/ 0 w 1028610"/>
              <a:gd name="connsiteY0" fmla="*/ 0 h 102546"/>
              <a:gd name="connsiteX1" fmla="*/ 1028610 w 1028610"/>
              <a:gd name="connsiteY1" fmla="*/ 102546 h 102546"/>
              <a:gd name="connsiteX0" fmla="*/ 0 w 1028610"/>
              <a:gd name="connsiteY0" fmla="*/ 0 h 102546"/>
              <a:gd name="connsiteX1" fmla="*/ 1028610 w 1028610"/>
              <a:gd name="connsiteY1" fmla="*/ 102546 h 102546"/>
              <a:gd name="connsiteX0" fmla="*/ 0 w 1004133"/>
              <a:gd name="connsiteY0" fmla="*/ 0 h 105032"/>
              <a:gd name="connsiteX1" fmla="*/ 1004133 w 1004133"/>
              <a:gd name="connsiteY1" fmla="*/ 105032 h 105032"/>
              <a:gd name="connsiteX0" fmla="*/ 0 w 1004133"/>
              <a:gd name="connsiteY0" fmla="*/ 0 h 105032"/>
              <a:gd name="connsiteX1" fmla="*/ 1004133 w 1004133"/>
              <a:gd name="connsiteY1" fmla="*/ 105032 h 105032"/>
              <a:gd name="connsiteX0" fmla="*/ 0 w 893991"/>
              <a:gd name="connsiteY0" fmla="*/ 0 h 433188"/>
              <a:gd name="connsiteX1" fmla="*/ 893991 w 893991"/>
              <a:gd name="connsiteY1" fmla="*/ 433188 h 433188"/>
              <a:gd name="connsiteX0" fmla="*/ 0 w 934785"/>
              <a:gd name="connsiteY0" fmla="*/ 0 h 433188"/>
              <a:gd name="connsiteX1" fmla="*/ 934785 w 934785"/>
              <a:gd name="connsiteY1" fmla="*/ 433188 h 433188"/>
              <a:gd name="connsiteX0" fmla="*/ 0 w 934785"/>
              <a:gd name="connsiteY0" fmla="*/ 0 h 433188"/>
              <a:gd name="connsiteX1" fmla="*/ 934785 w 934785"/>
              <a:gd name="connsiteY1" fmla="*/ 433188 h 433188"/>
              <a:gd name="connsiteX0" fmla="*/ 0 w 820564"/>
              <a:gd name="connsiteY0" fmla="*/ 0 h 482909"/>
              <a:gd name="connsiteX1" fmla="*/ 820564 w 820564"/>
              <a:gd name="connsiteY1" fmla="*/ 482909 h 482909"/>
              <a:gd name="connsiteX0" fmla="*/ 0 w 820564"/>
              <a:gd name="connsiteY0" fmla="*/ 0 h 482909"/>
              <a:gd name="connsiteX1" fmla="*/ 820564 w 820564"/>
              <a:gd name="connsiteY1" fmla="*/ 482909 h 482909"/>
              <a:gd name="connsiteX0" fmla="*/ 0 w 2493088"/>
              <a:gd name="connsiteY0" fmla="*/ 0 h 756373"/>
              <a:gd name="connsiteX1" fmla="*/ 2493088 w 2493088"/>
              <a:gd name="connsiteY1" fmla="*/ 756373 h 756373"/>
              <a:gd name="connsiteX0" fmla="*/ 0 w 2493088"/>
              <a:gd name="connsiteY0" fmla="*/ 0 h 756373"/>
              <a:gd name="connsiteX1" fmla="*/ 2493088 w 2493088"/>
              <a:gd name="connsiteY1" fmla="*/ 756373 h 756373"/>
              <a:gd name="connsiteX0" fmla="*/ 0 w 2482210"/>
              <a:gd name="connsiteY0" fmla="*/ 0 h 772947"/>
              <a:gd name="connsiteX1" fmla="*/ 2482210 w 2482210"/>
              <a:gd name="connsiteY1" fmla="*/ 772947 h 772947"/>
              <a:gd name="connsiteX0" fmla="*/ 0 w 2221133"/>
              <a:gd name="connsiteY0" fmla="*/ 0 h 1377550"/>
              <a:gd name="connsiteX1" fmla="*/ 2221133 w 2221133"/>
              <a:gd name="connsiteY1" fmla="*/ 1377550 h 1377550"/>
              <a:gd name="connsiteX0" fmla="*/ 0 w 2221133"/>
              <a:gd name="connsiteY0" fmla="*/ 0 h 1377550"/>
              <a:gd name="connsiteX1" fmla="*/ 2221133 w 2221133"/>
              <a:gd name="connsiteY1" fmla="*/ 1377550 h 1377550"/>
              <a:gd name="connsiteX0" fmla="*/ 0 w 2273348"/>
              <a:gd name="connsiteY0" fmla="*/ 0 h 1377550"/>
              <a:gd name="connsiteX1" fmla="*/ 2273348 w 2273348"/>
              <a:gd name="connsiteY1" fmla="*/ 1377550 h 1377550"/>
              <a:gd name="connsiteX0" fmla="*/ 0 w 2273348"/>
              <a:gd name="connsiteY0" fmla="*/ 0 h 1377550"/>
              <a:gd name="connsiteX1" fmla="*/ 2273348 w 2273348"/>
              <a:gd name="connsiteY1" fmla="*/ 1377550 h 1377550"/>
              <a:gd name="connsiteX0" fmla="*/ 0 w 2257031"/>
              <a:gd name="connsiteY0" fmla="*/ 0 h 1367606"/>
              <a:gd name="connsiteX1" fmla="*/ 2257031 w 2257031"/>
              <a:gd name="connsiteY1" fmla="*/ 1367606 h 1367606"/>
              <a:gd name="connsiteX0" fmla="*/ 0 w 2257031"/>
              <a:gd name="connsiteY0" fmla="*/ 0 h 1367606"/>
              <a:gd name="connsiteX1" fmla="*/ 2257031 w 2257031"/>
              <a:gd name="connsiteY1" fmla="*/ 1367606 h 1367606"/>
              <a:gd name="connsiteX0" fmla="*/ 0 w 2257031"/>
              <a:gd name="connsiteY0" fmla="*/ 0 h 1367606"/>
              <a:gd name="connsiteX1" fmla="*/ 2257031 w 2257031"/>
              <a:gd name="connsiteY1" fmla="*/ 1367606 h 1367606"/>
              <a:gd name="connsiteX0" fmla="*/ 0 w 2518108"/>
              <a:gd name="connsiteY0" fmla="*/ 0 h 1712336"/>
              <a:gd name="connsiteX1" fmla="*/ 2518108 w 2518108"/>
              <a:gd name="connsiteY1" fmla="*/ 1712336 h 1712336"/>
              <a:gd name="connsiteX0" fmla="*/ 0 w 2518108"/>
              <a:gd name="connsiteY0" fmla="*/ 0 h 1712336"/>
              <a:gd name="connsiteX1" fmla="*/ 2518108 w 2518108"/>
              <a:gd name="connsiteY1" fmla="*/ 1712336 h 1712336"/>
              <a:gd name="connsiteX0" fmla="*/ 0 w 2518108"/>
              <a:gd name="connsiteY0" fmla="*/ 0 h 1712336"/>
              <a:gd name="connsiteX1" fmla="*/ 2518108 w 2518108"/>
              <a:gd name="connsiteY1" fmla="*/ 1712336 h 1712336"/>
              <a:gd name="connsiteX0" fmla="*/ 0 w 2561621"/>
              <a:gd name="connsiteY0" fmla="*/ 0 h 1705707"/>
              <a:gd name="connsiteX1" fmla="*/ 2561621 w 2561621"/>
              <a:gd name="connsiteY1" fmla="*/ 1705707 h 1705707"/>
              <a:gd name="connsiteX0" fmla="*/ 0 w 3094653"/>
              <a:gd name="connsiteY0" fmla="*/ 0 h 1838295"/>
              <a:gd name="connsiteX1" fmla="*/ 3094653 w 3094653"/>
              <a:gd name="connsiteY1" fmla="*/ 1838295 h 1838295"/>
              <a:gd name="connsiteX0" fmla="*/ 0 w 3094653"/>
              <a:gd name="connsiteY0" fmla="*/ 0 h 1838295"/>
              <a:gd name="connsiteX1" fmla="*/ 3094653 w 3094653"/>
              <a:gd name="connsiteY1" fmla="*/ 1838295 h 1838295"/>
              <a:gd name="connsiteX0" fmla="*/ 0 w 3062018"/>
              <a:gd name="connsiteY0" fmla="*/ 0 h 1818407"/>
              <a:gd name="connsiteX1" fmla="*/ 3062018 w 3062018"/>
              <a:gd name="connsiteY1" fmla="*/ 1818407 h 1818407"/>
              <a:gd name="connsiteX0" fmla="*/ 0 w 3062018"/>
              <a:gd name="connsiteY0" fmla="*/ 0 h 1818407"/>
              <a:gd name="connsiteX1" fmla="*/ 3062018 w 3062018"/>
              <a:gd name="connsiteY1" fmla="*/ 1818407 h 1818407"/>
              <a:gd name="connsiteX0" fmla="*/ 0 w 3121356"/>
              <a:gd name="connsiteY0" fmla="*/ 0 h 1858986"/>
              <a:gd name="connsiteX1" fmla="*/ 3121356 w 3121356"/>
              <a:gd name="connsiteY1" fmla="*/ 1858986 h 1858986"/>
              <a:gd name="connsiteX0" fmla="*/ 0 w 3143961"/>
              <a:gd name="connsiteY0" fmla="*/ 0 h 1858986"/>
              <a:gd name="connsiteX1" fmla="*/ 3143961 w 3143961"/>
              <a:gd name="connsiteY1" fmla="*/ 1858986 h 1858986"/>
              <a:gd name="connsiteX0" fmla="*/ 0 w 3143961"/>
              <a:gd name="connsiteY0" fmla="*/ 0 h 1858986"/>
              <a:gd name="connsiteX1" fmla="*/ 3143961 w 3143961"/>
              <a:gd name="connsiteY1" fmla="*/ 1858986 h 1858986"/>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77828"/>
              <a:gd name="connsiteX1" fmla="*/ 2680568 w 2680568"/>
              <a:gd name="connsiteY1" fmla="*/ 1777828 h 1777828"/>
              <a:gd name="connsiteX0" fmla="*/ 0 w 1561644"/>
              <a:gd name="connsiteY0" fmla="*/ 0 h 1507302"/>
              <a:gd name="connsiteX1" fmla="*/ 1561644 w 1561644"/>
              <a:gd name="connsiteY1" fmla="*/ 1507302 h 1507302"/>
              <a:gd name="connsiteX0" fmla="*/ 0 w 1561644"/>
              <a:gd name="connsiteY0" fmla="*/ 0 h 1507302"/>
              <a:gd name="connsiteX1" fmla="*/ 1561644 w 1561644"/>
              <a:gd name="connsiteY1" fmla="*/ 1507302 h 1507302"/>
              <a:gd name="connsiteX0" fmla="*/ 0 w 1561644"/>
              <a:gd name="connsiteY0" fmla="*/ 0 h 1507302"/>
              <a:gd name="connsiteX1" fmla="*/ 1561644 w 1561644"/>
              <a:gd name="connsiteY1" fmla="*/ 1507302 h 1507302"/>
              <a:gd name="connsiteX0" fmla="*/ 0 w 1539039"/>
              <a:gd name="connsiteY0" fmla="*/ 0 h 1500539"/>
              <a:gd name="connsiteX1" fmla="*/ 1539039 w 1539039"/>
              <a:gd name="connsiteY1" fmla="*/ 1500539 h 1500539"/>
              <a:gd name="connsiteX0" fmla="*/ 0 w 1528011"/>
              <a:gd name="connsiteY0" fmla="*/ 0 h 1490461"/>
              <a:gd name="connsiteX1" fmla="*/ 1528011 w 1528011"/>
              <a:gd name="connsiteY1" fmla="*/ 1490461 h 1490461"/>
              <a:gd name="connsiteX0" fmla="*/ 0 w 1528011"/>
              <a:gd name="connsiteY0" fmla="*/ 0 h 1490461"/>
              <a:gd name="connsiteX1" fmla="*/ 1528011 w 1528011"/>
              <a:gd name="connsiteY1" fmla="*/ 1490461 h 1490461"/>
              <a:gd name="connsiteX0" fmla="*/ 3080799 w 3090213"/>
              <a:gd name="connsiteY0" fmla="*/ 0 h 2226950"/>
              <a:gd name="connsiteX1" fmla="*/ 78511 w 3090213"/>
              <a:gd name="connsiteY1" fmla="*/ 2226950 h 2226950"/>
              <a:gd name="connsiteX0" fmla="*/ 3321263 w 3321263"/>
              <a:gd name="connsiteY0" fmla="*/ 267285 h 2494235"/>
              <a:gd name="connsiteX1" fmla="*/ 318975 w 3321263"/>
              <a:gd name="connsiteY1" fmla="*/ 2494235 h 2494235"/>
              <a:gd name="connsiteX0" fmla="*/ 5023856 w 5023856"/>
              <a:gd name="connsiteY0" fmla="*/ 776106 h 776106"/>
              <a:gd name="connsiteX1" fmla="*/ 128627 w 5023856"/>
              <a:gd name="connsiteY1" fmla="*/ 351698 h 776106"/>
              <a:gd name="connsiteX0" fmla="*/ 4895228 w 4895228"/>
              <a:gd name="connsiteY0" fmla="*/ 761159 h 761159"/>
              <a:gd name="connsiteX1" fmla="*/ -1 w 4895228"/>
              <a:gd name="connsiteY1" fmla="*/ 336751 h 761159"/>
              <a:gd name="connsiteX0" fmla="*/ 5171732 w 5171732"/>
              <a:gd name="connsiteY0" fmla="*/ 754664 h 754664"/>
              <a:gd name="connsiteX1" fmla="*/ 0 w 5171732"/>
              <a:gd name="connsiteY1" fmla="*/ 343645 h 754664"/>
              <a:gd name="connsiteX0" fmla="*/ 5171732 w 5171732"/>
              <a:gd name="connsiteY0" fmla="*/ 835843 h 835843"/>
              <a:gd name="connsiteX1" fmla="*/ 0 w 5171732"/>
              <a:gd name="connsiteY1" fmla="*/ 424824 h 835843"/>
              <a:gd name="connsiteX0" fmla="*/ 5171732 w 5171732"/>
              <a:gd name="connsiteY0" fmla="*/ 709665 h 709665"/>
              <a:gd name="connsiteX1" fmla="*/ 0 w 5171732"/>
              <a:gd name="connsiteY1" fmla="*/ 298646 h 709665"/>
              <a:gd name="connsiteX0" fmla="*/ 5320608 w 5320608"/>
              <a:gd name="connsiteY0" fmla="*/ 692367 h 692367"/>
              <a:gd name="connsiteX1" fmla="*/ 0 w 5320608"/>
              <a:gd name="connsiteY1" fmla="*/ 308133 h 692367"/>
              <a:gd name="connsiteX0" fmla="*/ 5320608 w 5320608"/>
              <a:gd name="connsiteY0" fmla="*/ 703884 h 703884"/>
              <a:gd name="connsiteX1" fmla="*/ 0 w 5320608"/>
              <a:gd name="connsiteY1" fmla="*/ 319650 h 703884"/>
              <a:gd name="connsiteX0" fmla="*/ 2889934 w 2889938"/>
              <a:gd name="connsiteY0" fmla="*/ 251649 h 1263062"/>
              <a:gd name="connsiteX1" fmla="*/ 0 w 2889938"/>
              <a:gd name="connsiteY1" fmla="*/ 1263061 h 1263062"/>
              <a:gd name="connsiteX0" fmla="*/ 2889934 w 2889938"/>
              <a:gd name="connsiteY0" fmla="*/ 1 h 1011414"/>
              <a:gd name="connsiteX1" fmla="*/ 0 w 2889938"/>
              <a:gd name="connsiteY1" fmla="*/ 1011413 h 1011414"/>
              <a:gd name="connsiteX0" fmla="*/ 752739 w 752743"/>
              <a:gd name="connsiteY0" fmla="*/ 1 h 1935252"/>
              <a:gd name="connsiteX1" fmla="*/ 3 w 752743"/>
              <a:gd name="connsiteY1" fmla="*/ 1935252 h 1935252"/>
              <a:gd name="connsiteX0" fmla="*/ 1160558 w 1160562"/>
              <a:gd name="connsiteY0" fmla="*/ 1 h 1935252"/>
              <a:gd name="connsiteX1" fmla="*/ 407822 w 1160562"/>
              <a:gd name="connsiteY1" fmla="*/ 1935252 h 1935252"/>
              <a:gd name="connsiteX0" fmla="*/ 1205658 w 1205662"/>
              <a:gd name="connsiteY0" fmla="*/ 1 h 1862610"/>
              <a:gd name="connsiteX1" fmla="*/ 384793 w 1205662"/>
              <a:gd name="connsiteY1" fmla="*/ 1862612 h 1862610"/>
              <a:gd name="connsiteX0" fmla="*/ 1190716 w 1190720"/>
              <a:gd name="connsiteY0" fmla="*/ 1 h 1883273"/>
              <a:gd name="connsiteX1" fmla="*/ 392148 w 1190720"/>
              <a:gd name="connsiteY1" fmla="*/ 1883273 h 1883273"/>
              <a:gd name="connsiteX0" fmla="*/ 1189098 w 1189102"/>
              <a:gd name="connsiteY0" fmla="*/ 1 h 1883273"/>
              <a:gd name="connsiteX1" fmla="*/ 390530 w 1189102"/>
              <a:gd name="connsiteY1" fmla="*/ 1883273 h 1883273"/>
              <a:gd name="connsiteX0" fmla="*/ 1164575 w 1164575"/>
              <a:gd name="connsiteY0" fmla="*/ 0 h 1860619"/>
              <a:gd name="connsiteX1" fmla="*/ 403194 w 1164575"/>
              <a:gd name="connsiteY1" fmla="*/ 1860619 h 1860619"/>
              <a:gd name="connsiteX0" fmla="*/ 1164909 w 1164909"/>
              <a:gd name="connsiteY0" fmla="*/ 0 h 1860619"/>
              <a:gd name="connsiteX1" fmla="*/ 403528 w 1164909"/>
              <a:gd name="connsiteY1" fmla="*/ 1860619 h 1860619"/>
              <a:gd name="connsiteX0" fmla="*/ 1215490 w 1215490"/>
              <a:gd name="connsiteY0" fmla="*/ 0 h 1860619"/>
              <a:gd name="connsiteX1" fmla="*/ 454109 w 1215490"/>
              <a:gd name="connsiteY1" fmla="*/ 1860619 h 1860619"/>
              <a:gd name="connsiteX0" fmla="*/ 1157822 w 1157826"/>
              <a:gd name="connsiteY0" fmla="*/ 2 h 1943256"/>
              <a:gd name="connsiteX1" fmla="*/ 485627 w 1157826"/>
              <a:gd name="connsiteY1" fmla="*/ 1943256 h 1943256"/>
              <a:gd name="connsiteX0" fmla="*/ 1105906 w 1105910"/>
              <a:gd name="connsiteY0" fmla="*/ 2 h 1943256"/>
              <a:gd name="connsiteX1" fmla="*/ 433711 w 1105910"/>
              <a:gd name="connsiteY1" fmla="*/ 1943256 h 1943256"/>
              <a:gd name="connsiteX0" fmla="*/ 1206089 w 1206088"/>
              <a:gd name="connsiteY0" fmla="*/ -2 h 1848170"/>
              <a:gd name="connsiteX1" fmla="*/ 390188 w 1206088"/>
              <a:gd name="connsiteY1" fmla="*/ 1848170 h 1848170"/>
              <a:gd name="connsiteX0" fmla="*/ 1086473 w 1086472"/>
              <a:gd name="connsiteY0" fmla="*/ -2 h 1848170"/>
              <a:gd name="connsiteX1" fmla="*/ 270572 w 1086472"/>
              <a:gd name="connsiteY1" fmla="*/ 1848170 h 1848170"/>
              <a:gd name="connsiteX0" fmla="*/ 8038878 w 8038877"/>
              <a:gd name="connsiteY0" fmla="*/ -2 h 3615278"/>
              <a:gd name="connsiteX1" fmla="*/ 49728 w 8038877"/>
              <a:gd name="connsiteY1" fmla="*/ 3615276 h 3615278"/>
              <a:gd name="connsiteX0" fmla="*/ 7989148 w 7989147"/>
              <a:gd name="connsiteY0" fmla="*/ -2 h 3615278"/>
              <a:gd name="connsiteX1" fmla="*/ -2 w 7989147"/>
              <a:gd name="connsiteY1" fmla="*/ 3615276 h 3615278"/>
              <a:gd name="connsiteX0" fmla="*/ 7852029 w 7852028"/>
              <a:gd name="connsiteY0" fmla="*/ -2 h 3653503"/>
              <a:gd name="connsiteX1" fmla="*/ 0 w 7852028"/>
              <a:gd name="connsiteY1" fmla="*/ 3653504 h 3653503"/>
              <a:gd name="connsiteX0" fmla="*/ 7852029 w 7852028"/>
              <a:gd name="connsiteY0" fmla="*/ -2 h 3653503"/>
              <a:gd name="connsiteX1" fmla="*/ 0 w 7852028"/>
              <a:gd name="connsiteY1" fmla="*/ 3653504 h 3653503"/>
              <a:gd name="connsiteX0" fmla="*/ 8045309 w 8045309"/>
              <a:gd name="connsiteY0" fmla="*/ 0 h 3588622"/>
              <a:gd name="connsiteX1" fmla="*/ 0 w 8045309"/>
              <a:gd name="connsiteY1" fmla="*/ 3588623 h 3588622"/>
              <a:gd name="connsiteX0" fmla="*/ 8045309 w 8045309"/>
              <a:gd name="connsiteY0" fmla="*/ 0 h 3588622"/>
              <a:gd name="connsiteX1" fmla="*/ 0 w 8045309"/>
              <a:gd name="connsiteY1" fmla="*/ 3588623 h 3588622"/>
              <a:gd name="connsiteX0" fmla="*/ 8045309 w 8045309"/>
              <a:gd name="connsiteY0" fmla="*/ 0 h 3588622"/>
              <a:gd name="connsiteX1" fmla="*/ 0 w 8045309"/>
              <a:gd name="connsiteY1" fmla="*/ 3588623 h 3588622"/>
              <a:gd name="connsiteX0" fmla="*/ 8179140 w 8179141"/>
              <a:gd name="connsiteY0" fmla="*/ 0 h 3578833"/>
              <a:gd name="connsiteX1" fmla="*/ 0 w 8179141"/>
              <a:gd name="connsiteY1" fmla="*/ 3578834 h 3578833"/>
              <a:gd name="connsiteX0" fmla="*/ 8179140 w 8179141"/>
              <a:gd name="connsiteY0" fmla="*/ 0 h 3578833"/>
              <a:gd name="connsiteX1" fmla="*/ 0 w 8179141"/>
              <a:gd name="connsiteY1" fmla="*/ 3578834 h 3578833"/>
              <a:gd name="connsiteX0" fmla="*/ 8288176 w 8288179"/>
              <a:gd name="connsiteY0" fmla="*/ 0 h 3553940"/>
              <a:gd name="connsiteX1" fmla="*/ 0 w 8288179"/>
              <a:gd name="connsiteY1" fmla="*/ 3553941 h 3553940"/>
              <a:gd name="connsiteX0" fmla="*/ 7272561 w 7272556"/>
              <a:gd name="connsiteY0" fmla="*/ 5 h 4095440"/>
              <a:gd name="connsiteX1" fmla="*/ 0 w 7272556"/>
              <a:gd name="connsiteY1" fmla="*/ 4095441 h 4095440"/>
              <a:gd name="connsiteX0" fmla="*/ 7272561 w 7272556"/>
              <a:gd name="connsiteY0" fmla="*/ -5 h 4095430"/>
              <a:gd name="connsiteX1" fmla="*/ 0 w 7272556"/>
              <a:gd name="connsiteY1" fmla="*/ 4095431 h 4095430"/>
              <a:gd name="connsiteX0" fmla="*/ 7555032 w 7555027"/>
              <a:gd name="connsiteY0" fmla="*/ 5 h 3331098"/>
              <a:gd name="connsiteX1" fmla="*/ -4 w 7555027"/>
              <a:gd name="connsiteY1" fmla="*/ 3331099 h 3331098"/>
              <a:gd name="connsiteX0" fmla="*/ 7555032 w 7555027"/>
              <a:gd name="connsiteY0" fmla="*/ -5 h 3331088"/>
              <a:gd name="connsiteX1" fmla="*/ -4 w 7555027"/>
              <a:gd name="connsiteY1" fmla="*/ 3331089 h 3331088"/>
              <a:gd name="connsiteX0" fmla="*/ 7512167 w 7512171"/>
              <a:gd name="connsiteY0" fmla="*/ 4 h 3470468"/>
              <a:gd name="connsiteX1" fmla="*/ -4 w 7512171"/>
              <a:gd name="connsiteY1" fmla="*/ 3470469 h 3470468"/>
              <a:gd name="connsiteX0" fmla="*/ 7668143 w 7668147"/>
              <a:gd name="connsiteY0" fmla="*/ 4 h 3477776"/>
              <a:gd name="connsiteX1" fmla="*/ -4 w 7668147"/>
              <a:gd name="connsiteY1" fmla="*/ 3477779 h 3477776"/>
              <a:gd name="connsiteX0" fmla="*/ 7668143 w 7668147"/>
              <a:gd name="connsiteY0" fmla="*/ 4 h 3477776"/>
              <a:gd name="connsiteX1" fmla="*/ -4 w 7668147"/>
              <a:gd name="connsiteY1" fmla="*/ 3477779 h 3477776"/>
              <a:gd name="connsiteX0" fmla="*/ 7668143 w 7668147"/>
              <a:gd name="connsiteY0" fmla="*/ 0 h 3477776"/>
              <a:gd name="connsiteX1" fmla="*/ 2512931 w 7668147"/>
              <a:gd name="connsiteY1" fmla="*/ 908590 h 3477776"/>
              <a:gd name="connsiteX2" fmla="*/ -4 w 7668147"/>
              <a:gd name="connsiteY2" fmla="*/ 3477775 h 3477776"/>
              <a:gd name="connsiteX0" fmla="*/ 7668143 w 7668147"/>
              <a:gd name="connsiteY0" fmla="*/ 0 h 3477776"/>
              <a:gd name="connsiteX1" fmla="*/ 2512931 w 7668147"/>
              <a:gd name="connsiteY1" fmla="*/ 908590 h 3477776"/>
              <a:gd name="connsiteX2" fmla="*/ -4 w 7668147"/>
              <a:gd name="connsiteY2" fmla="*/ 3477775 h 3477776"/>
              <a:gd name="connsiteX0" fmla="*/ 8204919 w 8204916"/>
              <a:gd name="connsiteY0" fmla="*/ 0 h 3647508"/>
              <a:gd name="connsiteX1" fmla="*/ 2512931 w 8204916"/>
              <a:gd name="connsiteY1" fmla="*/ 1078322 h 3647508"/>
              <a:gd name="connsiteX2" fmla="*/ -4 w 8204916"/>
              <a:gd name="connsiteY2" fmla="*/ 3647507 h 3647508"/>
              <a:gd name="connsiteX0" fmla="*/ 8204919 w 8204916"/>
              <a:gd name="connsiteY0" fmla="*/ 36874 h 3684382"/>
              <a:gd name="connsiteX1" fmla="*/ 2512931 w 8204916"/>
              <a:gd name="connsiteY1" fmla="*/ 1115196 h 3684382"/>
              <a:gd name="connsiteX2" fmla="*/ -4 w 8204916"/>
              <a:gd name="connsiteY2" fmla="*/ 3684381 h 3684382"/>
              <a:gd name="connsiteX0" fmla="*/ 8204919 w 8204916"/>
              <a:gd name="connsiteY0" fmla="*/ 46867 h 3694375"/>
              <a:gd name="connsiteX1" fmla="*/ 2512931 w 8204916"/>
              <a:gd name="connsiteY1" fmla="*/ 1125189 h 3694375"/>
              <a:gd name="connsiteX2" fmla="*/ -4 w 8204916"/>
              <a:gd name="connsiteY2" fmla="*/ 3694374 h 3694375"/>
              <a:gd name="connsiteX0" fmla="*/ 8204919 w 8204916"/>
              <a:gd name="connsiteY0" fmla="*/ 46867 h 3694375"/>
              <a:gd name="connsiteX1" fmla="*/ 2512931 w 8204916"/>
              <a:gd name="connsiteY1" fmla="*/ 1125189 h 3694375"/>
              <a:gd name="connsiteX2" fmla="*/ -4 w 8204916"/>
              <a:gd name="connsiteY2" fmla="*/ 3694374 h 3694375"/>
              <a:gd name="connsiteX0" fmla="*/ 7875663 w 7875666"/>
              <a:gd name="connsiteY0" fmla="*/ 45494 h 3723093"/>
              <a:gd name="connsiteX1" fmla="*/ 2512931 w 7875666"/>
              <a:gd name="connsiteY1" fmla="*/ 1153907 h 3723093"/>
              <a:gd name="connsiteX2" fmla="*/ -4 w 7875666"/>
              <a:gd name="connsiteY2" fmla="*/ 3723092 h 3723093"/>
              <a:gd name="connsiteX0" fmla="*/ 7875663 w 7875666"/>
              <a:gd name="connsiteY0" fmla="*/ -1 h 3677598"/>
              <a:gd name="connsiteX1" fmla="*/ 2512931 w 7875666"/>
              <a:gd name="connsiteY1" fmla="*/ 1108412 h 3677598"/>
              <a:gd name="connsiteX2" fmla="*/ -4 w 7875666"/>
              <a:gd name="connsiteY2" fmla="*/ 3677597 h 3677598"/>
              <a:gd name="connsiteX0" fmla="*/ 7467209 w 7467209"/>
              <a:gd name="connsiteY0" fmla="*/ 1 h 3667492"/>
              <a:gd name="connsiteX1" fmla="*/ 2512931 w 7467209"/>
              <a:gd name="connsiteY1" fmla="*/ 1098306 h 3667492"/>
              <a:gd name="connsiteX2" fmla="*/ -4 w 7467209"/>
              <a:gd name="connsiteY2" fmla="*/ 3667491 h 3667492"/>
              <a:gd name="connsiteX0" fmla="*/ 7467209 w 7467209"/>
              <a:gd name="connsiteY0" fmla="*/ 1 h 3667492"/>
              <a:gd name="connsiteX1" fmla="*/ 3525542 w 7467209"/>
              <a:gd name="connsiteY1" fmla="*/ 1783780 h 3667492"/>
              <a:gd name="connsiteX2" fmla="*/ -4 w 7467209"/>
              <a:gd name="connsiteY2" fmla="*/ 3667491 h 3667492"/>
              <a:gd name="connsiteX0" fmla="*/ 7467213 w 7467209"/>
              <a:gd name="connsiteY0" fmla="*/ 1 h 3667492"/>
              <a:gd name="connsiteX1" fmla="*/ 3525542 w 7467209"/>
              <a:gd name="connsiteY1" fmla="*/ 1783780 h 3667492"/>
              <a:gd name="connsiteX2" fmla="*/ -4 w 7467209"/>
              <a:gd name="connsiteY2" fmla="*/ 3667491 h 3667492"/>
              <a:gd name="connsiteX0" fmla="*/ 7467213 w 7467209"/>
              <a:gd name="connsiteY0" fmla="*/ 1 h 3667492"/>
              <a:gd name="connsiteX1" fmla="*/ 3525542 w 7467209"/>
              <a:gd name="connsiteY1" fmla="*/ 1783780 h 3667492"/>
              <a:gd name="connsiteX2" fmla="*/ -4 w 7467209"/>
              <a:gd name="connsiteY2" fmla="*/ 3667491 h 3667492"/>
              <a:gd name="connsiteX0" fmla="*/ 7467213 w 7467209"/>
              <a:gd name="connsiteY0" fmla="*/ 1 h 3667492"/>
              <a:gd name="connsiteX1" fmla="*/ 3141428 w 7467209"/>
              <a:gd name="connsiteY1" fmla="*/ 1748674 h 3667492"/>
              <a:gd name="connsiteX2" fmla="*/ -4 w 7467209"/>
              <a:gd name="connsiteY2" fmla="*/ 3667491 h 3667492"/>
              <a:gd name="connsiteX0" fmla="*/ 7467213 w 7467209"/>
              <a:gd name="connsiteY0" fmla="*/ 1 h 3667492"/>
              <a:gd name="connsiteX1" fmla="*/ 3141428 w 7467209"/>
              <a:gd name="connsiteY1" fmla="*/ 1748674 h 3667492"/>
              <a:gd name="connsiteX2" fmla="*/ -4 w 7467209"/>
              <a:gd name="connsiteY2" fmla="*/ 3667491 h 3667492"/>
              <a:gd name="connsiteX0" fmla="*/ 7467213 w 7467209"/>
              <a:gd name="connsiteY0" fmla="*/ 1 h 3667492"/>
              <a:gd name="connsiteX1" fmla="*/ 3141428 w 7467209"/>
              <a:gd name="connsiteY1" fmla="*/ 1748674 h 3667492"/>
              <a:gd name="connsiteX2" fmla="*/ -4 w 7467209"/>
              <a:gd name="connsiteY2" fmla="*/ 3667491 h 3667492"/>
              <a:gd name="connsiteX0" fmla="*/ 7644001 w 7643998"/>
              <a:gd name="connsiteY0" fmla="*/ -2 h 3675045"/>
              <a:gd name="connsiteX1" fmla="*/ 3141428 w 7643998"/>
              <a:gd name="connsiteY1" fmla="*/ 1756227 h 3675045"/>
              <a:gd name="connsiteX2" fmla="*/ -4 w 7643998"/>
              <a:gd name="connsiteY2" fmla="*/ 3675044 h 3675045"/>
              <a:gd name="connsiteX0" fmla="*/ 7644001 w 7643998"/>
              <a:gd name="connsiteY0" fmla="*/ -2 h 3675045"/>
              <a:gd name="connsiteX1" fmla="*/ 3141428 w 7643998"/>
              <a:gd name="connsiteY1" fmla="*/ 1756227 h 3675045"/>
              <a:gd name="connsiteX2" fmla="*/ -4 w 7643998"/>
              <a:gd name="connsiteY2" fmla="*/ 3675044 h 3675045"/>
              <a:gd name="connsiteX0" fmla="*/ 7644001 w 7643998"/>
              <a:gd name="connsiteY0" fmla="*/ -2 h 3675045"/>
              <a:gd name="connsiteX1" fmla="*/ -4 w 7643998"/>
              <a:gd name="connsiteY1" fmla="*/ 3675044 h 3675045"/>
              <a:gd name="connsiteX0" fmla="*/ 7644001 w 7643998"/>
              <a:gd name="connsiteY0" fmla="*/ -2 h 3675045"/>
              <a:gd name="connsiteX1" fmla="*/ -4 w 7643998"/>
              <a:gd name="connsiteY1" fmla="*/ 3675044 h 3675045"/>
              <a:gd name="connsiteX0" fmla="*/ 7644001 w 7643998"/>
              <a:gd name="connsiteY0" fmla="*/ -2 h 3675045"/>
              <a:gd name="connsiteX1" fmla="*/ -4 w 7643998"/>
              <a:gd name="connsiteY1" fmla="*/ 3675044 h 3675045"/>
            </a:gdLst>
            <a:ahLst/>
            <a:cxnLst>
              <a:cxn ang="0">
                <a:pos x="connsiteX0" y="connsiteY0"/>
              </a:cxn>
              <a:cxn ang="0">
                <a:pos x="connsiteX1" y="connsiteY1"/>
              </a:cxn>
            </a:cxnLst>
            <a:rect l="l" t="t" r="r" b="b"/>
            <a:pathLst>
              <a:path w="7643998" h="3675045">
                <a:moveTo>
                  <a:pt x="7644001" y="-2"/>
                </a:moveTo>
                <a:cubicBezTo>
                  <a:pt x="4711703" y="976439"/>
                  <a:pt x="1700369" y="2206537"/>
                  <a:pt x="-4" y="3675044"/>
                </a:cubicBezTo>
              </a:path>
            </a:pathLst>
          </a:custGeom>
          <a:noFill/>
          <a:ln w="15875" cap="flat" cmpd="sng" algn="ctr">
            <a:solidFill>
              <a:srgbClr val="B8690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87" name="Freeform 93"/>
          <p:cNvSpPr/>
          <p:nvPr/>
        </p:nvSpPr>
        <p:spPr bwMode="auto">
          <a:xfrm rot="10627731" flipH="1" flipV="1">
            <a:off x="1737025" y="2501497"/>
            <a:ext cx="1186647" cy="383698"/>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9853"/>
              <a:gd name="connsiteY0" fmla="*/ 0 h 1710816"/>
              <a:gd name="connsiteX1" fmla="*/ 3043291 w 3049853"/>
              <a:gd name="connsiteY1" fmla="*/ 1710816 h 1710816"/>
              <a:gd name="connsiteX0" fmla="*/ 0 w 3012897"/>
              <a:gd name="connsiteY0" fmla="*/ 0 h 1700872"/>
              <a:gd name="connsiteX1" fmla="*/ 3006136 w 3012897"/>
              <a:gd name="connsiteY1" fmla="*/ 1700872 h 1700872"/>
              <a:gd name="connsiteX0" fmla="*/ 0 w 3012358"/>
              <a:gd name="connsiteY0" fmla="*/ 0 h 1700872"/>
              <a:gd name="connsiteX1" fmla="*/ 3006136 w 3012358"/>
              <a:gd name="connsiteY1" fmla="*/ 1700872 h 1700872"/>
              <a:gd name="connsiteX0" fmla="*/ 0 w 3009172"/>
              <a:gd name="connsiteY0" fmla="*/ 0 h 1700872"/>
              <a:gd name="connsiteX1" fmla="*/ 3006136 w 3009172"/>
              <a:gd name="connsiteY1" fmla="*/ 1700872 h 1700872"/>
              <a:gd name="connsiteX0" fmla="*/ 0 w 3011188"/>
              <a:gd name="connsiteY0" fmla="*/ 0 h 1700872"/>
              <a:gd name="connsiteX1" fmla="*/ 3006136 w 3011188"/>
              <a:gd name="connsiteY1" fmla="*/ 1700872 h 1700872"/>
              <a:gd name="connsiteX0" fmla="*/ 0 w 1265872"/>
              <a:gd name="connsiteY0" fmla="*/ 231846 h 231890"/>
              <a:gd name="connsiteX1" fmla="*/ 1024598 w 1265872"/>
              <a:gd name="connsiteY1" fmla="*/ 215725 h 231890"/>
              <a:gd name="connsiteX0" fmla="*/ 0 w 1089071"/>
              <a:gd name="connsiteY0" fmla="*/ 43894 h 44136"/>
              <a:gd name="connsiteX1" fmla="*/ 1024598 w 1089071"/>
              <a:gd name="connsiteY1" fmla="*/ 27773 h 44136"/>
              <a:gd name="connsiteX0" fmla="*/ 0 w 1024597"/>
              <a:gd name="connsiteY0" fmla="*/ 52170 h 52170"/>
              <a:gd name="connsiteX1" fmla="*/ 1024598 w 1024597"/>
              <a:gd name="connsiteY1" fmla="*/ 36049 h 52170"/>
              <a:gd name="connsiteX0" fmla="*/ 0 w 1024599"/>
              <a:gd name="connsiteY0" fmla="*/ 202860 h 202860"/>
              <a:gd name="connsiteX1" fmla="*/ 1024599 w 1024599"/>
              <a:gd name="connsiteY1" fmla="*/ 14374 h 202860"/>
              <a:gd name="connsiteX0" fmla="*/ 0 w 1024599"/>
              <a:gd name="connsiteY0" fmla="*/ 188486 h 188486"/>
              <a:gd name="connsiteX1" fmla="*/ 1024599 w 1024599"/>
              <a:gd name="connsiteY1" fmla="*/ 0 h 188486"/>
              <a:gd name="connsiteX0" fmla="*/ 0 w 1024599"/>
              <a:gd name="connsiteY0" fmla="*/ 188486 h 188486"/>
              <a:gd name="connsiteX1" fmla="*/ 1024599 w 1024599"/>
              <a:gd name="connsiteY1" fmla="*/ 0 h 188486"/>
              <a:gd name="connsiteX0" fmla="*/ 0 w 4327162"/>
              <a:gd name="connsiteY0" fmla="*/ 188486 h 188486"/>
              <a:gd name="connsiteX1" fmla="*/ 4327162 w 4327162"/>
              <a:gd name="connsiteY1" fmla="*/ 0 h 188486"/>
              <a:gd name="connsiteX0" fmla="*/ 0 w 4327162"/>
              <a:gd name="connsiteY0" fmla="*/ 496341 h 496341"/>
              <a:gd name="connsiteX1" fmla="*/ 4327162 w 4327162"/>
              <a:gd name="connsiteY1" fmla="*/ 307855 h 496341"/>
              <a:gd name="connsiteX0" fmla="*/ 0 w 4327162"/>
              <a:gd name="connsiteY0" fmla="*/ 874372 h 874372"/>
              <a:gd name="connsiteX1" fmla="*/ 4327162 w 4327162"/>
              <a:gd name="connsiteY1" fmla="*/ 685886 h 874372"/>
              <a:gd name="connsiteX0" fmla="*/ 0 w 4327162"/>
              <a:gd name="connsiteY0" fmla="*/ 932499 h 932499"/>
              <a:gd name="connsiteX1" fmla="*/ 4327162 w 4327162"/>
              <a:gd name="connsiteY1" fmla="*/ 744013 h 932499"/>
              <a:gd name="connsiteX0" fmla="*/ 0 w 4327162"/>
              <a:gd name="connsiteY0" fmla="*/ 900717 h 900717"/>
              <a:gd name="connsiteX1" fmla="*/ 4327162 w 4327162"/>
              <a:gd name="connsiteY1" fmla="*/ 712231 h 900717"/>
              <a:gd name="connsiteX0" fmla="*/ 0 w 4327162"/>
              <a:gd name="connsiteY0" fmla="*/ 900717 h 900717"/>
              <a:gd name="connsiteX1" fmla="*/ 4327162 w 4327162"/>
              <a:gd name="connsiteY1" fmla="*/ 712231 h 900717"/>
              <a:gd name="connsiteX0" fmla="*/ 0 w 4327162"/>
              <a:gd name="connsiteY0" fmla="*/ 918648 h 918648"/>
              <a:gd name="connsiteX1" fmla="*/ 4327162 w 4327162"/>
              <a:gd name="connsiteY1" fmla="*/ 730162 h 918648"/>
              <a:gd name="connsiteX0" fmla="*/ 0 w 5599916"/>
              <a:gd name="connsiteY0" fmla="*/ 643023 h 1216923"/>
              <a:gd name="connsiteX1" fmla="*/ 5599916 w 5599916"/>
              <a:gd name="connsiteY1" fmla="*/ 1216923 h 1216923"/>
              <a:gd name="connsiteX0" fmla="*/ 0 w 5599916"/>
              <a:gd name="connsiteY0" fmla="*/ 863522 h 1437422"/>
              <a:gd name="connsiteX1" fmla="*/ 5599916 w 5599916"/>
              <a:gd name="connsiteY1" fmla="*/ 1437422 h 1437422"/>
              <a:gd name="connsiteX0" fmla="*/ 0 w 5599916"/>
              <a:gd name="connsiteY0" fmla="*/ 984252 h 1558152"/>
              <a:gd name="connsiteX1" fmla="*/ 5599916 w 5599916"/>
              <a:gd name="connsiteY1" fmla="*/ 1558152 h 1558152"/>
              <a:gd name="connsiteX0" fmla="*/ 0 w 5599916"/>
              <a:gd name="connsiteY0" fmla="*/ 1001224 h 1575124"/>
              <a:gd name="connsiteX1" fmla="*/ 5599916 w 5599916"/>
              <a:gd name="connsiteY1" fmla="*/ 1575124 h 1575124"/>
              <a:gd name="connsiteX0" fmla="*/ 0 w 778662"/>
              <a:gd name="connsiteY0" fmla="*/ 1354876 h 1354876"/>
              <a:gd name="connsiteX1" fmla="*/ 234769 w 778662"/>
              <a:gd name="connsiteY1" fmla="*/ 1149153 h 1354876"/>
              <a:gd name="connsiteX0" fmla="*/ 0 w 935096"/>
              <a:gd name="connsiteY0" fmla="*/ 808798 h 808798"/>
              <a:gd name="connsiteX1" fmla="*/ 234769 w 935096"/>
              <a:gd name="connsiteY1" fmla="*/ 603075 h 808798"/>
              <a:gd name="connsiteX0" fmla="*/ 0 w 907643"/>
              <a:gd name="connsiteY0" fmla="*/ 790190 h 790190"/>
              <a:gd name="connsiteX1" fmla="*/ 130338 w 907643"/>
              <a:gd name="connsiteY1" fmla="*/ 648110 h 790190"/>
              <a:gd name="connsiteX0" fmla="*/ 0 w 928079"/>
              <a:gd name="connsiteY0" fmla="*/ 797069 h 797069"/>
              <a:gd name="connsiteX1" fmla="*/ 208661 w 928079"/>
              <a:gd name="connsiteY1" fmla="*/ 631123 h 797069"/>
              <a:gd name="connsiteX0" fmla="*/ 0 w 208662"/>
              <a:gd name="connsiteY0" fmla="*/ 165946 h 165946"/>
              <a:gd name="connsiteX1" fmla="*/ 208661 w 208662"/>
              <a:gd name="connsiteY1" fmla="*/ 0 h 165946"/>
              <a:gd name="connsiteX0" fmla="*/ 0 w 241295"/>
              <a:gd name="connsiteY0" fmla="*/ 175890 h 175890"/>
              <a:gd name="connsiteX1" fmla="*/ 241296 w 241295"/>
              <a:gd name="connsiteY1" fmla="*/ 0 h 175890"/>
              <a:gd name="connsiteX0" fmla="*/ 6942 w 248238"/>
              <a:gd name="connsiteY0" fmla="*/ 175890 h 175890"/>
              <a:gd name="connsiteX1" fmla="*/ 248238 w 248238"/>
              <a:gd name="connsiteY1" fmla="*/ 0 h 175890"/>
              <a:gd name="connsiteX0" fmla="*/ 8926 w 225747"/>
              <a:gd name="connsiteY0" fmla="*/ 153516 h 153516"/>
              <a:gd name="connsiteX1" fmla="*/ 225747 w 225747"/>
              <a:gd name="connsiteY1" fmla="*/ 0 h 153516"/>
              <a:gd name="connsiteX0" fmla="*/ 7514 w 240653"/>
              <a:gd name="connsiteY0" fmla="*/ 170918 h 170918"/>
              <a:gd name="connsiteX1" fmla="*/ 240653 w 240653"/>
              <a:gd name="connsiteY1" fmla="*/ 0 h 170918"/>
              <a:gd name="connsiteX0" fmla="*/ 18240 w 251379"/>
              <a:gd name="connsiteY0" fmla="*/ 170918 h 170918"/>
              <a:gd name="connsiteX1" fmla="*/ 251379 w 251379"/>
              <a:gd name="connsiteY1" fmla="*/ 0 h 170918"/>
              <a:gd name="connsiteX0" fmla="*/ 18240 w 251379"/>
              <a:gd name="connsiteY0" fmla="*/ 158488 h 158488"/>
              <a:gd name="connsiteX1" fmla="*/ 251379 w 251379"/>
              <a:gd name="connsiteY1" fmla="*/ 0 h 158488"/>
              <a:gd name="connsiteX0" fmla="*/ 17341 w 258639"/>
              <a:gd name="connsiteY0" fmla="*/ 160974 h 160974"/>
              <a:gd name="connsiteX1" fmla="*/ 258640 w 258639"/>
              <a:gd name="connsiteY1" fmla="*/ 0 h 160974"/>
              <a:gd name="connsiteX0" fmla="*/ 14278 w 255578"/>
              <a:gd name="connsiteY0" fmla="*/ 163066 h 163066"/>
              <a:gd name="connsiteX1" fmla="*/ 255577 w 255578"/>
              <a:gd name="connsiteY1" fmla="*/ 2092 h 163066"/>
              <a:gd name="connsiteX0" fmla="*/ 14278 w 255576"/>
              <a:gd name="connsiteY0" fmla="*/ 165919 h 165919"/>
              <a:gd name="connsiteX1" fmla="*/ 255577 w 255576"/>
              <a:gd name="connsiteY1" fmla="*/ 4945 h 165919"/>
              <a:gd name="connsiteX0" fmla="*/ 15719 w 257018"/>
              <a:gd name="connsiteY0" fmla="*/ 166082 h 166082"/>
              <a:gd name="connsiteX1" fmla="*/ 257018 w 257018"/>
              <a:gd name="connsiteY1" fmla="*/ 5108 h 166082"/>
              <a:gd name="connsiteX0" fmla="*/ 16029 w 257328"/>
              <a:gd name="connsiteY0" fmla="*/ 164225 h 164225"/>
              <a:gd name="connsiteX1" fmla="*/ 257328 w 257328"/>
              <a:gd name="connsiteY1" fmla="*/ 3251 h 164225"/>
              <a:gd name="connsiteX0" fmla="*/ 15126 w 256425"/>
              <a:gd name="connsiteY0" fmla="*/ 164814 h 164814"/>
              <a:gd name="connsiteX1" fmla="*/ 256425 w 256425"/>
              <a:gd name="connsiteY1" fmla="*/ 3840 h 164814"/>
              <a:gd name="connsiteX0" fmla="*/ 41402 w 135844"/>
              <a:gd name="connsiteY0" fmla="*/ 32128 h 57606"/>
              <a:gd name="connsiteX1" fmla="*/ 135844 w 135844"/>
              <a:gd name="connsiteY1" fmla="*/ 57607 h 57606"/>
              <a:gd name="connsiteX0" fmla="*/ 288769 w 288769"/>
              <a:gd name="connsiteY0" fmla="*/ 16967 h 159290"/>
              <a:gd name="connsiteX1" fmla="*/ 44626 w 288769"/>
              <a:gd name="connsiteY1" fmla="*/ 159290 h 159290"/>
              <a:gd name="connsiteX0" fmla="*/ 244143 w 244143"/>
              <a:gd name="connsiteY0" fmla="*/ 15076 h 157526"/>
              <a:gd name="connsiteX1" fmla="*/ 0 w 244143"/>
              <a:gd name="connsiteY1" fmla="*/ 157399 h 157526"/>
              <a:gd name="connsiteX0" fmla="*/ 219666 w 219666"/>
              <a:gd name="connsiteY0" fmla="*/ 14805 h 162223"/>
              <a:gd name="connsiteX1" fmla="*/ 0 w 219666"/>
              <a:gd name="connsiteY1" fmla="*/ 162100 h 162223"/>
              <a:gd name="connsiteX0" fmla="*/ 219666 w 247319"/>
              <a:gd name="connsiteY0" fmla="*/ 0 h 147529"/>
              <a:gd name="connsiteX1" fmla="*/ 0 w 247319"/>
              <a:gd name="connsiteY1" fmla="*/ 147295 h 147529"/>
              <a:gd name="connsiteX0" fmla="*/ 227824 w 254399"/>
              <a:gd name="connsiteY0" fmla="*/ 0 h 152492"/>
              <a:gd name="connsiteX1" fmla="*/ 0 w 254399"/>
              <a:gd name="connsiteY1" fmla="*/ 152268 h 152492"/>
              <a:gd name="connsiteX0" fmla="*/ 227824 w 253476"/>
              <a:gd name="connsiteY0" fmla="*/ 0 h 154921"/>
              <a:gd name="connsiteX1" fmla="*/ 0 w 253476"/>
              <a:gd name="connsiteY1" fmla="*/ 152268 h 154921"/>
              <a:gd name="connsiteX0" fmla="*/ 227824 w 261726"/>
              <a:gd name="connsiteY0" fmla="*/ 0 h 155188"/>
              <a:gd name="connsiteX1" fmla="*/ 0 w 261726"/>
              <a:gd name="connsiteY1" fmla="*/ 152268 h 155188"/>
              <a:gd name="connsiteX0" fmla="*/ 0 w 1622463"/>
              <a:gd name="connsiteY0" fmla="*/ 81420 h 94627"/>
              <a:gd name="connsiteX1" fmla="*/ 1607873 w 1622463"/>
              <a:gd name="connsiteY1" fmla="*/ 0 h 94627"/>
              <a:gd name="connsiteX0" fmla="*/ 0 w 1607873"/>
              <a:gd name="connsiteY0" fmla="*/ 90497 h 99366"/>
              <a:gd name="connsiteX1" fmla="*/ 1607873 w 1607873"/>
              <a:gd name="connsiteY1" fmla="*/ 9077 h 99366"/>
              <a:gd name="connsiteX0" fmla="*/ 0 w 1591556"/>
              <a:gd name="connsiteY0" fmla="*/ 104820 h 113107"/>
              <a:gd name="connsiteX1" fmla="*/ 1591556 w 1591556"/>
              <a:gd name="connsiteY1" fmla="*/ 8483 h 113107"/>
              <a:gd name="connsiteX0" fmla="*/ 0 w 1591556"/>
              <a:gd name="connsiteY0" fmla="*/ 117229 h 124320"/>
              <a:gd name="connsiteX1" fmla="*/ 1591556 w 1591556"/>
              <a:gd name="connsiteY1" fmla="*/ 20892 h 124320"/>
              <a:gd name="connsiteX0" fmla="*/ 0 w 1591556"/>
              <a:gd name="connsiteY0" fmla="*/ 113613 h 140106"/>
              <a:gd name="connsiteX1" fmla="*/ 1591556 w 1591556"/>
              <a:gd name="connsiteY1" fmla="*/ 17276 h 140106"/>
              <a:gd name="connsiteX0" fmla="*/ 0 w 1591556"/>
              <a:gd name="connsiteY0" fmla="*/ 118345 h 144487"/>
              <a:gd name="connsiteX1" fmla="*/ 1591556 w 1591556"/>
              <a:gd name="connsiteY1" fmla="*/ 17036 h 144487"/>
              <a:gd name="connsiteX0" fmla="*/ 0 w 1591556"/>
              <a:gd name="connsiteY0" fmla="*/ 117486 h 150580"/>
              <a:gd name="connsiteX1" fmla="*/ 1591556 w 1591556"/>
              <a:gd name="connsiteY1" fmla="*/ 16177 h 150580"/>
              <a:gd name="connsiteX0" fmla="*/ 0 w 1069402"/>
              <a:gd name="connsiteY0" fmla="*/ 0 h 77685"/>
              <a:gd name="connsiteX1" fmla="*/ 1069402 w 1069402"/>
              <a:gd name="connsiteY1" fmla="*/ 77686 h 77685"/>
              <a:gd name="connsiteX0" fmla="*/ 0 w 1069402"/>
              <a:gd name="connsiteY0" fmla="*/ 0 h 77686"/>
              <a:gd name="connsiteX1" fmla="*/ 1069402 w 1069402"/>
              <a:gd name="connsiteY1" fmla="*/ 77686 h 77686"/>
              <a:gd name="connsiteX0" fmla="*/ 0 w 1069402"/>
              <a:gd name="connsiteY0" fmla="*/ 0 h 77686"/>
              <a:gd name="connsiteX1" fmla="*/ 1069402 w 1069402"/>
              <a:gd name="connsiteY1" fmla="*/ 77686 h 77686"/>
              <a:gd name="connsiteX0" fmla="*/ 0 w 1028610"/>
              <a:gd name="connsiteY0" fmla="*/ 0 h 102546"/>
              <a:gd name="connsiteX1" fmla="*/ 1028610 w 1028610"/>
              <a:gd name="connsiteY1" fmla="*/ 102546 h 102546"/>
              <a:gd name="connsiteX0" fmla="*/ 0 w 1028610"/>
              <a:gd name="connsiteY0" fmla="*/ 0 h 102546"/>
              <a:gd name="connsiteX1" fmla="*/ 1028610 w 1028610"/>
              <a:gd name="connsiteY1" fmla="*/ 102546 h 102546"/>
              <a:gd name="connsiteX0" fmla="*/ 0 w 1028610"/>
              <a:gd name="connsiteY0" fmla="*/ 0 h 102546"/>
              <a:gd name="connsiteX1" fmla="*/ 1028610 w 1028610"/>
              <a:gd name="connsiteY1" fmla="*/ 102546 h 102546"/>
              <a:gd name="connsiteX0" fmla="*/ 0 w 1004133"/>
              <a:gd name="connsiteY0" fmla="*/ 0 h 105032"/>
              <a:gd name="connsiteX1" fmla="*/ 1004133 w 1004133"/>
              <a:gd name="connsiteY1" fmla="*/ 105032 h 105032"/>
              <a:gd name="connsiteX0" fmla="*/ 0 w 1004133"/>
              <a:gd name="connsiteY0" fmla="*/ 0 h 105032"/>
              <a:gd name="connsiteX1" fmla="*/ 1004133 w 1004133"/>
              <a:gd name="connsiteY1" fmla="*/ 105032 h 105032"/>
              <a:gd name="connsiteX0" fmla="*/ 0 w 893991"/>
              <a:gd name="connsiteY0" fmla="*/ 0 h 433188"/>
              <a:gd name="connsiteX1" fmla="*/ 893991 w 893991"/>
              <a:gd name="connsiteY1" fmla="*/ 433188 h 433188"/>
              <a:gd name="connsiteX0" fmla="*/ 0 w 934785"/>
              <a:gd name="connsiteY0" fmla="*/ 0 h 433188"/>
              <a:gd name="connsiteX1" fmla="*/ 934785 w 934785"/>
              <a:gd name="connsiteY1" fmla="*/ 433188 h 433188"/>
              <a:gd name="connsiteX0" fmla="*/ 0 w 934785"/>
              <a:gd name="connsiteY0" fmla="*/ 0 h 433188"/>
              <a:gd name="connsiteX1" fmla="*/ 934785 w 934785"/>
              <a:gd name="connsiteY1" fmla="*/ 433188 h 433188"/>
              <a:gd name="connsiteX0" fmla="*/ 0 w 820564"/>
              <a:gd name="connsiteY0" fmla="*/ 0 h 482909"/>
              <a:gd name="connsiteX1" fmla="*/ 820564 w 820564"/>
              <a:gd name="connsiteY1" fmla="*/ 482909 h 482909"/>
              <a:gd name="connsiteX0" fmla="*/ 0 w 820564"/>
              <a:gd name="connsiteY0" fmla="*/ 0 h 482909"/>
              <a:gd name="connsiteX1" fmla="*/ 820564 w 820564"/>
              <a:gd name="connsiteY1" fmla="*/ 482909 h 482909"/>
              <a:gd name="connsiteX0" fmla="*/ 0 w 2493088"/>
              <a:gd name="connsiteY0" fmla="*/ 0 h 756373"/>
              <a:gd name="connsiteX1" fmla="*/ 2493088 w 2493088"/>
              <a:gd name="connsiteY1" fmla="*/ 756373 h 756373"/>
              <a:gd name="connsiteX0" fmla="*/ 0 w 2493088"/>
              <a:gd name="connsiteY0" fmla="*/ 0 h 756373"/>
              <a:gd name="connsiteX1" fmla="*/ 2493088 w 2493088"/>
              <a:gd name="connsiteY1" fmla="*/ 756373 h 756373"/>
              <a:gd name="connsiteX0" fmla="*/ 0 w 2482210"/>
              <a:gd name="connsiteY0" fmla="*/ 0 h 772947"/>
              <a:gd name="connsiteX1" fmla="*/ 2482210 w 2482210"/>
              <a:gd name="connsiteY1" fmla="*/ 772947 h 772947"/>
              <a:gd name="connsiteX0" fmla="*/ 0 w 2221133"/>
              <a:gd name="connsiteY0" fmla="*/ 0 h 1377550"/>
              <a:gd name="connsiteX1" fmla="*/ 2221133 w 2221133"/>
              <a:gd name="connsiteY1" fmla="*/ 1377550 h 1377550"/>
              <a:gd name="connsiteX0" fmla="*/ 0 w 2221133"/>
              <a:gd name="connsiteY0" fmla="*/ 0 h 1377550"/>
              <a:gd name="connsiteX1" fmla="*/ 2221133 w 2221133"/>
              <a:gd name="connsiteY1" fmla="*/ 1377550 h 1377550"/>
              <a:gd name="connsiteX0" fmla="*/ 0 w 2273348"/>
              <a:gd name="connsiteY0" fmla="*/ 0 h 1377550"/>
              <a:gd name="connsiteX1" fmla="*/ 2273348 w 2273348"/>
              <a:gd name="connsiteY1" fmla="*/ 1377550 h 1377550"/>
              <a:gd name="connsiteX0" fmla="*/ 0 w 2273348"/>
              <a:gd name="connsiteY0" fmla="*/ 0 h 1377550"/>
              <a:gd name="connsiteX1" fmla="*/ 2273348 w 2273348"/>
              <a:gd name="connsiteY1" fmla="*/ 1377550 h 1377550"/>
              <a:gd name="connsiteX0" fmla="*/ 0 w 2257031"/>
              <a:gd name="connsiteY0" fmla="*/ 0 h 1367606"/>
              <a:gd name="connsiteX1" fmla="*/ 2257031 w 2257031"/>
              <a:gd name="connsiteY1" fmla="*/ 1367606 h 1367606"/>
              <a:gd name="connsiteX0" fmla="*/ 0 w 2257031"/>
              <a:gd name="connsiteY0" fmla="*/ 0 h 1367606"/>
              <a:gd name="connsiteX1" fmla="*/ 2257031 w 2257031"/>
              <a:gd name="connsiteY1" fmla="*/ 1367606 h 1367606"/>
              <a:gd name="connsiteX0" fmla="*/ 0 w 2257031"/>
              <a:gd name="connsiteY0" fmla="*/ 0 h 1367606"/>
              <a:gd name="connsiteX1" fmla="*/ 2257031 w 2257031"/>
              <a:gd name="connsiteY1" fmla="*/ 1367606 h 1367606"/>
              <a:gd name="connsiteX0" fmla="*/ 0 w 2518108"/>
              <a:gd name="connsiteY0" fmla="*/ 0 h 1712336"/>
              <a:gd name="connsiteX1" fmla="*/ 2518108 w 2518108"/>
              <a:gd name="connsiteY1" fmla="*/ 1712336 h 1712336"/>
              <a:gd name="connsiteX0" fmla="*/ 0 w 2518108"/>
              <a:gd name="connsiteY0" fmla="*/ 0 h 1712336"/>
              <a:gd name="connsiteX1" fmla="*/ 2518108 w 2518108"/>
              <a:gd name="connsiteY1" fmla="*/ 1712336 h 1712336"/>
              <a:gd name="connsiteX0" fmla="*/ 0 w 2518108"/>
              <a:gd name="connsiteY0" fmla="*/ 0 h 1712336"/>
              <a:gd name="connsiteX1" fmla="*/ 2518108 w 2518108"/>
              <a:gd name="connsiteY1" fmla="*/ 1712336 h 1712336"/>
              <a:gd name="connsiteX0" fmla="*/ 0 w 2561621"/>
              <a:gd name="connsiteY0" fmla="*/ 0 h 1705707"/>
              <a:gd name="connsiteX1" fmla="*/ 2561621 w 2561621"/>
              <a:gd name="connsiteY1" fmla="*/ 1705707 h 1705707"/>
              <a:gd name="connsiteX0" fmla="*/ 0 w 3094653"/>
              <a:gd name="connsiteY0" fmla="*/ 0 h 1838295"/>
              <a:gd name="connsiteX1" fmla="*/ 3094653 w 3094653"/>
              <a:gd name="connsiteY1" fmla="*/ 1838295 h 1838295"/>
              <a:gd name="connsiteX0" fmla="*/ 0 w 3094653"/>
              <a:gd name="connsiteY0" fmla="*/ 0 h 1838295"/>
              <a:gd name="connsiteX1" fmla="*/ 3094653 w 3094653"/>
              <a:gd name="connsiteY1" fmla="*/ 1838295 h 1838295"/>
              <a:gd name="connsiteX0" fmla="*/ 0 w 3062018"/>
              <a:gd name="connsiteY0" fmla="*/ 0 h 1818407"/>
              <a:gd name="connsiteX1" fmla="*/ 3062018 w 3062018"/>
              <a:gd name="connsiteY1" fmla="*/ 1818407 h 1818407"/>
              <a:gd name="connsiteX0" fmla="*/ 0 w 3062018"/>
              <a:gd name="connsiteY0" fmla="*/ 0 h 1818407"/>
              <a:gd name="connsiteX1" fmla="*/ 3062018 w 3062018"/>
              <a:gd name="connsiteY1" fmla="*/ 1818407 h 1818407"/>
              <a:gd name="connsiteX0" fmla="*/ 0 w 3121356"/>
              <a:gd name="connsiteY0" fmla="*/ 0 h 1858986"/>
              <a:gd name="connsiteX1" fmla="*/ 3121356 w 3121356"/>
              <a:gd name="connsiteY1" fmla="*/ 1858986 h 1858986"/>
              <a:gd name="connsiteX0" fmla="*/ 0 w 3143961"/>
              <a:gd name="connsiteY0" fmla="*/ 0 h 1858986"/>
              <a:gd name="connsiteX1" fmla="*/ 3143961 w 3143961"/>
              <a:gd name="connsiteY1" fmla="*/ 1858986 h 1858986"/>
              <a:gd name="connsiteX0" fmla="*/ 0 w 3143961"/>
              <a:gd name="connsiteY0" fmla="*/ 0 h 1858986"/>
              <a:gd name="connsiteX1" fmla="*/ 3143961 w 3143961"/>
              <a:gd name="connsiteY1" fmla="*/ 1858986 h 1858986"/>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77828"/>
              <a:gd name="connsiteX1" fmla="*/ 2680568 w 2680568"/>
              <a:gd name="connsiteY1" fmla="*/ 1777828 h 1777828"/>
              <a:gd name="connsiteX0" fmla="*/ 0 w 1561644"/>
              <a:gd name="connsiteY0" fmla="*/ 0 h 1507302"/>
              <a:gd name="connsiteX1" fmla="*/ 1561644 w 1561644"/>
              <a:gd name="connsiteY1" fmla="*/ 1507302 h 1507302"/>
              <a:gd name="connsiteX0" fmla="*/ 0 w 1561644"/>
              <a:gd name="connsiteY0" fmla="*/ 0 h 1507302"/>
              <a:gd name="connsiteX1" fmla="*/ 1561644 w 1561644"/>
              <a:gd name="connsiteY1" fmla="*/ 1507302 h 1507302"/>
              <a:gd name="connsiteX0" fmla="*/ 0 w 1561644"/>
              <a:gd name="connsiteY0" fmla="*/ 0 h 1507302"/>
              <a:gd name="connsiteX1" fmla="*/ 1561644 w 1561644"/>
              <a:gd name="connsiteY1" fmla="*/ 1507302 h 1507302"/>
              <a:gd name="connsiteX0" fmla="*/ 0 w 1539039"/>
              <a:gd name="connsiteY0" fmla="*/ 0 h 1500539"/>
              <a:gd name="connsiteX1" fmla="*/ 1539039 w 1539039"/>
              <a:gd name="connsiteY1" fmla="*/ 1500539 h 1500539"/>
              <a:gd name="connsiteX0" fmla="*/ 0 w 1528011"/>
              <a:gd name="connsiteY0" fmla="*/ 0 h 1490461"/>
              <a:gd name="connsiteX1" fmla="*/ 1528011 w 1528011"/>
              <a:gd name="connsiteY1" fmla="*/ 1490461 h 1490461"/>
              <a:gd name="connsiteX0" fmla="*/ 0 w 1528011"/>
              <a:gd name="connsiteY0" fmla="*/ 0 h 1490461"/>
              <a:gd name="connsiteX1" fmla="*/ 1528011 w 1528011"/>
              <a:gd name="connsiteY1" fmla="*/ 1490461 h 1490461"/>
              <a:gd name="connsiteX0" fmla="*/ 3080799 w 3090213"/>
              <a:gd name="connsiteY0" fmla="*/ 0 h 2226950"/>
              <a:gd name="connsiteX1" fmla="*/ 78511 w 3090213"/>
              <a:gd name="connsiteY1" fmla="*/ 2226950 h 2226950"/>
              <a:gd name="connsiteX0" fmla="*/ 3321263 w 3321263"/>
              <a:gd name="connsiteY0" fmla="*/ 267285 h 2494235"/>
              <a:gd name="connsiteX1" fmla="*/ 318975 w 3321263"/>
              <a:gd name="connsiteY1" fmla="*/ 2494235 h 2494235"/>
              <a:gd name="connsiteX0" fmla="*/ 5023856 w 5023856"/>
              <a:gd name="connsiteY0" fmla="*/ 776106 h 776106"/>
              <a:gd name="connsiteX1" fmla="*/ 128627 w 5023856"/>
              <a:gd name="connsiteY1" fmla="*/ 351698 h 776106"/>
              <a:gd name="connsiteX0" fmla="*/ 4895228 w 4895228"/>
              <a:gd name="connsiteY0" fmla="*/ 761159 h 761159"/>
              <a:gd name="connsiteX1" fmla="*/ -1 w 4895228"/>
              <a:gd name="connsiteY1" fmla="*/ 336751 h 761159"/>
              <a:gd name="connsiteX0" fmla="*/ 5171732 w 5171732"/>
              <a:gd name="connsiteY0" fmla="*/ 754664 h 754664"/>
              <a:gd name="connsiteX1" fmla="*/ 0 w 5171732"/>
              <a:gd name="connsiteY1" fmla="*/ 343645 h 754664"/>
              <a:gd name="connsiteX0" fmla="*/ 5171732 w 5171732"/>
              <a:gd name="connsiteY0" fmla="*/ 835843 h 835843"/>
              <a:gd name="connsiteX1" fmla="*/ 0 w 5171732"/>
              <a:gd name="connsiteY1" fmla="*/ 424824 h 835843"/>
              <a:gd name="connsiteX0" fmla="*/ 5171732 w 5171732"/>
              <a:gd name="connsiteY0" fmla="*/ 709665 h 709665"/>
              <a:gd name="connsiteX1" fmla="*/ 0 w 5171732"/>
              <a:gd name="connsiteY1" fmla="*/ 298646 h 709665"/>
              <a:gd name="connsiteX0" fmla="*/ 5320608 w 5320608"/>
              <a:gd name="connsiteY0" fmla="*/ 692367 h 692367"/>
              <a:gd name="connsiteX1" fmla="*/ 0 w 5320608"/>
              <a:gd name="connsiteY1" fmla="*/ 308133 h 692367"/>
              <a:gd name="connsiteX0" fmla="*/ 5320608 w 5320608"/>
              <a:gd name="connsiteY0" fmla="*/ 703884 h 703884"/>
              <a:gd name="connsiteX1" fmla="*/ 0 w 5320608"/>
              <a:gd name="connsiteY1" fmla="*/ 319650 h 703884"/>
              <a:gd name="connsiteX0" fmla="*/ 2889934 w 2889938"/>
              <a:gd name="connsiteY0" fmla="*/ 251649 h 1263062"/>
              <a:gd name="connsiteX1" fmla="*/ 0 w 2889938"/>
              <a:gd name="connsiteY1" fmla="*/ 1263061 h 1263062"/>
              <a:gd name="connsiteX0" fmla="*/ 2889934 w 2889938"/>
              <a:gd name="connsiteY0" fmla="*/ 1 h 1011414"/>
              <a:gd name="connsiteX1" fmla="*/ 0 w 2889938"/>
              <a:gd name="connsiteY1" fmla="*/ 1011413 h 1011414"/>
              <a:gd name="connsiteX0" fmla="*/ 752739 w 752743"/>
              <a:gd name="connsiteY0" fmla="*/ 1 h 1935252"/>
              <a:gd name="connsiteX1" fmla="*/ 3 w 752743"/>
              <a:gd name="connsiteY1" fmla="*/ 1935252 h 1935252"/>
              <a:gd name="connsiteX0" fmla="*/ 1160558 w 1160562"/>
              <a:gd name="connsiteY0" fmla="*/ 1 h 1935252"/>
              <a:gd name="connsiteX1" fmla="*/ 407822 w 1160562"/>
              <a:gd name="connsiteY1" fmla="*/ 1935252 h 1935252"/>
              <a:gd name="connsiteX0" fmla="*/ 1205658 w 1205662"/>
              <a:gd name="connsiteY0" fmla="*/ 1 h 1862610"/>
              <a:gd name="connsiteX1" fmla="*/ 384793 w 1205662"/>
              <a:gd name="connsiteY1" fmla="*/ 1862612 h 1862610"/>
              <a:gd name="connsiteX0" fmla="*/ 1190716 w 1190720"/>
              <a:gd name="connsiteY0" fmla="*/ 1 h 1883273"/>
              <a:gd name="connsiteX1" fmla="*/ 392148 w 1190720"/>
              <a:gd name="connsiteY1" fmla="*/ 1883273 h 1883273"/>
              <a:gd name="connsiteX0" fmla="*/ 1189098 w 1189102"/>
              <a:gd name="connsiteY0" fmla="*/ 1 h 1883273"/>
              <a:gd name="connsiteX1" fmla="*/ 390530 w 1189102"/>
              <a:gd name="connsiteY1" fmla="*/ 1883273 h 1883273"/>
              <a:gd name="connsiteX0" fmla="*/ 1164575 w 1164575"/>
              <a:gd name="connsiteY0" fmla="*/ 0 h 1860619"/>
              <a:gd name="connsiteX1" fmla="*/ 403194 w 1164575"/>
              <a:gd name="connsiteY1" fmla="*/ 1860619 h 1860619"/>
              <a:gd name="connsiteX0" fmla="*/ 1164909 w 1164909"/>
              <a:gd name="connsiteY0" fmla="*/ 0 h 1860619"/>
              <a:gd name="connsiteX1" fmla="*/ 403528 w 1164909"/>
              <a:gd name="connsiteY1" fmla="*/ 1860619 h 1860619"/>
              <a:gd name="connsiteX0" fmla="*/ 1215490 w 1215490"/>
              <a:gd name="connsiteY0" fmla="*/ 0 h 1860619"/>
              <a:gd name="connsiteX1" fmla="*/ 454109 w 1215490"/>
              <a:gd name="connsiteY1" fmla="*/ 1860619 h 1860619"/>
              <a:gd name="connsiteX0" fmla="*/ 1157822 w 1157826"/>
              <a:gd name="connsiteY0" fmla="*/ 2 h 1943256"/>
              <a:gd name="connsiteX1" fmla="*/ 485627 w 1157826"/>
              <a:gd name="connsiteY1" fmla="*/ 1943256 h 1943256"/>
              <a:gd name="connsiteX0" fmla="*/ 1105906 w 1105910"/>
              <a:gd name="connsiteY0" fmla="*/ 2 h 1943256"/>
              <a:gd name="connsiteX1" fmla="*/ 433711 w 1105910"/>
              <a:gd name="connsiteY1" fmla="*/ 1943256 h 1943256"/>
              <a:gd name="connsiteX0" fmla="*/ 1206089 w 1206088"/>
              <a:gd name="connsiteY0" fmla="*/ -2 h 1848170"/>
              <a:gd name="connsiteX1" fmla="*/ 390188 w 1206088"/>
              <a:gd name="connsiteY1" fmla="*/ 1848170 h 1848170"/>
              <a:gd name="connsiteX0" fmla="*/ 1086473 w 1086472"/>
              <a:gd name="connsiteY0" fmla="*/ -2 h 1848170"/>
              <a:gd name="connsiteX1" fmla="*/ 270572 w 1086472"/>
              <a:gd name="connsiteY1" fmla="*/ 1848170 h 1848170"/>
              <a:gd name="connsiteX0" fmla="*/ 8038878 w 8038877"/>
              <a:gd name="connsiteY0" fmla="*/ -2 h 3615278"/>
              <a:gd name="connsiteX1" fmla="*/ 49728 w 8038877"/>
              <a:gd name="connsiteY1" fmla="*/ 3615276 h 3615278"/>
              <a:gd name="connsiteX0" fmla="*/ 7989148 w 7989147"/>
              <a:gd name="connsiteY0" fmla="*/ -2 h 3615278"/>
              <a:gd name="connsiteX1" fmla="*/ -2 w 7989147"/>
              <a:gd name="connsiteY1" fmla="*/ 3615276 h 3615278"/>
              <a:gd name="connsiteX0" fmla="*/ 7852029 w 7852028"/>
              <a:gd name="connsiteY0" fmla="*/ -2 h 3653503"/>
              <a:gd name="connsiteX1" fmla="*/ 0 w 7852028"/>
              <a:gd name="connsiteY1" fmla="*/ 3653504 h 3653503"/>
              <a:gd name="connsiteX0" fmla="*/ 7852029 w 7852028"/>
              <a:gd name="connsiteY0" fmla="*/ -2 h 3653503"/>
              <a:gd name="connsiteX1" fmla="*/ 0 w 7852028"/>
              <a:gd name="connsiteY1" fmla="*/ 3653504 h 3653503"/>
              <a:gd name="connsiteX0" fmla="*/ 8045309 w 8045309"/>
              <a:gd name="connsiteY0" fmla="*/ 0 h 3588622"/>
              <a:gd name="connsiteX1" fmla="*/ 0 w 8045309"/>
              <a:gd name="connsiteY1" fmla="*/ 3588623 h 3588622"/>
              <a:gd name="connsiteX0" fmla="*/ 8045309 w 8045309"/>
              <a:gd name="connsiteY0" fmla="*/ 0 h 3588622"/>
              <a:gd name="connsiteX1" fmla="*/ 0 w 8045309"/>
              <a:gd name="connsiteY1" fmla="*/ 3588623 h 3588622"/>
              <a:gd name="connsiteX0" fmla="*/ 8045309 w 8045309"/>
              <a:gd name="connsiteY0" fmla="*/ 0 h 3588622"/>
              <a:gd name="connsiteX1" fmla="*/ 0 w 8045309"/>
              <a:gd name="connsiteY1" fmla="*/ 3588623 h 3588622"/>
              <a:gd name="connsiteX0" fmla="*/ 8179140 w 8179141"/>
              <a:gd name="connsiteY0" fmla="*/ 0 h 3578833"/>
              <a:gd name="connsiteX1" fmla="*/ 0 w 8179141"/>
              <a:gd name="connsiteY1" fmla="*/ 3578834 h 3578833"/>
              <a:gd name="connsiteX0" fmla="*/ 8179140 w 8179141"/>
              <a:gd name="connsiteY0" fmla="*/ 0 h 3578833"/>
              <a:gd name="connsiteX1" fmla="*/ 0 w 8179141"/>
              <a:gd name="connsiteY1" fmla="*/ 3578834 h 3578833"/>
              <a:gd name="connsiteX0" fmla="*/ 8288176 w 8288179"/>
              <a:gd name="connsiteY0" fmla="*/ 0 h 3553940"/>
              <a:gd name="connsiteX1" fmla="*/ 0 w 8288179"/>
              <a:gd name="connsiteY1" fmla="*/ 3553941 h 3553940"/>
              <a:gd name="connsiteX0" fmla="*/ 7820 w 14375170"/>
              <a:gd name="connsiteY0" fmla="*/ 7742540 h 7823484"/>
              <a:gd name="connsiteX1" fmla="*/ 13661523 w 14375170"/>
              <a:gd name="connsiteY1" fmla="*/ 8237 h 7823484"/>
              <a:gd name="connsiteX0" fmla="*/ 26315 w 13680018"/>
              <a:gd name="connsiteY0" fmla="*/ 7747883 h 7828066"/>
              <a:gd name="connsiteX1" fmla="*/ 13680018 w 13680018"/>
              <a:gd name="connsiteY1" fmla="*/ 13580 h 7828066"/>
              <a:gd name="connsiteX0" fmla="*/ 24703 w 14053478"/>
              <a:gd name="connsiteY0" fmla="*/ 7372171 h 7455534"/>
              <a:gd name="connsiteX1" fmla="*/ 14053478 w 14053478"/>
              <a:gd name="connsiteY1" fmla="*/ 14143 h 7455534"/>
              <a:gd name="connsiteX0" fmla="*/ 0 w 14028775"/>
              <a:gd name="connsiteY0" fmla="*/ 7378768 h 7378768"/>
              <a:gd name="connsiteX1" fmla="*/ 14028775 w 14028775"/>
              <a:gd name="connsiteY1" fmla="*/ 20740 h 7378768"/>
              <a:gd name="connsiteX0" fmla="*/ 0 w 14341344"/>
              <a:gd name="connsiteY0" fmla="*/ 7425659 h 7425659"/>
              <a:gd name="connsiteX1" fmla="*/ 14341344 w 14341344"/>
              <a:gd name="connsiteY1" fmla="*/ 20592 h 7425659"/>
              <a:gd name="connsiteX0" fmla="*/ 0 w 14341344"/>
              <a:gd name="connsiteY0" fmla="*/ 7426617 h 7426617"/>
              <a:gd name="connsiteX1" fmla="*/ 14341344 w 14341344"/>
              <a:gd name="connsiteY1" fmla="*/ 21550 h 7426617"/>
              <a:gd name="connsiteX0" fmla="*/ 0 w 14466369"/>
              <a:gd name="connsiteY0" fmla="*/ 7473488 h 7473488"/>
              <a:gd name="connsiteX1" fmla="*/ 14466369 w 14466369"/>
              <a:gd name="connsiteY1" fmla="*/ 21382 h 7473488"/>
              <a:gd name="connsiteX0" fmla="*/ 0 w 14466369"/>
              <a:gd name="connsiteY0" fmla="*/ 7474703 h 7474703"/>
              <a:gd name="connsiteX1" fmla="*/ 14466369 w 14466369"/>
              <a:gd name="connsiteY1" fmla="*/ 22597 h 7474703"/>
              <a:gd name="connsiteX0" fmla="*/ 0 w 14466369"/>
              <a:gd name="connsiteY0" fmla="*/ 8022059 h 8022059"/>
              <a:gd name="connsiteX1" fmla="*/ 14466369 w 14466369"/>
              <a:gd name="connsiteY1" fmla="*/ 569953 h 8022059"/>
              <a:gd name="connsiteX0" fmla="*/ 0 w 14118976"/>
              <a:gd name="connsiteY0" fmla="*/ 7458154 h 7458154"/>
              <a:gd name="connsiteX1" fmla="*/ 14118975 w 14118976"/>
              <a:gd name="connsiteY1" fmla="*/ 607131 h 7458154"/>
              <a:gd name="connsiteX0" fmla="*/ 5 w 13669109"/>
              <a:gd name="connsiteY0" fmla="*/ 7974600 h 7974593"/>
              <a:gd name="connsiteX1" fmla="*/ 13669108 w 13669109"/>
              <a:gd name="connsiteY1" fmla="*/ 572887 h 7974593"/>
              <a:gd name="connsiteX0" fmla="*/ 5 w 13669109"/>
              <a:gd name="connsiteY0" fmla="*/ 8455230 h 8455223"/>
              <a:gd name="connsiteX1" fmla="*/ 13669108 w 13669109"/>
              <a:gd name="connsiteY1" fmla="*/ 1053517 h 8455223"/>
            </a:gdLst>
            <a:ahLst/>
            <a:cxnLst>
              <a:cxn ang="0">
                <a:pos x="connsiteX0" y="connsiteY0"/>
              </a:cxn>
              <a:cxn ang="0">
                <a:pos x="connsiteX1" y="connsiteY1"/>
              </a:cxn>
            </a:cxnLst>
            <a:rect l="l" t="t" r="r" b="b"/>
            <a:pathLst>
              <a:path w="13669109" h="8455223">
                <a:moveTo>
                  <a:pt x="5" y="8455230"/>
                </a:moveTo>
                <a:cubicBezTo>
                  <a:pt x="3136311" y="860311"/>
                  <a:pt x="8677833" y="-1649684"/>
                  <a:pt x="13669108" y="1053517"/>
                </a:cubicBezTo>
              </a:path>
            </a:pathLst>
          </a:custGeom>
          <a:noFill/>
          <a:ln w="15875" cap="flat" cmpd="sng" algn="ctr">
            <a:solidFill>
              <a:schemeClr val="accent1"/>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91" name="Freeform 93"/>
          <p:cNvSpPr/>
          <p:nvPr/>
        </p:nvSpPr>
        <p:spPr bwMode="auto">
          <a:xfrm rot="8343496" flipH="1">
            <a:off x="1715014" y="2657525"/>
            <a:ext cx="1228614" cy="343554"/>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9853"/>
              <a:gd name="connsiteY0" fmla="*/ 0 h 1710816"/>
              <a:gd name="connsiteX1" fmla="*/ 3043291 w 3049853"/>
              <a:gd name="connsiteY1" fmla="*/ 1710816 h 1710816"/>
              <a:gd name="connsiteX0" fmla="*/ 0 w 3012897"/>
              <a:gd name="connsiteY0" fmla="*/ 0 h 1700872"/>
              <a:gd name="connsiteX1" fmla="*/ 3006136 w 3012897"/>
              <a:gd name="connsiteY1" fmla="*/ 1700872 h 1700872"/>
              <a:gd name="connsiteX0" fmla="*/ 0 w 3012358"/>
              <a:gd name="connsiteY0" fmla="*/ 0 h 1700872"/>
              <a:gd name="connsiteX1" fmla="*/ 3006136 w 3012358"/>
              <a:gd name="connsiteY1" fmla="*/ 1700872 h 1700872"/>
              <a:gd name="connsiteX0" fmla="*/ 0 w 3009172"/>
              <a:gd name="connsiteY0" fmla="*/ 0 h 1700872"/>
              <a:gd name="connsiteX1" fmla="*/ 3006136 w 3009172"/>
              <a:gd name="connsiteY1" fmla="*/ 1700872 h 1700872"/>
              <a:gd name="connsiteX0" fmla="*/ 0 w 3011188"/>
              <a:gd name="connsiteY0" fmla="*/ 0 h 1700872"/>
              <a:gd name="connsiteX1" fmla="*/ 3006136 w 3011188"/>
              <a:gd name="connsiteY1" fmla="*/ 1700872 h 1700872"/>
              <a:gd name="connsiteX0" fmla="*/ 0 w 1265872"/>
              <a:gd name="connsiteY0" fmla="*/ 231846 h 231890"/>
              <a:gd name="connsiteX1" fmla="*/ 1024598 w 1265872"/>
              <a:gd name="connsiteY1" fmla="*/ 215725 h 231890"/>
              <a:gd name="connsiteX0" fmla="*/ 0 w 1089071"/>
              <a:gd name="connsiteY0" fmla="*/ 43894 h 44136"/>
              <a:gd name="connsiteX1" fmla="*/ 1024598 w 1089071"/>
              <a:gd name="connsiteY1" fmla="*/ 27773 h 44136"/>
              <a:gd name="connsiteX0" fmla="*/ 0 w 1024597"/>
              <a:gd name="connsiteY0" fmla="*/ 52170 h 52170"/>
              <a:gd name="connsiteX1" fmla="*/ 1024598 w 1024597"/>
              <a:gd name="connsiteY1" fmla="*/ 36049 h 52170"/>
              <a:gd name="connsiteX0" fmla="*/ 0 w 1024599"/>
              <a:gd name="connsiteY0" fmla="*/ 202860 h 202860"/>
              <a:gd name="connsiteX1" fmla="*/ 1024599 w 1024599"/>
              <a:gd name="connsiteY1" fmla="*/ 14374 h 202860"/>
              <a:gd name="connsiteX0" fmla="*/ 0 w 1024599"/>
              <a:gd name="connsiteY0" fmla="*/ 188486 h 188486"/>
              <a:gd name="connsiteX1" fmla="*/ 1024599 w 1024599"/>
              <a:gd name="connsiteY1" fmla="*/ 0 h 188486"/>
              <a:gd name="connsiteX0" fmla="*/ 0 w 1024599"/>
              <a:gd name="connsiteY0" fmla="*/ 188486 h 188486"/>
              <a:gd name="connsiteX1" fmla="*/ 1024599 w 1024599"/>
              <a:gd name="connsiteY1" fmla="*/ 0 h 188486"/>
              <a:gd name="connsiteX0" fmla="*/ 0 w 4327162"/>
              <a:gd name="connsiteY0" fmla="*/ 188486 h 188486"/>
              <a:gd name="connsiteX1" fmla="*/ 4327162 w 4327162"/>
              <a:gd name="connsiteY1" fmla="*/ 0 h 188486"/>
              <a:gd name="connsiteX0" fmla="*/ 0 w 4327162"/>
              <a:gd name="connsiteY0" fmla="*/ 496341 h 496341"/>
              <a:gd name="connsiteX1" fmla="*/ 4327162 w 4327162"/>
              <a:gd name="connsiteY1" fmla="*/ 307855 h 496341"/>
              <a:gd name="connsiteX0" fmla="*/ 0 w 4327162"/>
              <a:gd name="connsiteY0" fmla="*/ 874372 h 874372"/>
              <a:gd name="connsiteX1" fmla="*/ 4327162 w 4327162"/>
              <a:gd name="connsiteY1" fmla="*/ 685886 h 874372"/>
              <a:gd name="connsiteX0" fmla="*/ 0 w 4327162"/>
              <a:gd name="connsiteY0" fmla="*/ 932499 h 932499"/>
              <a:gd name="connsiteX1" fmla="*/ 4327162 w 4327162"/>
              <a:gd name="connsiteY1" fmla="*/ 744013 h 932499"/>
              <a:gd name="connsiteX0" fmla="*/ 0 w 4327162"/>
              <a:gd name="connsiteY0" fmla="*/ 900717 h 900717"/>
              <a:gd name="connsiteX1" fmla="*/ 4327162 w 4327162"/>
              <a:gd name="connsiteY1" fmla="*/ 712231 h 900717"/>
              <a:gd name="connsiteX0" fmla="*/ 0 w 4327162"/>
              <a:gd name="connsiteY0" fmla="*/ 900717 h 900717"/>
              <a:gd name="connsiteX1" fmla="*/ 4327162 w 4327162"/>
              <a:gd name="connsiteY1" fmla="*/ 712231 h 900717"/>
              <a:gd name="connsiteX0" fmla="*/ 0 w 4327162"/>
              <a:gd name="connsiteY0" fmla="*/ 918648 h 918648"/>
              <a:gd name="connsiteX1" fmla="*/ 4327162 w 4327162"/>
              <a:gd name="connsiteY1" fmla="*/ 730162 h 918648"/>
              <a:gd name="connsiteX0" fmla="*/ 0 w 5599916"/>
              <a:gd name="connsiteY0" fmla="*/ 643023 h 1216923"/>
              <a:gd name="connsiteX1" fmla="*/ 5599916 w 5599916"/>
              <a:gd name="connsiteY1" fmla="*/ 1216923 h 1216923"/>
              <a:gd name="connsiteX0" fmla="*/ 0 w 5599916"/>
              <a:gd name="connsiteY0" fmla="*/ 863522 h 1437422"/>
              <a:gd name="connsiteX1" fmla="*/ 5599916 w 5599916"/>
              <a:gd name="connsiteY1" fmla="*/ 1437422 h 1437422"/>
              <a:gd name="connsiteX0" fmla="*/ 0 w 5599916"/>
              <a:gd name="connsiteY0" fmla="*/ 984252 h 1558152"/>
              <a:gd name="connsiteX1" fmla="*/ 5599916 w 5599916"/>
              <a:gd name="connsiteY1" fmla="*/ 1558152 h 1558152"/>
              <a:gd name="connsiteX0" fmla="*/ 0 w 5599916"/>
              <a:gd name="connsiteY0" fmla="*/ 1001224 h 1575124"/>
              <a:gd name="connsiteX1" fmla="*/ 5599916 w 5599916"/>
              <a:gd name="connsiteY1" fmla="*/ 1575124 h 1575124"/>
              <a:gd name="connsiteX0" fmla="*/ 0 w 778662"/>
              <a:gd name="connsiteY0" fmla="*/ 1354876 h 1354876"/>
              <a:gd name="connsiteX1" fmla="*/ 234769 w 778662"/>
              <a:gd name="connsiteY1" fmla="*/ 1149153 h 1354876"/>
              <a:gd name="connsiteX0" fmla="*/ 0 w 935096"/>
              <a:gd name="connsiteY0" fmla="*/ 808798 h 808798"/>
              <a:gd name="connsiteX1" fmla="*/ 234769 w 935096"/>
              <a:gd name="connsiteY1" fmla="*/ 603075 h 808798"/>
              <a:gd name="connsiteX0" fmla="*/ 0 w 907643"/>
              <a:gd name="connsiteY0" fmla="*/ 790190 h 790190"/>
              <a:gd name="connsiteX1" fmla="*/ 130338 w 907643"/>
              <a:gd name="connsiteY1" fmla="*/ 648110 h 790190"/>
              <a:gd name="connsiteX0" fmla="*/ 0 w 928079"/>
              <a:gd name="connsiteY0" fmla="*/ 797069 h 797069"/>
              <a:gd name="connsiteX1" fmla="*/ 208661 w 928079"/>
              <a:gd name="connsiteY1" fmla="*/ 631123 h 797069"/>
              <a:gd name="connsiteX0" fmla="*/ 0 w 208662"/>
              <a:gd name="connsiteY0" fmla="*/ 165946 h 165946"/>
              <a:gd name="connsiteX1" fmla="*/ 208661 w 208662"/>
              <a:gd name="connsiteY1" fmla="*/ 0 h 165946"/>
              <a:gd name="connsiteX0" fmla="*/ 0 w 241295"/>
              <a:gd name="connsiteY0" fmla="*/ 175890 h 175890"/>
              <a:gd name="connsiteX1" fmla="*/ 241296 w 241295"/>
              <a:gd name="connsiteY1" fmla="*/ 0 h 175890"/>
              <a:gd name="connsiteX0" fmla="*/ 6942 w 248238"/>
              <a:gd name="connsiteY0" fmla="*/ 175890 h 175890"/>
              <a:gd name="connsiteX1" fmla="*/ 248238 w 248238"/>
              <a:gd name="connsiteY1" fmla="*/ 0 h 175890"/>
              <a:gd name="connsiteX0" fmla="*/ 8926 w 225747"/>
              <a:gd name="connsiteY0" fmla="*/ 153516 h 153516"/>
              <a:gd name="connsiteX1" fmla="*/ 225747 w 225747"/>
              <a:gd name="connsiteY1" fmla="*/ 0 h 153516"/>
              <a:gd name="connsiteX0" fmla="*/ 7514 w 240653"/>
              <a:gd name="connsiteY0" fmla="*/ 170918 h 170918"/>
              <a:gd name="connsiteX1" fmla="*/ 240653 w 240653"/>
              <a:gd name="connsiteY1" fmla="*/ 0 h 170918"/>
              <a:gd name="connsiteX0" fmla="*/ 18240 w 251379"/>
              <a:gd name="connsiteY0" fmla="*/ 170918 h 170918"/>
              <a:gd name="connsiteX1" fmla="*/ 251379 w 251379"/>
              <a:gd name="connsiteY1" fmla="*/ 0 h 170918"/>
              <a:gd name="connsiteX0" fmla="*/ 18240 w 251379"/>
              <a:gd name="connsiteY0" fmla="*/ 158488 h 158488"/>
              <a:gd name="connsiteX1" fmla="*/ 251379 w 251379"/>
              <a:gd name="connsiteY1" fmla="*/ 0 h 158488"/>
              <a:gd name="connsiteX0" fmla="*/ 17341 w 258639"/>
              <a:gd name="connsiteY0" fmla="*/ 160974 h 160974"/>
              <a:gd name="connsiteX1" fmla="*/ 258640 w 258639"/>
              <a:gd name="connsiteY1" fmla="*/ 0 h 160974"/>
              <a:gd name="connsiteX0" fmla="*/ 14278 w 255578"/>
              <a:gd name="connsiteY0" fmla="*/ 163066 h 163066"/>
              <a:gd name="connsiteX1" fmla="*/ 255577 w 255578"/>
              <a:gd name="connsiteY1" fmla="*/ 2092 h 163066"/>
              <a:gd name="connsiteX0" fmla="*/ 14278 w 255576"/>
              <a:gd name="connsiteY0" fmla="*/ 165919 h 165919"/>
              <a:gd name="connsiteX1" fmla="*/ 255577 w 255576"/>
              <a:gd name="connsiteY1" fmla="*/ 4945 h 165919"/>
              <a:gd name="connsiteX0" fmla="*/ 15719 w 257018"/>
              <a:gd name="connsiteY0" fmla="*/ 166082 h 166082"/>
              <a:gd name="connsiteX1" fmla="*/ 257018 w 257018"/>
              <a:gd name="connsiteY1" fmla="*/ 5108 h 166082"/>
              <a:gd name="connsiteX0" fmla="*/ 16029 w 257328"/>
              <a:gd name="connsiteY0" fmla="*/ 164225 h 164225"/>
              <a:gd name="connsiteX1" fmla="*/ 257328 w 257328"/>
              <a:gd name="connsiteY1" fmla="*/ 3251 h 164225"/>
              <a:gd name="connsiteX0" fmla="*/ 15126 w 256425"/>
              <a:gd name="connsiteY0" fmla="*/ 164814 h 164814"/>
              <a:gd name="connsiteX1" fmla="*/ 256425 w 256425"/>
              <a:gd name="connsiteY1" fmla="*/ 3840 h 164814"/>
              <a:gd name="connsiteX0" fmla="*/ 41402 w 135844"/>
              <a:gd name="connsiteY0" fmla="*/ 32128 h 57606"/>
              <a:gd name="connsiteX1" fmla="*/ 135844 w 135844"/>
              <a:gd name="connsiteY1" fmla="*/ 57607 h 57606"/>
              <a:gd name="connsiteX0" fmla="*/ 288769 w 288769"/>
              <a:gd name="connsiteY0" fmla="*/ 16967 h 159290"/>
              <a:gd name="connsiteX1" fmla="*/ 44626 w 288769"/>
              <a:gd name="connsiteY1" fmla="*/ 159290 h 159290"/>
              <a:gd name="connsiteX0" fmla="*/ 244143 w 244143"/>
              <a:gd name="connsiteY0" fmla="*/ 15076 h 157526"/>
              <a:gd name="connsiteX1" fmla="*/ 0 w 244143"/>
              <a:gd name="connsiteY1" fmla="*/ 157399 h 157526"/>
              <a:gd name="connsiteX0" fmla="*/ 219666 w 219666"/>
              <a:gd name="connsiteY0" fmla="*/ 14805 h 162223"/>
              <a:gd name="connsiteX1" fmla="*/ 0 w 219666"/>
              <a:gd name="connsiteY1" fmla="*/ 162100 h 162223"/>
              <a:gd name="connsiteX0" fmla="*/ 219666 w 247319"/>
              <a:gd name="connsiteY0" fmla="*/ 0 h 147529"/>
              <a:gd name="connsiteX1" fmla="*/ 0 w 247319"/>
              <a:gd name="connsiteY1" fmla="*/ 147295 h 147529"/>
              <a:gd name="connsiteX0" fmla="*/ 227824 w 254399"/>
              <a:gd name="connsiteY0" fmla="*/ 0 h 152492"/>
              <a:gd name="connsiteX1" fmla="*/ 0 w 254399"/>
              <a:gd name="connsiteY1" fmla="*/ 152268 h 152492"/>
              <a:gd name="connsiteX0" fmla="*/ 227824 w 253476"/>
              <a:gd name="connsiteY0" fmla="*/ 0 h 154921"/>
              <a:gd name="connsiteX1" fmla="*/ 0 w 253476"/>
              <a:gd name="connsiteY1" fmla="*/ 152268 h 154921"/>
              <a:gd name="connsiteX0" fmla="*/ 227824 w 261726"/>
              <a:gd name="connsiteY0" fmla="*/ 0 h 155188"/>
              <a:gd name="connsiteX1" fmla="*/ 0 w 261726"/>
              <a:gd name="connsiteY1" fmla="*/ 152268 h 155188"/>
              <a:gd name="connsiteX0" fmla="*/ 0 w 1622463"/>
              <a:gd name="connsiteY0" fmla="*/ 81420 h 94627"/>
              <a:gd name="connsiteX1" fmla="*/ 1607873 w 1622463"/>
              <a:gd name="connsiteY1" fmla="*/ 0 h 94627"/>
              <a:gd name="connsiteX0" fmla="*/ 0 w 1607873"/>
              <a:gd name="connsiteY0" fmla="*/ 90497 h 99366"/>
              <a:gd name="connsiteX1" fmla="*/ 1607873 w 1607873"/>
              <a:gd name="connsiteY1" fmla="*/ 9077 h 99366"/>
              <a:gd name="connsiteX0" fmla="*/ 0 w 1591556"/>
              <a:gd name="connsiteY0" fmla="*/ 104820 h 113107"/>
              <a:gd name="connsiteX1" fmla="*/ 1591556 w 1591556"/>
              <a:gd name="connsiteY1" fmla="*/ 8483 h 113107"/>
              <a:gd name="connsiteX0" fmla="*/ 0 w 1591556"/>
              <a:gd name="connsiteY0" fmla="*/ 117229 h 124320"/>
              <a:gd name="connsiteX1" fmla="*/ 1591556 w 1591556"/>
              <a:gd name="connsiteY1" fmla="*/ 20892 h 124320"/>
              <a:gd name="connsiteX0" fmla="*/ 0 w 1591556"/>
              <a:gd name="connsiteY0" fmla="*/ 113613 h 140106"/>
              <a:gd name="connsiteX1" fmla="*/ 1591556 w 1591556"/>
              <a:gd name="connsiteY1" fmla="*/ 17276 h 140106"/>
              <a:gd name="connsiteX0" fmla="*/ 0 w 1591556"/>
              <a:gd name="connsiteY0" fmla="*/ 118345 h 144487"/>
              <a:gd name="connsiteX1" fmla="*/ 1591556 w 1591556"/>
              <a:gd name="connsiteY1" fmla="*/ 17036 h 144487"/>
              <a:gd name="connsiteX0" fmla="*/ 0 w 1591556"/>
              <a:gd name="connsiteY0" fmla="*/ 117486 h 150580"/>
              <a:gd name="connsiteX1" fmla="*/ 1591556 w 1591556"/>
              <a:gd name="connsiteY1" fmla="*/ 16177 h 150580"/>
              <a:gd name="connsiteX0" fmla="*/ 0 w 1069402"/>
              <a:gd name="connsiteY0" fmla="*/ 0 h 77685"/>
              <a:gd name="connsiteX1" fmla="*/ 1069402 w 1069402"/>
              <a:gd name="connsiteY1" fmla="*/ 77686 h 77685"/>
              <a:gd name="connsiteX0" fmla="*/ 0 w 1069402"/>
              <a:gd name="connsiteY0" fmla="*/ 0 h 77686"/>
              <a:gd name="connsiteX1" fmla="*/ 1069402 w 1069402"/>
              <a:gd name="connsiteY1" fmla="*/ 77686 h 77686"/>
              <a:gd name="connsiteX0" fmla="*/ 0 w 1069402"/>
              <a:gd name="connsiteY0" fmla="*/ 0 h 77686"/>
              <a:gd name="connsiteX1" fmla="*/ 1069402 w 1069402"/>
              <a:gd name="connsiteY1" fmla="*/ 77686 h 77686"/>
              <a:gd name="connsiteX0" fmla="*/ 0 w 1028610"/>
              <a:gd name="connsiteY0" fmla="*/ 0 h 102546"/>
              <a:gd name="connsiteX1" fmla="*/ 1028610 w 1028610"/>
              <a:gd name="connsiteY1" fmla="*/ 102546 h 102546"/>
              <a:gd name="connsiteX0" fmla="*/ 0 w 1028610"/>
              <a:gd name="connsiteY0" fmla="*/ 0 h 102546"/>
              <a:gd name="connsiteX1" fmla="*/ 1028610 w 1028610"/>
              <a:gd name="connsiteY1" fmla="*/ 102546 h 102546"/>
              <a:gd name="connsiteX0" fmla="*/ 0 w 1028610"/>
              <a:gd name="connsiteY0" fmla="*/ 0 h 102546"/>
              <a:gd name="connsiteX1" fmla="*/ 1028610 w 1028610"/>
              <a:gd name="connsiteY1" fmla="*/ 102546 h 102546"/>
              <a:gd name="connsiteX0" fmla="*/ 0 w 1004133"/>
              <a:gd name="connsiteY0" fmla="*/ 0 h 105032"/>
              <a:gd name="connsiteX1" fmla="*/ 1004133 w 1004133"/>
              <a:gd name="connsiteY1" fmla="*/ 105032 h 105032"/>
              <a:gd name="connsiteX0" fmla="*/ 0 w 1004133"/>
              <a:gd name="connsiteY0" fmla="*/ 0 h 105032"/>
              <a:gd name="connsiteX1" fmla="*/ 1004133 w 1004133"/>
              <a:gd name="connsiteY1" fmla="*/ 105032 h 105032"/>
              <a:gd name="connsiteX0" fmla="*/ 0 w 893991"/>
              <a:gd name="connsiteY0" fmla="*/ 0 h 433188"/>
              <a:gd name="connsiteX1" fmla="*/ 893991 w 893991"/>
              <a:gd name="connsiteY1" fmla="*/ 433188 h 433188"/>
              <a:gd name="connsiteX0" fmla="*/ 0 w 934785"/>
              <a:gd name="connsiteY0" fmla="*/ 0 h 433188"/>
              <a:gd name="connsiteX1" fmla="*/ 934785 w 934785"/>
              <a:gd name="connsiteY1" fmla="*/ 433188 h 433188"/>
              <a:gd name="connsiteX0" fmla="*/ 0 w 934785"/>
              <a:gd name="connsiteY0" fmla="*/ 0 h 433188"/>
              <a:gd name="connsiteX1" fmla="*/ 934785 w 934785"/>
              <a:gd name="connsiteY1" fmla="*/ 433188 h 433188"/>
              <a:gd name="connsiteX0" fmla="*/ 0 w 820564"/>
              <a:gd name="connsiteY0" fmla="*/ 0 h 482909"/>
              <a:gd name="connsiteX1" fmla="*/ 820564 w 820564"/>
              <a:gd name="connsiteY1" fmla="*/ 482909 h 482909"/>
              <a:gd name="connsiteX0" fmla="*/ 0 w 820564"/>
              <a:gd name="connsiteY0" fmla="*/ 0 h 482909"/>
              <a:gd name="connsiteX1" fmla="*/ 820564 w 820564"/>
              <a:gd name="connsiteY1" fmla="*/ 482909 h 482909"/>
              <a:gd name="connsiteX0" fmla="*/ 0 w 2493088"/>
              <a:gd name="connsiteY0" fmla="*/ 0 h 756373"/>
              <a:gd name="connsiteX1" fmla="*/ 2493088 w 2493088"/>
              <a:gd name="connsiteY1" fmla="*/ 756373 h 756373"/>
              <a:gd name="connsiteX0" fmla="*/ 0 w 2493088"/>
              <a:gd name="connsiteY0" fmla="*/ 0 h 756373"/>
              <a:gd name="connsiteX1" fmla="*/ 2493088 w 2493088"/>
              <a:gd name="connsiteY1" fmla="*/ 756373 h 756373"/>
              <a:gd name="connsiteX0" fmla="*/ 0 w 2482210"/>
              <a:gd name="connsiteY0" fmla="*/ 0 h 772947"/>
              <a:gd name="connsiteX1" fmla="*/ 2482210 w 2482210"/>
              <a:gd name="connsiteY1" fmla="*/ 772947 h 772947"/>
              <a:gd name="connsiteX0" fmla="*/ 0 w 2221133"/>
              <a:gd name="connsiteY0" fmla="*/ 0 h 1377550"/>
              <a:gd name="connsiteX1" fmla="*/ 2221133 w 2221133"/>
              <a:gd name="connsiteY1" fmla="*/ 1377550 h 1377550"/>
              <a:gd name="connsiteX0" fmla="*/ 0 w 2221133"/>
              <a:gd name="connsiteY0" fmla="*/ 0 h 1377550"/>
              <a:gd name="connsiteX1" fmla="*/ 2221133 w 2221133"/>
              <a:gd name="connsiteY1" fmla="*/ 1377550 h 1377550"/>
              <a:gd name="connsiteX0" fmla="*/ 0 w 2273348"/>
              <a:gd name="connsiteY0" fmla="*/ 0 h 1377550"/>
              <a:gd name="connsiteX1" fmla="*/ 2273348 w 2273348"/>
              <a:gd name="connsiteY1" fmla="*/ 1377550 h 1377550"/>
              <a:gd name="connsiteX0" fmla="*/ 0 w 2273348"/>
              <a:gd name="connsiteY0" fmla="*/ 0 h 1377550"/>
              <a:gd name="connsiteX1" fmla="*/ 2273348 w 2273348"/>
              <a:gd name="connsiteY1" fmla="*/ 1377550 h 1377550"/>
              <a:gd name="connsiteX0" fmla="*/ 0 w 2257031"/>
              <a:gd name="connsiteY0" fmla="*/ 0 h 1367606"/>
              <a:gd name="connsiteX1" fmla="*/ 2257031 w 2257031"/>
              <a:gd name="connsiteY1" fmla="*/ 1367606 h 1367606"/>
              <a:gd name="connsiteX0" fmla="*/ 0 w 2257031"/>
              <a:gd name="connsiteY0" fmla="*/ 0 h 1367606"/>
              <a:gd name="connsiteX1" fmla="*/ 2257031 w 2257031"/>
              <a:gd name="connsiteY1" fmla="*/ 1367606 h 1367606"/>
              <a:gd name="connsiteX0" fmla="*/ 0 w 2257031"/>
              <a:gd name="connsiteY0" fmla="*/ 0 h 1367606"/>
              <a:gd name="connsiteX1" fmla="*/ 2257031 w 2257031"/>
              <a:gd name="connsiteY1" fmla="*/ 1367606 h 1367606"/>
              <a:gd name="connsiteX0" fmla="*/ 0 w 2518108"/>
              <a:gd name="connsiteY0" fmla="*/ 0 h 1712336"/>
              <a:gd name="connsiteX1" fmla="*/ 2518108 w 2518108"/>
              <a:gd name="connsiteY1" fmla="*/ 1712336 h 1712336"/>
              <a:gd name="connsiteX0" fmla="*/ 0 w 2518108"/>
              <a:gd name="connsiteY0" fmla="*/ 0 h 1712336"/>
              <a:gd name="connsiteX1" fmla="*/ 2518108 w 2518108"/>
              <a:gd name="connsiteY1" fmla="*/ 1712336 h 1712336"/>
              <a:gd name="connsiteX0" fmla="*/ 0 w 2518108"/>
              <a:gd name="connsiteY0" fmla="*/ 0 h 1712336"/>
              <a:gd name="connsiteX1" fmla="*/ 2518108 w 2518108"/>
              <a:gd name="connsiteY1" fmla="*/ 1712336 h 1712336"/>
              <a:gd name="connsiteX0" fmla="*/ 0 w 2561621"/>
              <a:gd name="connsiteY0" fmla="*/ 0 h 1705707"/>
              <a:gd name="connsiteX1" fmla="*/ 2561621 w 2561621"/>
              <a:gd name="connsiteY1" fmla="*/ 1705707 h 1705707"/>
              <a:gd name="connsiteX0" fmla="*/ 0 w 3094653"/>
              <a:gd name="connsiteY0" fmla="*/ 0 h 1838295"/>
              <a:gd name="connsiteX1" fmla="*/ 3094653 w 3094653"/>
              <a:gd name="connsiteY1" fmla="*/ 1838295 h 1838295"/>
              <a:gd name="connsiteX0" fmla="*/ 0 w 3094653"/>
              <a:gd name="connsiteY0" fmla="*/ 0 h 1838295"/>
              <a:gd name="connsiteX1" fmla="*/ 3094653 w 3094653"/>
              <a:gd name="connsiteY1" fmla="*/ 1838295 h 1838295"/>
              <a:gd name="connsiteX0" fmla="*/ 0 w 3062018"/>
              <a:gd name="connsiteY0" fmla="*/ 0 h 1818407"/>
              <a:gd name="connsiteX1" fmla="*/ 3062018 w 3062018"/>
              <a:gd name="connsiteY1" fmla="*/ 1818407 h 1818407"/>
              <a:gd name="connsiteX0" fmla="*/ 0 w 3062018"/>
              <a:gd name="connsiteY0" fmla="*/ 0 h 1818407"/>
              <a:gd name="connsiteX1" fmla="*/ 3062018 w 3062018"/>
              <a:gd name="connsiteY1" fmla="*/ 1818407 h 1818407"/>
              <a:gd name="connsiteX0" fmla="*/ 0 w 3121356"/>
              <a:gd name="connsiteY0" fmla="*/ 0 h 1858986"/>
              <a:gd name="connsiteX1" fmla="*/ 3121356 w 3121356"/>
              <a:gd name="connsiteY1" fmla="*/ 1858986 h 1858986"/>
              <a:gd name="connsiteX0" fmla="*/ 0 w 3143961"/>
              <a:gd name="connsiteY0" fmla="*/ 0 h 1858986"/>
              <a:gd name="connsiteX1" fmla="*/ 3143961 w 3143961"/>
              <a:gd name="connsiteY1" fmla="*/ 1858986 h 1858986"/>
              <a:gd name="connsiteX0" fmla="*/ 0 w 3143961"/>
              <a:gd name="connsiteY0" fmla="*/ 0 h 1858986"/>
              <a:gd name="connsiteX1" fmla="*/ 3143961 w 3143961"/>
              <a:gd name="connsiteY1" fmla="*/ 1858986 h 1858986"/>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77828"/>
              <a:gd name="connsiteX1" fmla="*/ 2680568 w 2680568"/>
              <a:gd name="connsiteY1" fmla="*/ 1777828 h 1777828"/>
              <a:gd name="connsiteX0" fmla="*/ 0 w 1561644"/>
              <a:gd name="connsiteY0" fmla="*/ 0 h 1507302"/>
              <a:gd name="connsiteX1" fmla="*/ 1561644 w 1561644"/>
              <a:gd name="connsiteY1" fmla="*/ 1507302 h 1507302"/>
              <a:gd name="connsiteX0" fmla="*/ 0 w 1561644"/>
              <a:gd name="connsiteY0" fmla="*/ 0 h 1507302"/>
              <a:gd name="connsiteX1" fmla="*/ 1561644 w 1561644"/>
              <a:gd name="connsiteY1" fmla="*/ 1507302 h 1507302"/>
              <a:gd name="connsiteX0" fmla="*/ 0 w 1561644"/>
              <a:gd name="connsiteY0" fmla="*/ 0 h 1507302"/>
              <a:gd name="connsiteX1" fmla="*/ 1561644 w 1561644"/>
              <a:gd name="connsiteY1" fmla="*/ 1507302 h 1507302"/>
              <a:gd name="connsiteX0" fmla="*/ 0 w 1539039"/>
              <a:gd name="connsiteY0" fmla="*/ 0 h 1500539"/>
              <a:gd name="connsiteX1" fmla="*/ 1539039 w 1539039"/>
              <a:gd name="connsiteY1" fmla="*/ 1500539 h 1500539"/>
              <a:gd name="connsiteX0" fmla="*/ 0 w 1528011"/>
              <a:gd name="connsiteY0" fmla="*/ 0 h 1490461"/>
              <a:gd name="connsiteX1" fmla="*/ 1528011 w 1528011"/>
              <a:gd name="connsiteY1" fmla="*/ 1490461 h 1490461"/>
              <a:gd name="connsiteX0" fmla="*/ 0 w 1528011"/>
              <a:gd name="connsiteY0" fmla="*/ 0 h 1490461"/>
              <a:gd name="connsiteX1" fmla="*/ 1528011 w 1528011"/>
              <a:gd name="connsiteY1" fmla="*/ 1490461 h 1490461"/>
              <a:gd name="connsiteX0" fmla="*/ 3080799 w 3090213"/>
              <a:gd name="connsiteY0" fmla="*/ 0 h 2226950"/>
              <a:gd name="connsiteX1" fmla="*/ 78511 w 3090213"/>
              <a:gd name="connsiteY1" fmla="*/ 2226950 h 2226950"/>
              <a:gd name="connsiteX0" fmla="*/ 3321263 w 3321263"/>
              <a:gd name="connsiteY0" fmla="*/ 267285 h 2494235"/>
              <a:gd name="connsiteX1" fmla="*/ 318975 w 3321263"/>
              <a:gd name="connsiteY1" fmla="*/ 2494235 h 2494235"/>
              <a:gd name="connsiteX0" fmla="*/ 5023856 w 5023856"/>
              <a:gd name="connsiteY0" fmla="*/ 776106 h 776106"/>
              <a:gd name="connsiteX1" fmla="*/ 128627 w 5023856"/>
              <a:gd name="connsiteY1" fmla="*/ 351698 h 776106"/>
              <a:gd name="connsiteX0" fmla="*/ 4895228 w 4895228"/>
              <a:gd name="connsiteY0" fmla="*/ 761159 h 761159"/>
              <a:gd name="connsiteX1" fmla="*/ -1 w 4895228"/>
              <a:gd name="connsiteY1" fmla="*/ 336751 h 761159"/>
              <a:gd name="connsiteX0" fmla="*/ 5171732 w 5171732"/>
              <a:gd name="connsiteY0" fmla="*/ 754664 h 754664"/>
              <a:gd name="connsiteX1" fmla="*/ 0 w 5171732"/>
              <a:gd name="connsiteY1" fmla="*/ 343645 h 754664"/>
              <a:gd name="connsiteX0" fmla="*/ 5171732 w 5171732"/>
              <a:gd name="connsiteY0" fmla="*/ 835843 h 835843"/>
              <a:gd name="connsiteX1" fmla="*/ 0 w 5171732"/>
              <a:gd name="connsiteY1" fmla="*/ 424824 h 835843"/>
              <a:gd name="connsiteX0" fmla="*/ 5171732 w 5171732"/>
              <a:gd name="connsiteY0" fmla="*/ 709665 h 709665"/>
              <a:gd name="connsiteX1" fmla="*/ 0 w 5171732"/>
              <a:gd name="connsiteY1" fmla="*/ 298646 h 709665"/>
              <a:gd name="connsiteX0" fmla="*/ 5320608 w 5320608"/>
              <a:gd name="connsiteY0" fmla="*/ 692367 h 692367"/>
              <a:gd name="connsiteX1" fmla="*/ 0 w 5320608"/>
              <a:gd name="connsiteY1" fmla="*/ 308133 h 692367"/>
              <a:gd name="connsiteX0" fmla="*/ 5320608 w 5320608"/>
              <a:gd name="connsiteY0" fmla="*/ 703884 h 703884"/>
              <a:gd name="connsiteX1" fmla="*/ 0 w 5320608"/>
              <a:gd name="connsiteY1" fmla="*/ 319650 h 703884"/>
              <a:gd name="connsiteX0" fmla="*/ 2889934 w 2889938"/>
              <a:gd name="connsiteY0" fmla="*/ 251649 h 1263062"/>
              <a:gd name="connsiteX1" fmla="*/ 0 w 2889938"/>
              <a:gd name="connsiteY1" fmla="*/ 1263061 h 1263062"/>
              <a:gd name="connsiteX0" fmla="*/ 2889934 w 2889938"/>
              <a:gd name="connsiteY0" fmla="*/ 1 h 1011414"/>
              <a:gd name="connsiteX1" fmla="*/ 0 w 2889938"/>
              <a:gd name="connsiteY1" fmla="*/ 1011413 h 1011414"/>
              <a:gd name="connsiteX0" fmla="*/ 752739 w 752743"/>
              <a:gd name="connsiteY0" fmla="*/ 1 h 1935252"/>
              <a:gd name="connsiteX1" fmla="*/ 3 w 752743"/>
              <a:gd name="connsiteY1" fmla="*/ 1935252 h 1935252"/>
              <a:gd name="connsiteX0" fmla="*/ 1160558 w 1160562"/>
              <a:gd name="connsiteY0" fmla="*/ 1 h 1935252"/>
              <a:gd name="connsiteX1" fmla="*/ 407822 w 1160562"/>
              <a:gd name="connsiteY1" fmla="*/ 1935252 h 1935252"/>
              <a:gd name="connsiteX0" fmla="*/ 1205658 w 1205662"/>
              <a:gd name="connsiteY0" fmla="*/ 1 h 1862610"/>
              <a:gd name="connsiteX1" fmla="*/ 384793 w 1205662"/>
              <a:gd name="connsiteY1" fmla="*/ 1862612 h 1862610"/>
              <a:gd name="connsiteX0" fmla="*/ 1190716 w 1190720"/>
              <a:gd name="connsiteY0" fmla="*/ 1 h 1883273"/>
              <a:gd name="connsiteX1" fmla="*/ 392148 w 1190720"/>
              <a:gd name="connsiteY1" fmla="*/ 1883273 h 1883273"/>
              <a:gd name="connsiteX0" fmla="*/ 1189098 w 1189102"/>
              <a:gd name="connsiteY0" fmla="*/ 1 h 1883273"/>
              <a:gd name="connsiteX1" fmla="*/ 390530 w 1189102"/>
              <a:gd name="connsiteY1" fmla="*/ 1883273 h 1883273"/>
              <a:gd name="connsiteX0" fmla="*/ 1164575 w 1164575"/>
              <a:gd name="connsiteY0" fmla="*/ 0 h 1860619"/>
              <a:gd name="connsiteX1" fmla="*/ 403194 w 1164575"/>
              <a:gd name="connsiteY1" fmla="*/ 1860619 h 1860619"/>
              <a:gd name="connsiteX0" fmla="*/ 1164909 w 1164909"/>
              <a:gd name="connsiteY0" fmla="*/ 0 h 1860619"/>
              <a:gd name="connsiteX1" fmla="*/ 403528 w 1164909"/>
              <a:gd name="connsiteY1" fmla="*/ 1860619 h 1860619"/>
              <a:gd name="connsiteX0" fmla="*/ 1215490 w 1215490"/>
              <a:gd name="connsiteY0" fmla="*/ 0 h 1860619"/>
              <a:gd name="connsiteX1" fmla="*/ 454109 w 1215490"/>
              <a:gd name="connsiteY1" fmla="*/ 1860619 h 1860619"/>
              <a:gd name="connsiteX0" fmla="*/ 1157822 w 1157826"/>
              <a:gd name="connsiteY0" fmla="*/ 2 h 1943256"/>
              <a:gd name="connsiteX1" fmla="*/ 485627 w 1157826"/>
              <a:gd name="connsiteY1" fmla="*/ 1943256 h 1943256"/>
              <a:gd name="connsiteX0" fmla="*/ 1105906 w 1105910"/>
              <a:gd name="connsiteY0" fmla="*/ 2 h 1943256"/>
              <a:gd name="connsiteX1" fmla="*/ 433711 w 1105910"/>
              <a:gd name="connsiteY1" fmla="*/ 1943256 h 1943256"/>
              <a:gd name="connsiteX0" fmla="*/ 1206089 w 1206088"/>
              <a:gd name="connsiteY0" fmla="*/ -2 h 1848170"/>
              <a:gd name="connsiteX1" fmla="*/ 390188 w 1206088"/>
              <a:gd name="connsiteY1" fmla="*/ 1848170 h 1848170"/>
              <a:gd name="connsiteX0" fmla="*/ 1086473 w 1086472"/>
              <a:gd name="connsiteY0" fmla="*/ -2 h 1848170"/>
              <a:gd name="connsiteX1" fmla="*/ 270572 w 1086472"/>
              <a:gd name="connsiteY1" fmla="*/ 1848170 h 1848170"/>
              <a:gd name="connsiteX0" fmla="*/ 8038878 w 8038877"/>
              <a:gd name="connsiteY0" fmla="*/ -2 h 3615278"/>
              <a:gd name="connsiteX1" fmla="*/ 49728 w 8038877"/>
              <a:gd name="connsiteY1" fmla="*/ 3615276 h 3615278"/>
              <a:gd name="connsiteX0" fmla="*/ 7989148 w 7989147"/>
              <a:gd name="connsiteY0" fmla="*/ -2 h 3615278"/>
              <a:gd name="connsiteX1" fmla="*/ -2 w 7989147"/>
              <a:gd name="connsiteY1" fmla="*/ 3615276 h 3615278"/>
              <a:gd name="connsiteX0" fmla="*/ 7852029 w 7852028"/>
              <a:gd name="connsiteY0" fmla="*/ -2 h 3653503"/>
              <a:gd name="connsiteX1" fmla="*/ 0 w 7852028"/>
              <a:gd name="connsiteY1" fmla="*/ 3653504 h 3653503"/>
              <a:gd name="connsiteX0" fmla="*/ 7852029 w 7852028"/>
              <a:gd name="connsiteY0" fmla="*/ -2 h 3653503"/>
              <a:gd name="connsiteX1" fmla="*/ 0 w 7852028"/>
              <a:gd name="connsiteY1" fmla="*/ 3653504 h 3653503"/>
              <a:gd name="connsiteX0" fmla="*/ 8045309 w 8045309"/>
              <a:gd name="connsiteY0" fmla="*/ 0 h 3588622"/>
              <a:gd name="connsiteX1" fmla="*/ 0 w 8045309"/>
              <a:gd name="connsiteY1" fmla="*/ 3588623 h 3588622"/>
              <a:gd name="connsiteX0" fmla="*/ 8045309 w 8045309"/>
              <a:gd name="connsiteY0" fmla="*/ 0 h 3588622"/>
              <a:gd name="connsiteX1" fmla="*/ 0 w 8045309"/>
              <a:gd name="connsiteY1" fmla="*/ 3588623 h 3588622"/>
              <a:gd name="connsiteX0" fmla="*/ 8045309 w 8045309"/>
              <a:gd name="connsiteY0" fmla="*/ 0 h 3588622"/>
              <a:gd name="connsiteX1" fmla="*/ 0 w 8045309"/>
              <a:gd name="connsiteY1" fmla="*/ 3588623 h 3588622"/>
              <a:gd name="connsiteX0" fmla="*/ 8179140 w 8179141"/>
              <a:gd name="connsiteY0" fmla="*/ 0 h 3578833"/>
              <a:gd name="connsiteX1" fmla="*/ 0 w 8179141"/>
              <a:gd name="connsiteY1" fmla="*/ 3578834 h 3578833"/>
              <a:gd name="connsiteX0" fmla="*/ 8179140 w 8179141"/>
              <a:gd name="connsiteY0" fmla="*/ 0 h 3578833"/>
              <a:gd name="connsiteX1" fmla="*/ 0 w 8179141"/>
              <a:gd name="connsiteY1" fmla="*/ 3578834 h 3578833"/>
              <a:gd name="connsiteX0" fmla="*/ 8288176 w 8288179"/>
              <a:gd name="connsiteY0" fmla="*/ 0 h 3553940"/>
              <a:gd name="connsiteX1" fmla="*/ 0 w 8288179"/>
              <a:gd name="connsiteY1" fmla="*/ 3553941 h 3553940"/>
              <a:gd name="connsiteX0" fmla="*/ 8238107 w 8238103"/>
              <a:gd name="connsiteY0" fmla="*/ -1 h 3553134"/>
              <a:gd name="connsiteX1" fmla="*/ 0 w 8238103"/>
              <a:gd name="connsiteY1" fmla="*/ 3553135 h 3553134"/>
              <a:gd name="connsiteX0" fmla="*/ 8238107 w 8305339"/>
              <a:gd name="connsiteY0" fmla="*/ -1 h 3553134"/>
              <a:gd name="connsiteX1" fmla="*/ 0 w 8305339"/>
              <a:gd name="connsiteY1" fmla="*/ 3553135 h 3553134"/>
              <a:gd name="connsiteX0" fmla="*/ 12251389 w 12288614"/>
              <a:gd name="connsiteY0" fmla="*/ -1 h 4841777"/>
              <a:gd name="connsiteX1" fmla="*/ 2 w 12288614"/>
              <a:gd name="connsiteY1" fmla="*/ 4841777 h 4841777"/>
              <a:gd name="connsiteX0" fmla="*/ 12251389 w 12300718"/>
              <a:gd name="connsiteY0" fmla="*/ -1 h 4841777"/>
              <a:gd name="connsiteX1" fmla="*/ 2 w 12300718"/>
              <a:gd name="connsiteY1" fmla="*/ 4841777 h 4841777"/>
              <a:gd name="connsiteX0" fmla="*/ 12107399 w 12157791"/>
              <a:gd name="connsiteY0" fmla="*/ -2 h 4813412"/>
              <a:gd name="connsiteX1" fmla="*/ 2 w 12157791"/>
              <a:gd name="connsiteY1" fmla="*/ 4813412 h 4813412"/>
              <a:gd name="connsiteX0" fmla="*/ 12107399 w 12115490"/>
              <a:gd name="connsiteY0" fmla="*/ -2 h 4813412"/>
              <a:gd name="connsiteX1" fmla="*/ 2 w 12115490"/>
              <a:gd name="connsiteY1" fmla="*/ 4813412 h 4813412"/>
              <a:gd name="connsiteX0" fmla="*/ 12107399 w 12107405"/>
              <a:gd name="connsiteY0" fmla="*/ -2 h 8022353"/>
              <a:gd name="connsiteX1" fmla="*/ 6545993 w 12107405"/>
              <a:gd name="connsiteY1" fmla="*/ 8022346 h 8022353"/>
              <a:gd name="connsiteX2" fmla="*/ 2 w 12107405"/>
              <a:gd name="connsiteY2" fmla="*/ 4813412 h 8022353"/>
              <a:gd name="connsiteX0" fmla="*/ 12107399 w 12107405"/>
              <a:gd name="connsiteY0" fmla="*/ -2 h 8022353"/>
              <a:gd name="connsiteX1" fmla="*/ 6545993 w 12107405"/>
              <a:gd name="connsiteY1" fmla="*/ 8022346 h 8022353"/>
              <a:gd name="connsiteX2" fmla="*/ 2 w 12107405"/>
              <a:gd name="connsiteY2" fmla="*/ 4813412 h 8022353"/>
              <a:gd name="connsiteX0" fmla="*/ 12107399 w 12107405"/>
              <a:gd name="connsiteY0" fmla="*/ -2 h 8300125"/>
              <a:gd name="connsiteX1" fmla="*/ 6545993 w 12107405"/>
              <a:gd name="connsiteY1" fmla="*/ 8022346 h 8300125"/>
              <a:gd name="connsiteX2" fmla="*/ 2 w 12107405"/>
              <a:gd name="connsiteY2" fmla="*/ 4813412 h 8300125"/>
              <a:gd name="connsiteX0" fmla="*/ 12107399 w 12107405"/>
              <a:gd name="connsiteY0" fmla="*/ -2 h 8022353"/>
              <a:gd name="connsiteX1" fmla="*/ 6545993 w 12107405"/>
              <a:gd name="connsiteY1" fmla="*/ 8022346 h 8022353"/>
              <a:gd name="connsiteX2" fmla="*/ 2 w 12107405"/>
              <a:gd name="connsiteY2" fmla="*/ 4813412 h 8022353"/>
              <a:gd name="connsiteX0" fmla="*/ 12107399 w 12107405"/>
              <a:gd name="connsiteY0" fmla="*/ -2 h 8207559"/>
              <a:gd name="connsiteX1" fmla="*/ 6545993 w 12107405"/>
              <a:gd name="connsiteY1" fmla="*/ 8022346 h 8207559"/>
              <a:gd name="connsiteX2" fmla="*/ 2 w 12107405"/>
              <a:gd name="connsiteY2" fmla="*/ 4813412 h 8207559"/>
              <a:gd name="connsiteX0" fmla="*/ 12107399 w 12107405"/>
              <a:gd name="connsiteY0" fmla="*/ -2 h 8207559"/>
              <a:gd name="connsiteX1" fmla="*/ 6545993 w 12107405"/>
              <a:gd name="connsiteY1" fmla="*/ 8022346 h 8207559"/>
              <a:gd name="connsiteX2" fmla="*/ 2 w 12107405"/>
              <a:gd name="connsiteY2" fmla="*/ 4813412 h 8207559"/>
              <a:gd name="connsiteX0" fmla="*/ 12107399 w 12107405"/>
              <a:gd name="connsiteY0" fmla="*/ -2 h 5832413"/>
              <a:gd name="connsiteX1" fmla="*/ 6795750 w 12107405"/>
              <a:gd name="connsiteY1" fmla="*/ 4477192 h 5832413"/>
              <a:gd name="connsiteX2" fmla="*/ 2 w 12107405"/>
              <a:gd name="connsiteY2" fmla="*/ 4813412 h 5832413"/>
              <a:gd name="connsiteX0" fmla="*/ 12199969 w 12199966"/>
              <a:gd name="connsiteY0" fmla="*/ -2 h 4729244"/>
              <a:gd name="connsiteX1" fmla="*/ 6888320 w 12199966"/>
              <a:gd name="connsiteY1" fmla="*/ 4477192 h 4729244"/>
              <a:gd name="connsiteX2" fmla="*/ -5 w 12199966"/>
              <a:gd name="connsiteY2" fmla="*/ 2015045 h 4729244"/>
              <a:gd name="connsiteX0" fmla="*/ 12199979 w 12199976"/>
              <a:gd name="connsiteY0" fmla="*/ -2 h 4540082"/>
              <a:gd name="connsiteX1" fmla="*/ 6888330 w 12199976"/>
              <a:gd name="connsiteY1" fmla="*/ 4477192 h 4540082"/>
              <a:gd name="connsiteX2" fmla="*/ 5 w 12199976"/>
              <a:gd name="connsiteY2" fmla="*/ 2015045 h 4540082"/>
              <a:gd name="connsiteX0" fmla="*/ 12199969 w 12199966"/>
              <a:gd name="connsiteY0" fmla="*/ -2 h 4540082"/>
              <a:gd name="connsiteX1" fmla="*/ 6888320 w 12199966"/>
              <a:gd name="connsiteY1" fmla="*/ 4477192 h 4540082"/>
              <a:gd name="connsiteX2" fmla="*/ -5 w 12199966"/>
              <a:gd name="connsiteY2" fmla="*/ 2015045 h 4540082"/>
              <a:gd name="connsiteX0" fmla="*/ 12199979 w 12199976"/>
              <a:gd name="connsiteY0" fmla="*/ -2 h 4540082"/>
              <a:gd name="connsiteX1" fmla="*/ 6888330 w 12199976"/>
              <a:gd name="connsiteY1" fmla="*/ 4477192 h 4540082"/>
              <a:gd name="connsiteX2" fmla="*/ 5 w 12199976"/>
              <a:gd name="connsiteY2" fmla="*/ 2015045 h 4540082"/>
              <a:gd name="connsiteX0" fmla="*/ 12055154 w 12055151"/>
              <a:gd name="connsiteY0" fmla="*/ -2 h 4520870"/>
              <a:gd name="connsiteX1" fmla="*/ 6743505 w 12055151"/>
              <a:gd name="connsiteY1" fmla="*/ 4477192 h 4520870"/>
              <a:gd name="connsiteX2" fmla="*/ 0 w 12055151"/>
              <a:gd name="connsiteY2" fmla="*/ 1546022 h 4520870"/>
            </a:gdLst>
            <a:ahLst/>
            <a:cxnLst>
              <a:cxn ang="0">
                <a:pos x="connsiteX0" y="connsiteY0"/>
              </a:cxn>
              <a:cxn ang="0">
                <a:pos x="connsiteX1" y="connsiteY1"/>
              </a:cxn>
              <a:cxn ang="0">
                <a:pos x="connsiteX2" y="connsiteY2"/>
              </a:cxn>
            </a:cxnLst>
            <a:rect l="l" t="t" r="r" b="b"/>
            <a:pathLst>
              <a:path w="12055151" h="4520870">
                <a:moveTo>
                  <a:pt x="12055154" y="-2"/>
                </a:moveTo>
                <a:cubicBezTo>
                  <a:pt x="11293542" y="1707273"/>
                  <a:pt x="9348623" y="3905948"/>
                  <a:pt x="6743505" y="4477192"/>
                </a:cubicBezTo>
                <a:cubicBezTo>
                  <a:pt x="4740544" y="4763786"/>
                  <a:pt x="2466337" y="3623489"/>
                  <a:pt x="0" y="1546022"/>
                </a:cubicBezTo>
              </a:path>
            </a:pathLst>
          </a:custGeom>
          <a:noFill/>
          <a:ln w="15875" cap="flat" cmpd="sng" algn="ctr">
            <a:solidFill>
              <a:srgbClr val="B8690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92" name="Freeform 93"/>
          <p:cNvSpPr/>
          <p:nvPr/>
        </p:nvSpPr>
        <p:spPr bwMode="auto">
          <a:xfrm flipH="1">
            <a:off x="2721762" y="2728439"/>
            <a:ext cx="324173" cy="45719"/>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9853"/>
              <a:gd name="connsiteY0" fmla="*/ 0 h 1710816"/>
              <a:gd name="connsiteX1" fmla="*/ 3043291 w 3049853"/>
              <a:gd name="connsiteY1" fmla="*/ 1710816 h 1710816"/>
              <a:gd name="connsiteX0" fmla="*/ 0 w 3012897"/>
              <a:gd name="connsiteY0" fmla="*/ 0 h 1700872"/>
              <a:gd name="connsiteX1" fmla="*/ 3006136 w 3012897"/>
              <a:gd name="connsiteY1" fmla="*/ 1700872 h 1700872"/>
              <a:gd name="connsiteX0" fmla="*/ 0 w 3012358"/>
              <a:gd name="connsiteY0" fmla="*/ 0 h 1700872"/>
              <a:gd name="connsiteX1" fmla="*/ 3006136 w 3012358"/>
              <a:gd name="connsiteY1" fmla="*/ 1700872 h 1700872"/>
              <a:gd name="connsiteX0" fmla="*/ 0 w 3009172"/>
              <a:gd name="connsiteY0" fmla="*/ 0 h 1700872"/>
              <a:gd name="connsiteX1" fmla="*/ 3006136 w 3009172"/>
              <a:gd name="connsiteY1" fmla="*/ 1700872 h 1700872"/>
              <a:gd name="connsiteX0" fmla="*/ 0 w 3011188"/>
              <a:gd name="connsiteY0" fmla="*/ 0 h 1700872"/>
              <a:gd name="connsiteX1" fmla="*/ 3006136 w 3011188"/>
              <a:gd name="connsiteY1" fmla="*/ 1700872 h 1700872"/>
              <a:gd name="connsiteX0" fmla="*/ 0 w 1265872"/>
              <a:gd name="connsiteY0" fmla="*/ 231846 h 231890"/>
              <a:gd name="connsiteX1" fmla="*/ 1024598 w 1265872"/>
              <a:gd name="connsiteY1" fmla="*/ 215725 h 231890"/>
              <a:gd name="connsiteX0" fmla="*/ 0 w 1089071"/>
              <a:gd name="connsiteY0" fmla="*/ 43894 h 44136"/>
              <a:gd name="connsiteX1" fmla="*/ 1024598 w 1089071"/>
              <a:gd name="connsiteY1" fmla="*/ 27773 h 44136"/>
              <a:gd name="connsiteX0" fmla="*/ 0 w 1024597"/>
              <a:gd name="connsiteY0" fmla="*/ 52170 h 52170"/>
              <a:gd name="connsiteX1" fmla="*/ 1024598 w 1024597"/>
              <a:gd name="connsiteY1" fmla="*/ 36049 h 52170"/>
              <a:gd name="connsiteX0" fmla="*/ 0 w 1024599"/>
              <a:gd name="connsiteY0" fmla="*/ 202860 h 202860"/>
              <a:gd name="connsiteX1" fmla="*/ 1024599 w 1024599"/>
              <a:gd name="connsiteY1" fmla="*/ 14374 h 202860"/>
              <a:gd name="connsiteX0" fmla="*/ 0 w 1024599"/>
              <a:gd name="connsiteY0" fmla="*/ 188486 h 188486"/>
              <a:gd name="connsiteX1" fmla="*/ 1024599 w 1024599"/>
              <a:gd name="connsiteY1" fmla="*/ 0 h 188486"/>
              <a:gd name="connsiteX0" fmla="*/ 0 w 1024599"/>
              <a:gd name="connsiteY0" fmla="*/ 188486 h 188486"/>
              <a:gd name="connsiteX1" fmla="*/ 1024599 w 1024599"/>
              <a:gd name="connsiteY1" fmla="*/ 0 h 188486"/>
              <a:gd name="connsiteX0" fmla="*/ 0 w 4327162"/>
              <a:gd name="connsiteY0" fmla="*/ 188486 h 188486"/>
              <a:gd name="connsiteX1" fmla="*/ 4327162 w 4327162"/>
              <a:gd name="connsiteY1" fmla="*/ 0 h 188486"/>
              <a:gd name="connsiteX0" fmla="*/ 0 w 4327162"/>
              <a:gd name="connsiteY0" fmla="*/ 496341 h 496341"/>
              <a:gd name="connsiteX1" fmla="*/ 4327162 w 4327162"/>
              <a:gd name="connsiteY1" fmla="*/ 307855 h 496341"/>
              <a:gd name="connsiteX0" fmla="*/ 0 w 4327162"/>
              <a:gd name="connsiteY0" fmla="*/ 874372 h 874372"/>
              <a:gd name="connsiteX1" fmla="*/ 4327162 w 4327162"/>
              <a:gd name="connsiteY1" fmla="*/ 685886 h 874372"/>
              <a:gd name="connsiteX0" fmla="*/ 0 w 4327162"/>
              <a:gd name="connsiteY0" fmla="*/ 932499 h 932499"/>
              <a:gd name="connsiteX1" fmla="*/ 4327162 w 4327162"/>
              <a:gd name="connsiteY1" fmla="*/ 744013 h 932499"/>
              <a:gd name="connsiteX0" fmla="*/ 0 w 4327162"/>
              <a:gd name="connsiteY0" fmla="*/ 900717 h 900717"/>
              <a:gd name="connsiteX1" fmla="*/ 4327162 w 4327162"/>
              <a:gd name="connsiteY1" fmla="*/ 712231 h 900717"/>
              <a:gd name="connsiteX0" fmla="*/ 0 w 4327162"/>
              <a:gd name="connsiteY0" fmla="*/ 900717 h 900717"/>
              <a:gd name="connsiteX1" fmla="*/ 4327162 w 4327162"/>
              <a:gd name="connsiteY1" fmla="*/ 712231 h 900717"/>
              <a:gd name="connsiteX0" fmla="*/ 0 w 4327162"/>
              <a:gd name="connsiteY0" fmla="*/ 918648 h 918648"/>
              <a:gd name="connsiteX1" fmla="*/ 4327162 w 4327162"/>
              <a:gd name="connsiteY1" fmla="*/ 730162 h 918648"/>
              <a:gd name="connsiteX0" fmla="*/ 0 w 5599916"/>
              <a:gd name="connsiteY0" fmla="*/ 643023 h 1216923"/>
              <a:gd name="connsiteX1" fmla="*/ 5599916 w 5599916"/>
              <a:gd name="connsiteY1" fmla="*/ 1216923 h 1216923"/>
              <a:gd name="connsiteX0" fmla="*/ 0 w 5599916"/>
              <a:gd name="connsiteY0" fmla="*/ 863522 h 1437422"/>
              <a:gd name="connsiteX1" fmla="*/ 5599916 w 5599916"/>
              <a:gd name="connsiteY1" fmla="*/ 1437422 h 1437422"/>
              <a:gd name="connsiteX0" fmla="*/ 0 w 5599916"/>
              <a:gd name="connsiteY0" fmla="*/ 984252 h 1558152"/>
              <a:gd name="connsiteX1" fmla="*/ 5599916 w 5599916"/>
              <a:gd name="connsiteY1" fmla="*/ 1558152 h 1558152"/>
              <a:gd name="connsiteX0" fmla="*/ 0 w 5599916"/>
              <a:gd name="connsiteY0" fmla="*/ 1001224 h 1575124"/>
              <a:gd name="connsiteX1" fmla="*/ 5599916 w 5599916"/>
              <a:gd name="connsiteY1" fmla="*/ 1575124 h 1575124"/>
              <a:gd name="connsiteX0" fmla="*/ 0 w 778662"/>
              <a:gd name="connsiteY0" fmla="*/ 1354876 h 1354876"/>
              <a:gd name="connsiteX1" fmla="*/ 234769 w 778662"/>
              <a:gd name="connsiteY1" fmla="*/ 1149153 h 1354876"/>
              <a:gd name="connsiteX0" fmla="*/ 0 w 935096"/>
              <a:gd name="connsiteY0" fmla="*/ 808798 h 808798"/>
              <a:gd name="connsiteX1" fmla="*/ 234769 w 935096"/>
              <a:gd name="connsiteY1" fmla="*/ 603075 h 808798"/>
              <a:gd name="connsiteX0" fmla="*/ 0 w 907643"/>
              <a:gd name="connsiteY0" fmla="*/ 790190 h 790190"/>
              <a:gd name="connsiteX1" fmla="*/ 130338 w 907643"/>
              <a:gd name="connsiteY1" fmla="*/ 648110 h 790190"/>
              <a:gd name="connsiteX0" fmla="*/ 0 w 928079"/>
              <a:gd name="connsiteY0" fmla="*/ 797069 h 797069"/>
              <a:gd name="connsiteX1" fmla="*/ 208661 w 928079"/>
              <a:gd name="connsiteY1" fmla="*/ 631123 h 797069"/>
              <a:gd name="connsiteX0" fmla="*/ 0 w 208662"/>
              <a:gd name="connsiteY0" fmla="*/ 165946 h 165946"/>
              <a:gd name="connsiteX1" fmla="*/ 208661 w 208662"/>
              <a:gd name="connsiteY1" fmla="*/ 0 h 165946"/>
              <a:gd name="connsiteX0" fmla="*/ 0 w 241295"/>
              <a:gd name="connsiteY0" fmla="*/ 175890 h 175890"/>
              <a:gd name="connsiteX1" fmla="*/ 241296 w 241295"/>
              <a:gd name="connsiteY1" fmla="*/ 0 h 175890"/>
              <a:gd name="connsiteX0" fmla="*/ 6942 w 248238"/>
              <a:gd name="connsiteY0" fmla="*/ 175890 h 175890"/>
              <a:gd name="connsiteX1" fmla="*/ 248238 w 248238"/>
              <a:gd name="connsiteY1" fmla="*/ 0 h 175890"/>
              <a:gd name="connsiteX0" fmla="*/ 8926 w 225747"/>
              <a:gd name="connsiteY0" fmla="*/ 153516 h 153516"/>
              <a:gd name="connsiteX1" fmla="*/ 225747 w 225747"/>
              <a:gd name="connsiteY1" fmla="*/ 0 h 153516"/>
              <a:gd name="connsiteX0" fmla="*/ 7514 w 240653"/>
              <a:gd name="connsiteY0" fmla="*/ 170918 h 170918"/>
              <a:gd name="connsiteX1" fmla="*/ 240653 w 240653"/>
              <a:gd name="connsiteY1" fmla="*/ 0 h 170918"/>
              <a:gd name="connsiteX0" fmla="*/ 18240 w 251379"/>
              <a:gd name="connsiteY0" fmla="*/ 170918 h 170918"/>
              <a:gd name="connsiteX1" fmla="*/ 251379 w 251379"/>
              <a:gd name="connsiteY1" fmla="*/ 0 h 170918"/>
              <a:gd name="connsiteX0" fmla="*/ 18240 w 251379"/>
              <a:gd name="connsiteY0" fmla="*/ 158488 h 158488"/>
              <a:gd name="connsiteX1" fmla="*/ 251379 w 251379"/>
              <a:gd name="connsiteY1" fmla="*/ 0 h 158488"/>
              <a:gd name="connsiteX0" fmla="*/ 17341 w 258639"/>
              <a:gd name="connsiteY0" fmla="*/ 160974 h 160974"/>
              <a:gd name="connsiteX1" fmla="*/ 258640 w 258639"/>
              <a:gd name="connsiteY1" fmla="*/ 0 h 160974"/>
              <a:gd name="connsiteX0" fmla="*/ 14278 w 255578"/>
              <a:gd name="connsiteY0" fmla="*/ 163066 h 163066"/>
              <a:gd name="connsiteX1" fmla="*/ 255577 w 255578"/>
              <a:gd name="connsiteY1" fmla="*/ 2092 h 163066"/>
              <a:gd name="connsiteX0" fmla="*/ 14278 w 255576"/>
              <a:gd name="connsiteY0" fmla="*/ 165919 h 165919"/>
              <a:gd name="connsiteX1" fmla="*/ 255577 w 255576"/>
              <a:gd name="connsiteY1" fmla="*/ 4945 h 165919"/>
              <a:gd name="connsiteX0" fmla="*/ 15719 w 257018"/>
              <a:gd name="connsiteY0" fmla="*/ 166082 h 166082"/>
              <a:gd name="connsiteX1" fmla="*/ 257018 w 257018"/>
              <a:gd name="connsiteY1" fmla="*/ 5108 h 166082"/>
              <a:gd name="connsiteX0" fmla="*/ 16029 w 257328"/>
              <a:gd name="connsiteY0" fmla="*/ 164225 h 164225"/>
              <a:gd name="connsiteX1" fmla="*/ 257328 w 257328"/>
              <a:gd name="connsiteY1" fmla="*/ 3251 h 164225"/>
              <a:gd name="connsiteX0" fmla="*/ 15126 w 256425"/>
              <a:gd name="connsiteY0" fmla="*/ 164814 h 164814"/>
              <a:gd name="connsiteX1" fmla="*/ 256425 w 256425"/>
              <a:gd name="connsiteY1" fmla="*/ 3840 h 164814"/>
              <a:gd name="connsiteX0" fmla="*/ 41402 w 135844"/>
              <a:gd name="connsiteY0" fmla="*/ 32128 h 57606"/>
              <a:gd name="connsiteX1" fmla="*/ 135844 w 135844"/>
              <a:gd name="connsiteY1" fmla="*/ 57607 h 57606"/>
              <a:gd name="connsiteX0" fmla="*/ 288769 w 288769"/>
              <a:gd name="connsiteY0" fmla="*/ 16967 h 159290"/>
              <a:gd name="connsiteX1" fmla="*/ 44626 w 288769"/>
              <a:gd name="connsiteY1" fmla="*/ 159290 h 159290"/>
              <a:gd name="connsiteX0" fmla="*/ 244143 w 244143"/>
              <a:gd name="connsiteY0" fmla="*/ 15076 h 157526"/>
              <a:gd name="connsiteX1" fmla="*/ 0 w 244143"/>
              <a:gd name="connsiteY1" fmla="*/ 157399 h 157526"/>
              <a:gd name="connsiteX0" fmla="*/ 219666 w 219666"/>
              <a:gd name="connsiteY0" fmla="*/ 14805 h 162223"/>
              <a:gd name="connsiteX1" fmla="*/ 0 w 219666"/>
              <a:gd name="connsiteY1" fmla="*/ 162100 h 162223"/>
              <a:gd name="connsiteX0" fmla="*/ 219666 w 247319"/>
              <a:gd name="connsiteY0" fmla="*/ 0 h 147529"/>
              <a:gd name="connsiteX1" fmla="*/ 0 w 247319"/>
              <a:gd name="connsiteY1" fmla="*/ 147295 h 147529"/>
              <a:gd name="connsiteX0" fmla="*/ 227824 w 254399"/>
              <a:gd name="connsiteY0" fmla="*/ 0 h 152492"/>
              <a:gd name="connsiteX1" fmla="*/ 0 w 254399"/>
              <a:gd name="connsiteY1" fmla="*/ 152268 h 152492"/>
              <a:gd name="connsiteX0" fmla="*/ 227824 w 253476"/>
              <a:gd name="connsiteY0" fmla="*/ 0 h 154921"/>
              <a:gd name="connsiteX1" fmla="*/ 0 w 253476"/>
              <a:gd name="connsiteY1" fmla="*/ 152268 h 154921"/>
              <a:gd name="connsiteX0" fmla="*/ 227824 w 261726"/>
              <a:gd name="connsiteY0" fmla="*/ 0 h 155188"/>
              <a:gd name="connsiteX1" fmla="*/ 0 w 261726"/>
              <a:gd name="connsiteY1" fmla="*/ 152268 h 155188"/>
              <a:gd name="connsiteX0" fmla="*/ 0 w 1622463"/>
              <a:gd name="connsiteY0" fmla="*/ 81420 h 94627"/>
              <a:gd name="connsiteX1" fmla="*/ 1607873 w 1622463"/>
              <a:gd name="connsiteY1" fmla="*/ 0 h 94627"/>
              <a:gd name="connsiteX0" fmla="*/ 0 w 1607873"/>
              <a:gd name="connsiteY0" fmla="*/ 90497 h 99366"/>
              <a:gd name="connsiteX1" fmla="*/ 1607873 w 1607873"/>
              <a:gd name="connsiteY1" fmla="*/ 9077 h 99366"/>
              <a:gd name="connsiteX0" fmla="*/ 0 w 1591556"/>
              <a:gd name="connsiteY0" fmla="*/ 104820 h 113107"/>
              <a:gd name="connsiteX1" fmla="*/ 1591556 w 1591556"/>
              <a:gd name="connsiteY1" fmla="*/ 8483 h 113107"/>
              <a:gd name="connsiteX0" fmla="*/ 0 w 1591556"/>
              <a:gd name="connsiteY0" fmla="*/ 117229 h 124320"/>
              <a:gd name="connsiteX1" fmla="*/ 1591556 w 1591556"/>
              <a:gd name="connsiteY1" fmla="*/ 20892 h 124320"/>
              <a:gd name="connsiteX0" fmla="*/ 0 w 1591556"/>
              <a:gd name="connsiteY0" fmla="*/ 113613 h 140106"/>
              <a:gd name="connsiteX1" fmla="*/ 1591556 w 1591556"/>
              <a:gd name="connsiteY1" fmla="*/ 17276 h 140106"/>
              <a:gd name="connsiteX0" fmla="*/ 0 w 1591556"/>
              <a:gd name="connsiteY0" fmla="*/ 118345 h 144487"/>
              <a:gd name="connsiteX1" fmla="*/ 1591556 w 1591556"/>
              <a:gd name="connsiteY1" fmla="*/ 17036 h 144487"/>
              <a:gd name="connsiteX0" fmla="*/ 0 w 1591556"/>
              <a:gd name="connsiteY0" fmla="*/ 117486 h 150580"/>
              <a:gd name="connsiteX1" fmla="*/ 1591556 w 1591556"/>
              <a:gd name="connsiteY1" fmla="*/ 16177 h 150580"/>
              <a:gd name="connsiteX0" fmla="*/ 0 w 1069402"/>
              <a:gd name="connsiteY0" fmla="*/ 0 h 77685"/>
              <a:gd name="connsiteX1" fmla="*/ 1069402 w 1069402"/>
              <a:gd name="connsiteY1" fmla="*/ 77686 h 77685"/>
              <a:gd name="connsiteX0" fmla="*/ 0 w 1069402"/>
              <a:gd name="connsiteY0" fmla="*/ 0 h 77686"/>
              <a:gd name="connsiteX1" fmla="*/ 1069402 w 1069402"/>
              <a:gd name="connsiteY1" fmla="*/ 77686 h 77686"/>
              <a:gd name="connsiteX0" fmla="*/ 0 w 1069402"/>
              <a:gd name="connsiteY0" fmla="*/ 0 h 77686"/>
              <a:gd name="connsiteX1" fmla="*/ 1069402 w 1069402"/>
              <a:gd name="connsiteY1" fmla="*/ 77686 h 77686"/>
              <a:gd name="connsiteX0" fmla="*/ 0 w 1028610"/>
              <a:gd name="connsiteY0" fmla="*/ 0 h 102546"/>
              <a:gd name="connsiteX1" fmla="*/ 1028610 w 1028610"/>
              <a:gd name="connsiteY1" fmla="*/ 102546 h 102546"/>
              <a:gd name="connsiteX0" fmla="*/ 0 w 1028610"/>
              <a:gd name="connsiteY0" fmla="*/ 0 h 102546"/>
              <a:gd name="connsiteX1" fmla="*/ 1028610 w 1028610"/>
              <a:gd name="connsiteY1" fmla="*/ 102546 h 102546"/>
              <a:gd name="connsiteX0" fmla="*/ 0 w 1028610"/>
              <a:gd name="connsiteY0" fmla="*/ 0 h 102546"/>
              <a:gd name="connsiteX1" fmla="*/ 1028610 w 1028610"/>
              <a:gd name="connsiteY1" fmla="*/ 102546 h 102546"/>
              <a:gd name="connsiteX0" fmla="*/ 0 w 1004133"/>
              <a:gd name="connsiteY0" fmla="*/ 0 h 105032"/>
              <a:gd name="connsiteX1" fmla="*/ 1004133 w 1004133"/>
              <a:gd name="connsiteY1" fmla="*/ 105032 h 105032"/>
              <a:gd name="connsiteX0" fmla="*/ 0 w 1004133"/>
              <a:gd name="connsiteY0" fmla="*/ 0 h 105032"/>
              <a:gd name="connsiteX1" fmla="*/ 1004133 w 1004133"/>
              <a:gd name="connsiteY1" fmla="*/ 105032 h 105032"/>
              <a:gd name="connsiteX0" fmla="*/ 0 w 893991"/>
              <a:gd name="connsiteY0" fmla="*/ 0 h 433188"/>
              <a:gd name="connsiteX1" fmla="*/ 893991 w 893991"/>
              <a:gd name="connsiteY1" fmla="*/ 433188 h 433188"/>
              <a:gd name="connsiteX0" fmla="*/ 0 w 934785"/>
              <a:gd name="connsiteY0" fmla="*/ 0 h 433188"/>
              <a:gd name="connsiteX1" fmla="*/ 934785 w 934785"/>
              <a:gd name="connsiteY1" fmla="*/ 433188 h 433188"/>
              <a:gd name="connsiteX0" fmla="*/ 0 w 934785"/>
              <a:gd name="connsiteY0" fmla="*/ 0 h 433188"/>
              <a:gd name="connsiteX1" fmla="*/ 934785 w 934785"/>
              <a:gd name="connsiteY1" fmla="*/ 433188 h 433188"/>
              <a:gd name="connsiteX0" fmla="*/ 0 w 820564"/>
              <a:gd name="connsiteY0" fmla="*/ 0 h 482909"/>
              <a:gd name="connsiteX1" fmla="*/ 820564 w 820564"/>
              <a:gd name="connsiteY1" fmla="*/ 482909 h 482909"/>
              <a:gd name="connsiteX0" fmla="*/ 0 w 820564"/>
              <a:gd name="connsiteY0" fmla="*/ 0 h 482909"/>
              <a:gd name="connsiteX1" fmla="*/ 820564 w 820564"/>
              <a:gd name="connsiteY1" fmla="*/ 482909 h 482909"/>
              <a:gd name="connsiteX0" fmla="*/ 0 w 2493088"/>
              <a:gd name="connsiteY0" fmla="*/ 0 h 756373"/>
              <a:gd name="connsiteX1" fmla="*/ 2493088 w 2493088"/>
              <a:gd name="connsiteY1" fmla="*/ 756373 h 756373"/>
              <a:gd name="connsiteX0" fmla="*/ 0 w 2493088"/>
              <a:gd name="connsiteY0" fmla="*/ 0 h 756373"/>
              <a:gd name="connsiteX1" fmla="*/ 2493088 w 2493088"/>
              <a:gd name="connsiteY1" fmla="*/ 756373 h 756373"/>
              <a:gd name="connsiteX0" fmla="*/ 0 w 2482210"/>
              <a:gd name="connsiteY0" fmla="*/ 0 h 772947"/>
              <a:gd name="connsiteX1" fmla="*/ 2482210 w 2482210"/>
              <a:gd name="connsiteY1" fmla="*/ 772947 h 772947"/>
              <a:gd name="connsiteX0" fmla="*/ 0 w 2221133"/>
              <a:gd name="connsiteY0" fmla="*/ 0 h 1377550"/>
              <a:gd name="connsiteX1" fmla="*/ 2221133 w 2221133"/>
              <a:gd name="connsiteY1" fmla="*/ 1377550 h 1377550"/>
              <a:gd name="connsiteX0" fmla="*/ 0 w 2221133"/>
              <a:gd name="connsiteY0" fmla="*/ 0 h 1377550"/>
              <a:gd name="connsiteX1" fmla="*/ 2221133 w 2221133"/>
              <a:gd name="connsiteY1" fmla="*/ 1377550 h 1377550"/>
              <a:gd name="connsiteX0" fmla="*/ 0 w 2273348"/>
              <a:gd name="connsiteY0" fmla="*/ 0 h 1377550"/>
              <a:gd name="connsiteX1" fmla="*/ 2273348 w 2273348"/>
              <a:gd name="connsiteY1" fmla="*/ 1377550 h 1377550"/>
              <a:gd name="connsiteX0" fmla="*/ 0 w 2273348"/>
              <a:gd name="connsiteY0" fmla="*/ 0 h 1377550"/>
              <a:gd name="connsiteX1" fmla="*/ 2273348 w 2273348"/>
              <a:gd name="connsiteY1" fmla="*/ 1377550 h 1377550"/>
              <a:gd name="connsiteX0" fmla="*/ 0 w 2257031"/>
              <a:gd name="connsiteY0" fmla="*/ 0 h 1367606"/>
              <a:gd name="connsiteX1" fmla="*/ 2257031 w 2257031"/>
              <a:gd name="connsiteY1" fmla="*/ 1367606 h 1367606"/>
              <a:gd name="connsiteX0" fmla="*/ 0 w 2257031"/>
              <a:gd name="connsiteY0" fmla="*/ 0 h 1367606"/>
              <a:gd name="connsiteX1" fmla="*/ 2257031 w 2257031"/>
              <a:gd name="connsiteY1" fmla="*/ 1367606 h 1367606"/>
              <a:gd name="connsiteX0" fmla="*/ 0 w 2257031"/>
              <a:gd name="connsiteY0" fmla="*/ 0 h 1367606"/>
              <a:gd name="connsiteX1" fmla="*/ 2257031 w 2257031"/>
              <a:gd name="connsiteY1" fmla="*/ 1367606 h 1367606"/>
              <a:gd name="connsiteX0" fmla="*/ 0 w 2518108"/>
              <a:gd name="connsiteY0" fmla="*/ 0 h 1712336"/>
              <a:gd name="connsiteX1" fmla="*/ 2518108 w 2518108"/>
              <a:gd name="connsiteY1" fmla="*/ 1712336 h 1712336"/>
              <a:gd name="connsiteX0" fmla="*/ 0 w 2518108"/>
              <a:gd name="connsiteY0" fmla="*/ 0 h 1712336"/>
              <a:gd name="connsiteX1" fmla="*/ 2518108 w 2518108"/>
              <a:gd name="connsiteY1" fmla="*/ 1712336 h 1712336"/>
              <a:gd name="connsiteX0" fmla="*/ 0 w 2518108"/>
              <a:gd name="connsiteY0" fmla="*/ 0 h 1712336"/>
              <a:gd name="connsiteX1" fmla="*/ 2518108 w 2518108"/>
              <a:gd name="connsiteY1" fmla="*/ 1712336 h 1712336"/>
              <a:gd name="connsiteX0" fmla="*/ 0 w 2561621"/>
              <a:gd name="connsiteY0" fmla="*/ 0 h 1705707"/>
              <a:gd name="connsiteX1" fmla="*/ 2561621 w 2561621"/>
              <a:gd name="connsiteY1" fmla="*/ 1705707 h 1705707"/>
              <a:gd name="connsiteX0" fmla="*/ 0 w 3094653"/>
              <a:gd name="connsiteY0" fmla="*/ 0 h 1838295"/>
              <a:gd name="connsiteX1" fmla="*/ 3094653 w 3094653"/>
              <a:gd name="connsiteY1" fmla="*/ 1838295 h 1838295"/>
              <a:gd name="connsiteX0" fmla="*/ 0 w 3094653"/>
              <a:gd name="connsiteY0" fmla="*/ 0 h 1838295"/>
              <a:gd name="connsiteX1" fmla="*/ 3094653 w 3094653"/>
              <a:gd name="connsiteY1" fmla="*/ 1838295 h 1838295"/>
              <a:gd name="connsiteX0" fmla="*/ 0 w 3062018"/>
              <a:gd name="connsiteY0" fmla="*/ 0 h 1818407"/>
              <a:gd name="connsiteX1" fmla="*/ 3062018 w 3062018"/>
              <a:gd name="connsiteY1" fmla="*/ 1818407 h 1818407"/>
              <a:gd name="connsiteX0" fmla="*/ 0 w 3062018"/>
              <a:gd name="connsiteY0" fmla="*/ 0 h 1818407"/>
              <a:gd name="connsiteX1" fmla="*/ 3062018 w 3062018"/>
              <a:gd name="connsiteY1" fmla="*/ 1818407 h 1818407"/>
              <a:gd name="connsiteX0" fmla="*/ 0 w 3121356"/>
              <a:gd name="connsiteY0" fmla="*/ 0 h 1858986"/>
              <a:gd name="connsiteX1" fmla="*/ 3121356 w 3121356"/>
              <a:gd name="connsiteY1" fmla="*/ 1858986 h 1858986"/>
              <a:gd name="connsiteX0" fmla="*/ 0 w 3143961"/>
              <a:gd name="connsiteY0" fmla="*/ 0 h 1858986"/>
              <a:gd name="connsiteX1" fmla="*/ 3143961 w 3143961"/>
              <a:gd name="connsiteY1" fmla="*/ 1858986 h 1858986"/>
              <a:gd name="connsiteX0" fmla="*/ 0 w 3143961"/>
              <a:gd name="connsiteY0" fmla="*/ 0 h 1858986"/>
              <a:gd name="connsiteX1" fmla="*/ 3143961 w 3143961"/>
              <a:gd name="connsiteY1" fmla="*/ 1858986 h 1858986"/>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77828"/>
              <a:gd name="connsiteX1" fmla="*/ 2680568 w 2680568"/>
              <a:gd name="connsiteY1" fmla="*/ 1777828 h 1777828"/>
              <a:gd name="connsiteX0" fmla="*/ 0 w 1561644"/>
              <a:gd name="connsiteY0" fmla="*/ 0 h 1507302"/>
              <a:gd name="connsiteX1" fmla="*/ 1561644 w 1561644"/>
              <a:gd name="connsiteY1" fmla="*/ 1507302 h 1507302"/>
              <a:gd name="connsiteX0" fmla="*/ 0 w 1561644"/>
              <a:gd name="connsiteY0" fmla="*/ 0 h 1507302"/>
              <a:gd name="connsiteX1" fmla="*/ 1561644 w 1561644"/>
              <a:gd name="connsiteY1" fmla="*/ 1507302 h 1507302"/>
              <a:gd name="connsiteX0" fmla="*/ 0 w 1561644"/>
              <a:gd name="connsiteY0" fmla="*/ 0 h 1507302"/>
              <a:gd name="connsiteX1" fmla="*/ 1561644 w 1561644"/>
              <a:gd name="connsiteY1" fmla="*/ 1507302 h 1507302"/>
              <a:gd name="connsiteX0" fmla="*/ 0 w 1539039"/>
              <a:gd name="connsiteY0" fmla="*/ 0 h 1500539"/>
              <a:gd name="connsiteX1" fmla="*/ 1539039 w 1539039"/>
              <a:gd name="connsiteY1" fmla="*/ 1500539 h 1500539"/>
              <a:gd name="connsiteX0" fmla="*/ 0 w 1528011"/>
              <a:gd name="connsiteY0" fmla="*/ 0 h 1490461"/>
              <a:gd name="connsiteX1" fmla="*/ 1528011 w 1528011"/>
              <a:gd name="connsiteY1" fmla="*/ 1490461 h 1490461"/>
              <a:gd name="connsiteX0" fmla="*/ 0 w 1528011"/>
              <a:gd name="connsiteY0" fmla="*/ 0 h 1490461"/>
              <a:gd name="connsiteX1" fmla="*/ 1528011 w 1528011"/>
              <a:gd name="connsiteY1" fmla="*/ 1490461 h 1490461"/>
              <a:gd name="connsiteX0" fmla="*/ 3080799 w 3090213"/>
              <a:gd name="connsiteY0" fmla="*/ 0 h 2226950"/>
              <a:gd name="connsiteX1" fmla="*/ 78511 w 3090213"/>
              <a:gd name="connsiteY1" fmla="*/ 2226950 h 2226950"/>
              <a:gd name="connsiteX0" fmla="*/ 3321263 w 3321263"/>
              <a:gd name="connsiteY0" fmla="*/ 267285 h 2494235"/>
              <a:gd name="connsiteX1" fmla="*/ 318975 w 3321263"/>
              <a:gd name="connsiteY1" fmla="*/ 2494235 h 2494235"/>
              <a:gd name="connsiteX0" fmla="*/ 5023856 w 5023856"/>
              <a:gd name="connsiteY0" fmla="*/ 776106 h 776106"/>
              <a:gd name="connsiteX1" fmla="*/ 128627 w 5023856"/>
              <a:gd name="connsiteY1" fmla="*/ 351698 h 776106"/>
              <a:gd name="connsiteX0" fmla="*/ 4895228 w 4895228"/>
              <a:gd name="connsiteY0" fmla="*/ 761159 h 761159"/>
              <a:gd name="connsiteX1" fmla="*/ -1 w 4895228"/>
              <a:gd name="connsiteY1" fmla="*/ 336751 h 761159"/>
              <a:gd name="connsiteX0" fmla="*/ 5171732 w 5171732"/>
              <a:gd name="connsiteY0" fmla="*/ 754664 h 754664"/>
              <a:gd name="connsiteX1" fmla="*/ 0 w 5171732"/>
              <a:gd name="connsiteY1" fmla="*/ 343645 h 754664"/>
              <a:gd name="connsiteX0" fmla="*/ 5171732 w 5171732"/>
              <a:gd name="connsiteY0" fmla="*/ 835843 h 835843"/>
              <a:gd name="connsiteX1" fmla="*/ 0 w 5171732"/>
              <a:gd name="connsiteY1" fmla="*/ 424824 h 835843"/>
              <a:gd name="connsiteX0" fmla="*/ 5171732 w 5171732"/>
              <a:gd name="connsiteY0" fmla="*/ 709665 h 709665"/>
              <a:gd name="connsiteX1" fmla="*/ 0 w 5171732"/>
              <a:gd name="connsiteY1" fmla="*/ 298646 h 709665"/>
              <a:gd name="connsiteX0" fmla="*/ 5320608 w 5320608"/>
              <a:gd name="connsiteY0" fmla="*/ 692367 h 692367"/>
              <a:gd name="connsiteX1" fmla="*/ 0 w 5320608"/>
              <a:gd name="connsiteY1" fmla="*/ 308133 h 692367"/>
              <a:gd name="connsiteX0" fmla="*/ 5320608 w 5320608"/>
              <a:gd name="connsiteY0" fmla="*/ 703884 h 703884"/>
              <a:gd name="connsiteX1" fmla="*/ 0 w 5320608"/>
              <a:gd name="connsiteY1" fmla="*/ 319650 h 703884"/>
              <a:gd name="connsiteX0" fmla="*/ 2889934 w 2889938"/>
              <a:gd name="connsiteY0" fmla="*/ 251649 h 1263062"/>
              <a:gd name="connsiteX1" fmla="*/ 0 w 2889938"/>
              <a:gd name="connsiteY1" fmla="*/ 1263061 h 1263062"/>
              <a:gd name="connsiteX0" fmla="*/ 2889934 w 2889938"/>
              <a:gd name="connsiteY0" fmla="*/ 1 h 1011414"/>
              <a:gd name="connsiteX1" fmla="*/ 0 w 2889938"/>
              <a:gd name="connsiteY1" fmla="*/ 1011413 h 1011414"/>
              <a:gd name="connsiteX0" fmla="*/ 752739 w 752743"/>
              <a:gd name="connsiteY0" fmla="*/ 1 h 1935252"/>
              <a:gd name="connsiteX1" fmla="*/ 3 w 752743"/>
              <a:gd name="connsiteY1" fmla="*/ 1935252 h 1935252"/>
              <a:gd name="connsiteX0" fmla="*/ 1160558 w 1160562"/>
              <a:gd name="connsiteY0" fmla="*/ 1 h 1935252"/>
              <a:gd name="connsiteX1" fmla="*/ 407822 w 1160562"/>
              <a:gd name="connsiteY1" fmla="*/ 1935252 h 1935252"/>
              <a:gd name="connsiteX0" fmla="*/ 1205658 w 1205662"/>
              <a:gd name="connsiteY0" fmla="*/ 1 h 1862610"/>
              <a:gd name="connsiteX1" fmla="*/ 384793 w 1205662"/>
              <a:gd name="connsiteY1" fmla="*/ 1862612 h 1862610"/>
              <a:gd name="connsiteX0" fmla="*/ 1190716 w 1190720"/>
              <a:gd name="connsiteY0" fmla="*/ 1 h 1883273"/>
              <a:gd name="connsiteX1" fmla="*/ 392148 w 1190720"/>
              <a:gd name="connsiteY1" fmla="*/ 1883273 h 1883273"/>
              <a:gd name="connsiteX0" fmla="*/ 1189098 w 1189102"/>
              <a:gd name="connsiteY0" fmla="*/ 1 h 1883273"/>
              <a:gd name="connsiteX1" fmla="*/ 390530 w 1189102"/>
              <a:gd name="connsiteY1" fmla="*/ 1883273 h 1883273"/>
              <a:gd name="connsiteX0" fmla="*/ 1164575 w 1164575"/>
              <a:gd name="connsiteY0" fmla="*/ 0 h 1860619"/>
              <a:gd name="connsiteX1" fmla="*/ 403194 w 1164575"/>
              <a:gd name="connsiteY1" fmla="*/ 1860619 h 1860619"/>
              <a:gd name="connsiteX0" fmla="*/ 1164909 w 1164909"/>
              <a:gd name="connsiteY0" fmla="*/ 0 h 1860619"/>
              <a:gd name="connsiteX1" fmla="*/ 403528 w 1164909"/>
              <a:gd name="connsiteY1" fmla="*/ 1860619 h 1860619"/>
              <a:gd name="connsiteX0" fmla="*/ 1215490 w 1215490"/>
              <a:gd name="connsiteY0" fmla="*/ 0 h 1860619"/>
              <a:gd name="connsiteX1" fmla="*/ 454109 w 1215490"/>
              <a:gd name="connsiteY1" fmla="*/ 1860619 h 1860619"/>
              <a:gd name="connsiteX0" fmla="*/ 1157822 w 1157826"/>
              <a:gd name="connsiteY0" fmla="*/ 2 h 1943256"/>
              <a:gd name="connsiteX1" fmla="*/ 485627 w 1157826"/>
              <a:gd name="connsiteY1" fmla="*/ 1943256 h 1943256"/>
              <a:gd name="connsiteX0" fmla="*/ 1105906 w 1105910"/>
              <a:gd name="connsiteY0" fmla="*/ 2 h 1943256"/>
              <a:gd name="connsiteX1" fmla="*/ 433711 w 1105910"/>
              <a:gd name="connsiteY1" fmla="*/ 1943256 h 1943256"/>
              <a:gd name="connsiteX0" fmla="*/ 1206089 w 1206088"/>
              <a:gd name="connsiteY0" fmla="*/ -2 h 1848170"/>
              <a:gd name="connsiteX1" fmla="*/ 390188 w 1206088"/>
              <a:gd name="connsiteY1" fmla="*/ 1848170 h 1848170"/>
              <a:gd name="connsiteX0" fmla="*/ 1086473 w 1086472"/>
              <a:gd name="connsiteY0" fmla="*/ -2 h 1848170"/>
              <a:gd name="connsiteX1" fmla="*/ 270572 w 1086472"/>
              <a:gd name="connsiteY1" fmla="*/ 1848170 h 1848170"/>
              <a:gd name="connsiteX0" fmla="*/ 8038878 w 8038877"/>
              <a:gd name="connsiteY0" fmla="*/ -2 h 3615278"/>
              <a:gd name="connsiteX1" fmla="*/ 49728 w 8038877"/>
              <a:gd name="connsiteY1" fmla="*/ 3615276 h 3615278"/>
              <a:gd name="connsiteX0" fmla="*/ 7989148 w 7989147"/>
              <a:gd name="connsiteY0" fmla="*/ -2 h 3615278"/>
              <a:gd name="connsiteX1" fmla="*/ -2 w 7989147"/>
              <a:gd name="connsiteY1" fmla="*/ 3615276 h 3615278"/>
              <a:gd name="connsiteX0" fmla="*/ 7852029 w 7852028"/>
              <a:gd name="connsiteY0" fmla="*/ -2 h 3653503"/>
              <a:gd name="connsiteX1" fmla="*/ 0 w 7852028"/>
              <a:gd name="connsiteY1" fmla="*/ 3653504 h 3653503"/>
              <a:gd name="connsiteX0" fmla="*/ 7852029 w 7852028"/>
              <a:gd name="connsiteY0" fmla="*/ -2 h 3653503"/>
              <a:gd name="connsiteX1" fmla="*/ 0 w 7852028"/>
              <a:gd name="connsiteY1" fmla="*/ 3653504 h 3653503"/>
              <a:gd name="connsiteX0" fmla="*/ 8045309 w 8045309"/>
              <a:gd name="connsiteY0" fmla="*/ 0 h 3588622"/>
              <a:gd name="connsiteX1" fmla="*/ 0 w 8045309"/>
              <a:gd name="connsiteY1" fmla="*/ 3588623 h 3588622"/>
              <a:gd name="connsiteX0" fmla="*/ 8045309 w 8045309"/>
              <a:gd name="connsiteY0" fmla="*/ 0 h 3588622"/>
              <a:gd name="connsiteX1" fmla="*/ 0 w 8045309"/>
              <a:gd name="connsiteY1" fmla="*/ 3588623 h 3588622"/>
              <a:gd name="connsiteX0" fmla="*/ 8045309 w 8045309"/>
              <a:gd name="connsiteY0" fmla="*/ 0 h 3588622"/>
              <a:gd name="connsiteX1" fmla="*/ 0 w 8045309"/>
              <a:gd name="connsiteY1" fmla="*/ 3588623 h 3588622"/>
              <a:gd name="connsiteX0" fmla="*/ 8179140 w 8179141"/>
              <a:gd name="connsiteY0" fmla="*/ 0 h 3578833"/>
              <a:gd name="connsiteX1" fmla="*/ 0 w 8179141"/>
              <a:gd name="connsiteY1" fmla="*/ 3578834 h 3578833"/>
              <a:gd name="connsiteX0" fmla="*/ 8179140 w 8179141"/>
              <a:gd name="connsiteY0" fmla="*/ 0 h 3578833"/>
              <a:gd name="connsiteX1" fmla="*/ 0 w 8179141"/>
              <a:gd name="connsiteY1" fmla="*/ 3578834 h 3578833"/>
              <a:gd name="connsiteX0" fmla="*/ 8288176 w 8288179"/>
              <a:gd name="connsiteY0" fmla="*/ 0 h 3553940"/>
              <a:gd name="connsiteX1" fmla="*/ 0 w 8288179"/>
              <a:gd name="connsiteY1" fmla="*/ 3553941 h 3553940"/>
              <a:gd name="connsiteX0" fmla="*/ 8238107 w 8238103"/>
              <a:gd name="connsiteY0" fmla="*/ -1 h 3553134"/>
              <a:gd name="connsiteX1" fmla="*/ 0 w 8238103"/>
              <a:gd name="connsiteY1" fmla="*/ 3553135 h 3553134"/>
              <a:gd name="connsiteX0" fmla="*/ 8238107 w 8305339"/>
              <a:gd name="connsiteY0" fmla="*/ -1 h 3553134"/>
              <a:gd name="connsiteX1" fmla="*/ 0 w 8305339"/>
              <a:gd name="connsiteY1" fmla="*/ 3553135 h 3553134"/>
              <a:gd name="connsiteX0" fmla="*/ 12251389 w 12288614"/>
              <a:gd name="connsiteY0" fmla="*/ -1 h 4841777"/>
              <a:gd name="connsiteX1" fmla="*/ 2 w 12288614"/>
              <a:gd name="connsiteY1" fmla="*/ 4841777 h 4841777"/>
              <a:gd name="connsiteX0" fmla="*/ 12251389 w 12300718"/>
              <a:gd name="connsiteY0" fmla="*/ -1 h 4841777"/>
              <a:gd name="connsiteX1" fmla="*/ 2 w 12300718"/>
              <a:gd name="connsiteY1" fmla="*/ 4841777 h 4841777"/>
              <a:gd name="connsiteX0" fmla="*/ 12107399 w 12157791"/>
              <a:gd name="connsiteY0" fmla="*/ -2 h 4813412"/>
              <a:gd name="connsiteX1" fmla="*/ 2 w 12157791"/>
              <a:gd name="connsiteY1" fmla="*/ 4813412 h 4813412"/>
              <a:gd name="connsiteX0" fmla="*/ 12107399 w 12115490"/>
              <a:gd name="connsiteY0" fmla="*/ -2 h 4813412"/>
              <a:gd name="connsiteX1" fmla="*/ 2 w 12115490"/>
              <a:gd name="connsiteY1" fmla="*/ 4813412 h 4813412"/>
              <a:gd name="connsiteX0" fmla="*/ 12107399 w 12107392"/>
              <a:gd name="connsiteY0" fmla="*/ -2 h 9321579"/>
              <a:gd name="connsiteX1" fmla="*/ 2 w 12107392"/>
              <a:gd name="connsiteY1" fmla="*/ 4813412 h 9321579"/>
              <a:gd name="connsiteX0" fmla="*/ 12107399 w 12107392"/>
              <a:gd name="connsiteY0" fmla="*/ -2 h 14043873"/>
              <a:gd name="connsiteX1" fmla="*/ 2 w 12107392"/>
              <a:gd name="connsiteY1" fmla="*/ 4813412 h 14043873"/>
              <a:gd name="connsiteX0" fmla="*/ 12107399 w 12107392"/>
              <a:gd name="connsiteY0" fmla="*/ -2 h 11195268"/>
              <a:gd name="connsiteX1" fmla="*/ 2 w 12107392"/>
              <a:gd name="connsiteY1" fmla="*/ 4813412 h 11195268"/>
              <a:gd name="connsiteX0" fmla="*/ 12107399 w 12107392"/>
              <a:gd name="connsiteY0" fmla="*/ -2 h 8541755"/>
              <a:gd name="connsiteX1" fmla="*/ 2 w 12107392"/>
              <a:gd name="connsiteY1" fmla="*/ 4813412 h 8541755"/>
              <a:gd name="connsiteX0" fmla="*/ 11502943 w 11502936"/>
              <a:gd name="connsiteY0" fmla="*/ -2 h 7884940"/>
              <a:gd name="connsiteX1" fmla="*/ -2 w 11502936"/>
              <a:gd name="connsiteY1" fmla="*/ 3829140 h 7884940"/>
              <a:gd name="connsiteX0" fmla="*/ 11502943 w 11502936"/>
              <a:gd name="connsiteY0" fmla="*/ -2 h 7654755"/>
              <a:gd name="connsiteX1" fmla="*/ -2 w 11502936"/>
              <a:gd name="connsiteY1" fmla="*/ 3829140 h 7654755"/>
            </a:gdLst>
            <a:ahLst/>
            <a:cxnLst>
              <a:cxn ang="0">
                <a:pos x="connsiteX0" y="connsiteY0"/>
              </a:cxn>
              <a:cxn ang="0">
                <a:pos x="connsiteX1" y="connsiteY1"/>
              </a:cxn>
            </a:cxnLst>
            <a:rect l="l" t="t" r="r" b="b"/>
            <a:pathLst>
              <a:path w="11502936" h="7654755">
                <a:moveTo>
                  <a:pt x="11502943" y="-2"/>
                </a:moveTo>
                <a:cubicBezTo>
                  <a:pt x="8065968" y="7566896"/>
                  <a:pt x="7277607" y="10746653"/>
                  <a:pt x="-2" y="3829140"/>
                </a:cubicBezTo>
              </a:path>
            </a:pathLst>
          </a:custGeom>
          <a:noFill/>
          <a:ln w="15875" cap="flat" cmpd="sng" algn="ctr">
            <a:solidFill>
              <a:srgbClr val="B8690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93" name="Freeform 93"/>
          <p:cNvSpPr/>
          <p:nvPr/>
        </p:nvSpPr>
        <p:spPr bwMode="auto">
          <a:xfrm rot="13276803" flipV="1">
            <a:off x="2812806" y="2120141"/>
            <a:ext cx="279372" cy="641856"/>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9853"/>
              <a:gd name="connsiteY0" fmla="*/ 0 h 1710816"/>
              <a:gd name="connsiteX1" fmla="*/ 3043291 w 3049853"/>
              <a:gd name="connsiteY1" fmla="*/ 1710816 h 1710816"/>
              <a:gd name="connsiteX0" fmla="*/ 0 w 3012897"/>
              <a:gd name="connsiteY0" fmla="*/ 0 h 1700872"/>
              <a:gd name="connsiteX1" fmla="*/ 3006136 w 3012897"/>
              <a:gd name="connsiteY1" fmla="*/ 1700872 h 1700872"/>
              <a:gd name="connsiteX0" fmla="*/ 0 w 3012358"/>
              <a:gd name="connsiteY0" fmla="*/ 0 h 1700872"/>
              <a:gd name="connsiteX1" fmla="*/ 3006136 w 3012358"/>
              <a:gd name="connsiteY1" fmla="*/ 1700872 h 1700872"/>
              <a:gd name="connsiteX0" fmla="*/ 0 w 3009172"/>
              <a:gd name="connsiteY0" fmla="*/ 0 h 1700872"/>
              <a:gd name="connsiteX1" fmla="*/ 3006136 w 3009172"/>
              <a:gd name="connsiteY1" fmla="*/ 1700872 h 1700872"/>
              <a:gd name="connsiteX0" fmla="*/ 0 w 3011188"/>
              <a:gd name="connsiteY0" fmla="*/ 0 h 1700872"/>
              <a:gd name="connsiteX1" fmla="*/ 3006136 w 3011188"/>
              <a:gd name="connsiteY1" fmla="*/ 1700872 h 1700872"/>
              <a:gd name="connsiteX0" fmla="*/ 0 w 1265872"/>
              <a:gd name="connsiteY0" fmla="*/ 231846 h 231890"/>
              <a:gd name="connsiteX1" fmla="*/ 1024598 w 1265872"/>
              <a:gd name="connsiteY1" fmla="*/ 215725 h 231890"/>
              <a:gd name="connsiteX0" fmla="*/ 0 w 1089071"/>
              <a:gd name="connsiteY0" fmla="*/ 43894 h 44136"/>
              <a:gd name="connsiteX1" fmla="*/ 1024598 w 1089071"/>
              <a:gd name="connsiteY1" fmla="*/ 27773 h 44136"/>
              <a:gd name="connsiteX0" fmla="*/ 0 w 1024597"/>
              <a:gd name="connsiteY0" fmla="*/ 52170 h 52170"/>
              <a:gd name="connsiteX1" fmla="*/ 1024598 w 1024597"/>
              <a:gd name="connsiteY1" fmla="*/ 36049 h 52170"/>
              <a:gd name="connsiteX0" fmla="*/ 0 w 1024599"/>
              <a:gd name="connsiteY0" fmla="*/ 202860 h 202860"/>
              <a:gd name="connsiteX1" fmla="*/ 1024599 w 1024599"/>
              <a:gd name="connsiteY1" fmla="*/ 14374 h 202860"/>
              <a:gd name="connsiteX0" fmla="*/ 0 w 1024599"/>
              <a:gd name="connsiteY0" fmla="*/ 188486 h 188486"/>
              <a:gd name="connsiteX1" fmla="*/ 1024599 w 1024599"/>
              <a:gd name="connsiteY1" fmla="*/ 0 h 188486"/>
              <a:gd name="connsiteX0" fmla="*/ 0 w 1024599"/>
              <a:gd name="connsiteY0" fmla="*/ 188486 h 188486"/>
              <a:gd name="connsiteX1" fmla="*/ 1024599 w 1024599"/>
              <a:gd name="connsiteY1" fmla="*/ 0 h 188486"/>
              <a:gd name="connsiteX0" fmla="*/ 0 w 4327162"/>
              <a:gd name="connsiteY0" fmla="*/ 188486 h 188486"/>
              <a:gd name="connsiteX1" fmla="*/ 4327162 w 4327162"/>
              <a:gd name="connsiteY1" fmla="*/ 0 h 188486"/>
              <a:gd name="connsiteX0" fmla="*/ 0 w 4327162"/>
              <a:gd name="connsiteY0" fmla="*/ 496341 h 496341"/>
              <a:gd name="connsiteX1" fmla="*/ 4327162 w 4327162"/>
              <a:gd name="connsiteY1" fmla="*/ 307855 h 496341"/>
              <a:gd name="connsiteX0" fmla="*/ 0 w 4327162"/>
              <a:gd name="connsiteY0" fmla="*/ 874372 h 874372"/>
              <a:gd name="connsiteX1" fmla="*/ 4327162 w 4327162"/>
              <a:gd name="connsiteY1" fmla="*/ 685886 h 874372"/>
              <a:gd name="connsiteX0" fmla="*/ 0 w 4327162"/>
              <a:gd name="connsiteY0" fmla="*/ 932499 h 932499"/>
              <a:gd name="connsiteX1" fmla="*/ 4327162 w 4327162"/>
              <a:gd name="connsiteY1" fmla="*/ 744013 h 932499"/>
              <a:gd name="connsiteX0" fmla="*/ 0 w 4327162"/>
              <a:gd name="connsiteY0" fmla="*/ 900717 h 900717"/>
              <a:gd name="connsiteX1" fmla="*/ 4327162 w 4327162"/>
              <a:gd name="connsiteY1" fmla="*/ 712231 h 900717"/>
              <a:gd name="connsiteX0" fmla="*/ 0 w 4327162"/>
              <a:gd name="connsiteY0" fmla="*/ 900717 h 900717"/>
              <a:gd name="connsiteX1" fmla="*/ 4327162 w 4327162"/>
              <a:gd name="connsiteY1" fmla="*/ 712231 h 900717"/>
              <a:gd name="connsiteX0" fmla="*/ 0 w 4327162"/>
              <a:gd name="connsiteY0" fmla="*/ 918648 h 918648"/>
              <a:gd name="connsiteX1" fmla="*/ 4327162 w 4327162"/>
              <a:gd name="connsiteY1" fmla="*/ 730162 h 918648"/>
              <a:gd name="connsiteX0" fmla="*/ 0 w 5599916"/>
              <a:gd name="connsiteY0" fmla="*/ 643023 h 1216923"/>
              <a:gd name="connsiteX1" fmla="*/ 5599916 w 5599916"/>
              <a:gd name="connsiteY1" fmla="*/ 1216923 h 1216923"/>
              <a:gd name="connsiteX0" fmla="*/ 0 w 5599916"/>
              <a:gd name="connsiteY0" fmla="*/ 863522 h 1437422"/>
              <a:gd name="connsiteX1" fmla="*/ 5599916 w 5599916"/>
              <a:gd name="connsiteY1" fmla="*/ 1437422 h 1437422"/>
              <a:gd name="connsiteX0" fmla="*/ 0 w 5599916"/>
              <a:gd name="connsiteY0" fmla="*/ 984252 h 1558152"/>
              <a:gd name="connsiteX1" fmla="*/ 5599916 w 5599916"/>
              <a:gd name="connsiteY1" fmla="*/ 1558152 h 1558152"/>
              <a:gd name="connsiteX0" fmla="*/ 0 w 5599916"/>
              <a:gd name="connsiteY0" fmla="*/ 1001224 h 1575124"/>
              <a:gd name="connsiteX1" fmla="*/ 5599916 w 5599916"/>
              <a:gd name="connsiteY1" fmla="*/ 1575124 h 1575124"/>
              <a:gd name="connsiteX0" fmla="*/ 0 w 778662"/>
              <a:gd name="connsiteY0" fmla="*/ 1354876 h 1354876"/>
              <a:gd name="connsiteX1" fmla="*/ 234769 w 778662"/>
              <a:gd name="connsiteY1" fmla="*/ 1149153 h 1354876"/>
              <a:gd name="connsiteX0" fmla="*/ 0 w 935096"/>
              <a:gd name="connsiteY0" fmla="*/ 808798 h 808798"/>
              <a:gd name="connsiteX1" fmla="*/ 234769 w 935096"/>
              <a:gd name="connsiteY1" fmla="*/ 603075 h 808798"/>
              <a:gd name="connsiteX0" fmla="*/ 0 w 907643"/>
              <a:gd name="connsiteY0" fmla="*/ 790190 h 790190"/>
              <a:gd name="connsiteX1" fmla="*/ 130338 w 907643"/>
              <a:gd name="connsiteY1" fmla="*/ 648110 h 790190"/>
              <a:gd name="connsiteX0" fmla="*/ 0 w 928079"/>
              <a:gd name="connsiteY0" fmla="*/ 797069 h 797069"/>
              <a:gd name="connsiteX1" fmla="*/ 208661 w 928079"/>
              <a:gd name="connsiteY1" fmla="*/ 631123 h 797069"/>
              <a:gd name="connsiteX0" fmla="*/ 0 w 208662"/>
              <a:gd name="connsiteY0" fmla="*/ 165946 h 165946"/>
              <a:gd name="connsiteX1" fmla="*/ 208661 w 208662"/>
              <a:gd name="connsiteY1" fmla="*/ 0 h 165946"/>
              <a:gd name="connsiteX0" fmla="*/ 0 w 241295"/>
              <a:gd name="connsiteY0" fmla="*/ 175890 h 175890"/>
              <a:gd name="connsiteX1" fmla="*/ 241296 w 241295"/>
              <a:gd name="connsiteY1" fmla="*/ 0 h 175890"/>
              <a:gd name="connsiteX0" fmla="*/ 6942 w 248238"/>
              <a:gd name="connsiteY0" fmla="*/ 175890 h 175890"/>
              <a:gd name="connsiteX1" fmla="*/ 248238 w 248238"/>
              <a:gd name="connsiteY1" fmla="*/ 0 h 175890"/>
              <a:gd name="connsiteX0" fmla="*/ 8926 w 225747"/>
              <a:gd name="connsiteY0" fmla="*/ 153516 h 153516"/>
              <a:gd name="connsiteX1" fmla="*/ 225747 w 225747"/>
              <a:gd name="connsiteY1" fmla="*/ 0 h 153516"/>
              <a:gd name="connsiteX0" fmla="*/ 7514 w 240653"/>
              <a:gd name="connsiteY0" fmla="*/ 170918 h 170918"/>
              <a:gd name="connsiteX1" fmla="*/ 240653 w 240653"/>
              <a:gd name="connsiteY1" fmla="*/ 0 h 170918"/>
              <a:gd name="connsiteX0" fmla="*/ 18240 w 251379"/>
              <a:gd name="connsiteY0" fmla="*/ 170918 h 170918"/>
              <a:gd name="connsiteX1" fmla="*/ 251379 w 251379"/>
              <a:gd name="connsiteY1" fmla="*/ 0 h 170918"/>
              <a:gd name="connsiteX0" fmla="*/ 18240 w 251379"/>
              <a:gd name="connsiteY0" fmla="*/ 158488 h 158488"/>
              <a:gd name="connsiteX1" fmla="*/ 251379 w 251379"/>
              <a:gd name="connsiteY1" fmla="*/ 0 h 158488"/>
              <a:gd name="connsiteX0" fmla="*/ 17341 w 258639"/>
              <a:gd name="connsiteY0" fmla="*/ 160974 h 160974"/>
              <a:gd name="connsiteX1" fmla="*/ 258640 w 258639"/>
              <a:gd name="connsiteY1" fmla="*/ 0 h 160974"/>
              <a:gd name="connsiteX0" fmla="*/ 14278 w 255578"/>
              <a:gd name="connsiteY0" fmla="*/ 163066 h 163066"/>
              <a:gd name="connsiteX1" fmla="*/ 255577 w 255578"/>
              <a:gd name="connsiteY1" fmla="*/ 2092 h 163066"/>
              <a:gd name="connsiteX0" fmla="*/ 14278 w 255576"/>
              <a:gd name="connsiteY0" fmla="*/ 165919 h 165919"/>
              <a:gd name="connsiteX1" fmla="*/ 255577 w 255576"/>
              <a:gd name="connsiteY1" fmla="*/ 4945 h 165919"/>
              <a:gd name="connsiteX0" fmla="*/ 15719 w 257018"/>
              <a:gd name="connsiteY0" fmla="*/ 166082 h 166082"/>
              <a:gd name="connsiteX1" fmla="*/ 257018 w 257018"/>
              <a:gd name="connsiteY1" fmla="*/ 5108 h 166082"/>
              <a:gd name="connsiteX0" fmla="*/ 16029 w 257328"/>
              <a:gd name="connsiteY0" fmla="*/ 164225 h 164225"/>
              <a:gd name="connsiteX1" fmla="*/ 257328 w 257328"/>
              <a:gd name="connsiteY1" fmla="*/ 3251 h 164225"/>
              <a:gd name="connsiteX0" fmla="*/ 15126 w 256425"/>
              <a:gd name="connsiteY0" fmla="*/ 164814 h 164814"/>
              <a:gd name="connsiteX1" fmla="*/ 256425 w 256425"/>
              <a:gd name="connsiteY1" fmla="*/ 3840 h 164814"/>
              <a:gd name="connsiteX0" fmla="*/ 41402 w 135844"/>
              <a:gd name="connsiteY0" fmla="*/ 32128 h 57606"/>
              <a:gd name="connsiteX1" fmla="*/ 135844 w 135844"/>
              <a:gd name="connsiteY1" fmla="*/ 57607 h 57606"/>
              <a:gd name="connsiteX0" fmla="*/ 288769 w 288769"/>
              <a:gd name="connsiteY0" fmla="*/ 16967 h 159290"/>
              <a:gd name="connsiteX1" fmla="*/ 44626 w 288769"/>
              <a:gd name="connsiteY1" fmla="*/ 159290 h 159290"/>
              <a:gd name="connsiteX0" fmla="*/ 244143 w 244143"/>
              <a:gd name="connsiteY0" fmla="*/ 15076 h 157526"/>
              <a:gd name="connsiteX1" fmla="*/ 0 w 244143"/>
              <a:gd name="connsiteY1" fmla="*/ 157399 h 157526"/>
              <a:gd name="connsiteX0" fmla="*/ 219666 w 219666"/>
              <a:gd name="connsiteY0" fmla="*/ 14805 h 162223"/>
              <a:gd name="connsiteX1" fmla="*/ 0 w 219666"/>
              <a:gd name="connsiteY1" fmla="*/ 162100 h 162223"/>
              <a:gd name="connsiteX0" fmla="*/ 219666 w 247319"/>
              <a:gd name="connsiteY0" fmla="*/ 0 h 147529"/>
              <a:gd name="connsiteX1" fmla="*/ 0 w 247319"/>
              <a:gd name="connsiteY1" fmla="*/ 147295 h 147529"/>
              <a:gd name="connsiteX0" fmla="*/ 227824 w 254399"/>
              <a:gd name="connsiteY0" fmla="*/ 0 h 152492"/>
              <a:gd name="connsiteX1" fmla="*/ 0 w 254399"/>
              <a:gd name="connsiteY1" fmla="*/ 152268 h 152492"/>
              <a:gd name="connsiteX0" fmla="*/ 227824 w 253476"/>
              <a:gd name="connsiteY0" fmla="*/ 0 h 154921"/>
              <a:gd name="connsiteX1" fmla="*/ 0 w 253476"/>
              <a:gd name="connsiteY1" fmla="*/ 152268 h 154921"/>
              <a:gd name="connsiteX0" fmla="*/ 227824 w 261726"/>
              <a:gd name="connsiteY0" fmla="*/ 0 h 155188"/>
              <a:gd name="connsiteX1" fmla="*/ 0 w 261726"/>
              <a:gd name="connsiteY1" fmla="*/ 152268 h 155188"/>
              <a:gd name="connsiteX0" fmla="*/ 0 w 1622463"/>
              <a:gd name="connsiteY0" fmla="*/ 81420 h 94627"/>
              <a:gd name="connsiteX1" fmla="*/ 1607873 w 1622463"/>
              <a:gd name="connsiteY1" fmla="*/ 0 h 94627"/>
              <a:gd name="connsiteX0" fmla="*/ 0 w 1607873"/>
              <a:gd name="connsiteY0" fmla="*/ 90497 h 99366"/>
              <a:gd name="connsiteX1" fmla="*/ 1607873 w 1607873"/>
              <a:gd name="connsiteY1" fmla="*/ 9077 h 99366"/>
              <a:gd name="connsiteX0" fmla="*/ 0 w 1591556"/>
              <a:gd name="connsiteY0" fmla="*/ 104820 h 113107"/>
              <a:gd name="connsiteX1" fmla="*/ 1591556 w 1591556"/>
              <a:gd name="connsiteY1" fmla="*/ 8483 h 113107"/>
              <a:gd name="connsiteX0" fmla="*/ 0 w 1591556"/>
              <a:gd name="connsiteY0" fmla="*/ 117229 h 124320"/>
              <a:gd name="connsiteX1" fmla="*/ 1591556 w 1591556"/>
              <a:gd name="connsiteY1" fmla="*/ 20892 h 124320"/>
              <a:gd name="connsiteX0" fmla="*/ 0 w 1591556"/>
              <a:gd name="connsiteY0" fmla="*/ 113613 h 140106"/>
              <a:gd name="connsiteX1" fmla="*/ 1591556 w 1591556"/>
              <a:gd name="connsiteY1" fmla="*/ 17276 h 140106"/>
              <a:gd name="connsiteX0" fmla="*/ 0 w 1591556"/>
              <a:gd name="connsiteY0" fmla="*/ 118345 h 144487"/>
              <a:gd name="connsiteX1" fmla="*/ 1591556 w 1591556"/>
              <a:gd name="connsiteY1" fmla="*/ 17036 h 144487"/>
              <a:gd name="connsiteX0" fmla="*/ 0 w 1591556"/>
              <a:gd name="connsiteY0" fmla="*/ 117486 h 150580"/>
              <a:gd name="connsiteX1" fmla="*/ 1591556 w 1591556"/>
              <a:gd name="connsiteY1" fmla="*/ 16177 h 150580"/>
              <a:gd name="connsiteX0" fmla="*/ 0 w 1069402"/>
              <a:gd name="connsiteY0" fmla="*/ 0 h 77685"/>
              <a:gd name="connsiteX1" fmla="*/ 1069402 w 1069402"/>
              <a:gd name="connsiteY1" fmla="*/ 77686 h 77685"/>
              <a:gd name="connsiteX0" fmla="*/ 0 w 1069402"/>
              <a:gd name="connsiteY0" fmla="*/ 0 h 77686"/>
              <a:gd name="connsiteX1" fmla="*/ 1069402 w 1069402"/>
              <a:gd name="connsiteY1" fmla="*/ 77686 h 77686"/>
              <a:gd name="connsiteX0" fmla="*/ 0 w 1069402"/>
              <a:gd name="connsiteY0" fmla="*/ 0 h 77686"/>
              <a:gd name="connsiteX1" fmla="*/ 1069402 w 1069402"/>
              <a:gd name="connsiteY1" fmla="*/ 77686 h 77686"/>
              <a:gd name="connsiteX0" fmla="*/ 0 w 1028610"/>
              <a:gd name="connsiteY0" fmla="*/ 0 h 102546"/>
              <a:gd name="connsiteX1" fmla="*/ 1028610 w 1028610"/>
              <a:gd name="connsiteY1" fmla="*/ 102546 h 102546"/>
              <a:gd name="connsiteX0" fmla="*/ 0 w 1028610"/>
              <a:gd name="connsiteY0" fmla="*/ 0 h 102546"/>
              <a:gd name="connsiteX1" fmla="*/ 1028610 w 1028610"/>
              <a:gd name="connsiteY1" fmla="*/ 102546 h 102546"/>
              <a:gd name="connsiteX0" fmla="*/ 0 w 1028610"/>
              <a:gd name="connsiteY0" fmla="*/ 0 h 102546"/>
              <a:gd name="connsiteX1" fmla="*/ 1028610 w 1028610"/>
              <a:gd name="connsiteY1" fmla="*/ 102546 h 102546"/>
              <a:gd name="connsiteX0" fmla="*/ 0 w 1004133"/>
              <a:gd name="connsiteY0" fmla="*/ 0 h 105032"/>
              <a:gd name="connsiteX1" fmla="*/ 1004133 w 1004133"/>
              <a:gd name="connsiteY1" fmla="*/ 105032 h 105032"/>
              <a:gd name="connsiteX0" fmla="*/ 0 w 1004133"/>
              <a:gd name="connsiteY0" fmla="*/ 0 h 105032"/>
              <a:gd name="connsiteX1" fmla="*/ 1004133 w 1004133"/>
              <a:gd name="connsiteY1" fmla="*/ 105032 h 105032"/>
              <a:gd name="connsiteX0" fmla="*/ 0 w 893991"/>
              <a:gd name="connsiteY0" fmla="*/ 0 h 433188"/>
              <a:gd name="connsiteX1" fmla="*/ 893991 w 893991"/>
              <a:gd name="connsiteY1" fmla="*/ 433188 h 433188"/>
              <a:gd name="connsiteX0" fmla="*/ 0 w 934785"/>
              <a:gd name="connsiteY0" fmla="*/ 0 h 433188"/>
              <a:gd name="connsiteX1" fmla="*/ 934785 w 934785"/>
              <a:gd name="connsiteY1" fmla="*/ 433188 h 433188"/>
              <a:gd name="connsiteX0" fmla="*/ 0 w 934785"/>
              <a:gd name="connsiteY0" fmla="*/ 0 h 433188"/>
              <a:gd name="connsiteX1" fmla="*/ 934785 w 934785"/>
              <a:gd name="connsiteY1" fmla="*/ 433188 h 433188"/>
              <a:gd name="connsiteX0" fmla="*/ 0 w 820564"/>
              <a:gd name="connsiteY0" fmla="*/ 0 h 482909"/>
              <a:gd name="connsiteX1" fmla="*/ 820564 w 820564"/>
              <a:gd name="connsiteY1" fmla="*/ 482909 h 482909"/>
              <a:gd name="connsiteX0" fmla="*/ 0 w 820564"/>
              <a:gd name="connsiteY0" fmla="*/ 0 h 482909"/>
              <a:gd name="connsiteX1" fmla="*/ 820564 w 820564"/>
              <a:gd name="connsiteY1" fmla="*/ 482909 h 482909"/>
              <a:gd name="connsiteX0" fmla="*/ 0 w 2493088"/>
              <a:gd name="connsiteY0" fmla="*/ 0 h 756373"/>
              <a:gd name="connsiteX1" fmla="*/ 2493088 w 2493088"/>
              <a:gd name="connsiteY1" fmla="*/ 756373 h 756373"/>
              <a:gd name="connsiteX0" fmla="*/ 0 w 2493088"/>
              <a:gd name="connsiteY0" fmla="*/ 0 h 756373"/>
              <a:gd name="connsiteX1" fmla="*/ 2493088 w 2493088"/>
              <a:gd name="connsiteY1" fmla="*/ 756373 h 756373"/>
              <a:gd name="connsiteX0" fmla="*/ 0 w 2482210"/>
              <a:gd name="connsiteY0" fmla="*/ 0 h 772947"/>
              <a:gd name="connsiteX1" fmla="*/ 2482210 w 2482210"/>
              <a:gd name="connsiteY1" fmla="*/ 772947 h 772947"/>
              <a:gd name="connsiteX0" fmla="*/ 0 w 2221133"/>
              <a:gd name="connsiteY0" fmla="*/ 0 h 1377550"/>
              <a:gd name="connsiteX1" fmla="*/ 2221133 w 2221133"/>
              <a:gd name="connsiteY1" fmla="*/ 1377550 h 1377550"/>
              <a:gd name="connsiteX0" fmla="*/ 0 w 2221133"/>
              <a:gd name="connsiteY0" fmla="*/ 0 h 1377550"/>
              <a:gd name="connsiteX1" fmla="*/ 2221133 w 2221133"/>
              <a:gd name="connsiteY1" fmla="*/ 1377550 h 1377550"/>
              <a:gd name="connsiteX0" fmla="*/ 0 w 2273348"/>
              <a:gd name="connsiteY0" fmla="*/ 0 h 1377550"/>
              <a:gd name="connsiteX1" fmla="*/ 2273348 w 2273348"/>
              <a:gd name="connsiteY1" fmla="*/ 1377550 h 1377550"/>
              <a:gd name="connsiteX0" fmla="*/ 0 w 2273348"/>
              <a:gd name="connsiteY0" fmla="*/ 0 h 1377550"/>
              <a:gd name="connsiteX1" fmla="*/ 2273348 w 2273348"/>
              <a:gd name="connsiteY1" fmla="*/ 1377550 h 1377550"/>
              <a:gd name="connsiteX0" fmla="*/ 0 w 2257031"/>
              <a:gd name="connsiteY0" fmla="*/ 0 h 1367606"/>
              <a:gd name="connsiteX1" fmla="*/ 2257031 w 2257031"/>
              <a:gd name="connsiteY1" fmla="*/ 1367606 h 1367606"/>
              <a:gd name="connsiteX0" fmla="*/ 0 w 2257031"/>
              <a:gd name="connsiteY0" fmla="*/ 0 h 1367606"/>
              <a:gd name="connsiteX1" fmla="*/ 2257031 w 2257031"/>
              <a:gd name="connsiteY1" fmla="*/ 1367606 h 1367606"/>
              <a:gd name="connsiteX0" fmla="*/ 0 w 2257031"/>
              <a:gd name="connsiteY0" fmla="*/ 0 h 1367606"/>
              <a:gd name="connsiteX1" fmla="*/ 2257031 w 2257031"/>
              <a:gd name="connsiteY1" fmla="*/ 1367606 h 1367606"/>
              <a:gd name="connsiteX0" fmla="*/ 0 w 2518108"/>
              <a:gd name="connsiteY0" fmla="*/ 0 h 1712336"/>
              <a:gd name="connsiteX1" fmla="*/ 2518108 w 2518108"/>
              <a:gd name="connsiteY1" fmla="*/ 1712336 h 1712336"/>
              <a:gd name="connsiteX0" fmla="*/ 0 w 2518108"/>
              <a:gd name="connsiteY0" fmla="*/ 0 h 1712336"/>
              <a:gd name="connsiteX1" fmla="*/ 2518108 w 2518108"/>
              <a:gd name="connsiteY1" fmla="*/ 1712336 h 1712336"/>
              <a:gd name="connsiteX0" fmla="*/ 0 w 2518108"/>
              <a:gd name="connsiteY0" fmla="*/ 0 h 1712336"/>
              <a:gd name="connsiteX1" fmla="*/ 2518108 w 2518108"/>
              <a:gd name="connsiteY1" fmla="*/ 1712336 h 1712336"/>
              <a:gd name="connsiteX0" fmla="*/ 0 w 2561621"/>
              <a:gd name="connsiteY0" fmla="*/ 0 h 1705707"/>
              <a:gd name="connsiteX1" fmla="*/ 2561621 w 2561621"/>
              <a:gd name="connsiteY1" fmla="*/ 1705707 h 1705707"/>
              <a:gd name="connsiteX0" fmla="*/ 0 w 3094653"/>
              <a:gd name="connsiteY0" fmla="*/ 0 h 1838295"/>
              <a:gd name="connsiteX1" fmla="*/ 3094653 w 3094653"/>
              <a:gd name="connsiteY1" fmla="*/ 1838295 h 1838295"/>
              <a:gd name="connsiteX0" fmla="*/ 0 w 3094653"/>
              <a:gd name="connsiteY0" fmla="*/ 0 h 1838295"/>
              <a:gd name="connsiteX1" fmla="*/ 3094653 w 3094653"/>
              <a:gd name="connsiteY1" fmla="*/ 1838295 h 1838295"/>
              <a:gd name="connsiteX0" fmla="*/ 0 w 3062018"/>
              <a:gd name="connsiteY0" fmla="*/ 0 h 1818407"/>
              <a:gd name="connsiteX1" fmla="*/ 3062018 w 3062018"/>
              <a:gd name="connsiteY1" fmla="*/ 1818407 h 1818407"/>
              <a:gd name="connsiteX0" fmla="*/ 0 w 3062018"/>
              <a:gd name="connsiteY0" fmla="*/ 0 h 1818407"/>
              <a:gd name="connsiteX1" fmla="*/ 3062018 w 3062018"/>
              <a:gd name="connsiteY1" fmla="*/ 1818407 h 1818407"/>
              <a:gd name="connsiteX0" fmla="*/ 0 w 3121356"/>
              <a:gd name="connsiteY0" fmla="*/ 0 h 1858986"/>
              <a:gd name="connsiteX1" fmla="*/ 3121356 w 3121356"/>
              <a:gd name="connsiteY1" fmla="*/ 1858986 h 1858986"/>
              <a:gd name="connsiteX0" fmla="*/ 0 w 3143961"/>
              <a:gd name="connsiteY0" fmla="*/ 0 h 1858986"/>
              <a:gd name="connsiteX1" fmla="*/ 3143961 w 3143961"/>
              <a:gd name="connsiteY1" fmla="*/ 1858986 h 1858986"/>
              <a:gd name="connsiteX0" fmla="*/ 0 w 3143961"/>
              <a:gd name="connsiteY0" fmla="*/ 0 h 1858986"/>
              <a:gd name="connsiteX1" fmla="*/ 3143961 w 3143961"/>
              <a:gd name="connsiteY1" fmla="*/ 1858986 h 1858986"/>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77828"/>
              <a:gd name="connsiteX1" fmla="*/ 2680568 w 2680568"/>
              <a:gd name="connsiteY1" fmla="*/ 1777828 h 1777828"/>
              <a:gd name="connsiteX0" fmla="*/ 0 w 1561644"/>
              <a:gd name="connsiteY0" fmla="*/ 0 h 1507302"/>
              <a:gd name="connsiteX1" fmla="*/ 1561644 w 1561644"/>
              <a:gd name="connsiteY1" fmla="*/ 1507302 h 1507302"/>
              <a:gd name="connsiteX0" fmla="*/ 0 w 1561644"/>
              <a:gd name="connsiteY0" fmla="*/ 0 h 1507302"/>
              <a:gd name="connsiteX1" fmla="*/ 1561644 w 1561644"/>
              <a:gd name="connsiteY1" fmla="*/ 1507302 h 1507302"/>
              <a:gd name="connsiteX0" fmla="*/ 0 w 1561644"/>
              <a:gd name="connsiteY0" fmla="*/ 0 h 1507302"/>
              <a:gd name="connsiteX1" fmla="*/ 1561644 w 1561644"/>
              <a:gd name="connsiteY1" fmla="*/ 1507302 h 1507302"/>
              <a:gd name="connsiteX0" fmla="*/ 0 w 1539039"/>
              <a:gd name="connsiteY0" fmla="*/ 0 h 1500539"/>
              <a:gd name="connsiteX1" fmla="*/ 1539039 w 1539039"/>
              <a:gd name="connsiteY1" fmla="*/ 1500539 h 1500539"/>
              <a:gd name="connsiteX0" fmla="*/ 0 w 1528011"/>
              <a:gd name="connsiteY0" fmla="*/ 0 h 1490461"/>
              <a:gd name="connsiteX1" fmla="*/ 1528011 w 1528011"/>
              <a:gd name="connsiteY1" fmla="*/ 1490461 h 1490461"/>
              <a:gd name="connsiteX0" fmla="*/ 0 w 1528011"/>
              <a:gd name="connsiteY0" fmla="*/ 0 h 1490461"/>
              <a:gd name="connsiteX1" fmla="*/ 1528011 w 1528011"/>
              <a:gd name="connsiteY1" fmla="*/ 1490461 h 1490461"/>
              <a:gd name="connsiteX0" fmla="*/ 3080799 w 3090213"/>
              <a:gd name="connsiteY0" fmla="*/ 0 h 2226950"/>
              <a:gd name="connsiteX1" fmla="*/ 78511 w 3090213"/>
              <a:gd name="connsiteY1" fmla="*/ 2226950 h 2226950"/>
              <a:gd name="connsiteX0" fmla="*/ 3321263 w 3321263"/>
              <a:gd name="connsiteY0" fmla="*/ 267285 h 2494235"/>
              <a:gd name="connsiteX1" fmla="*/ 318975 w 3321263"/>
              <a:gd name="connsiteY1" fmla="*/ 2494235 h 2494235"/>
              <a:gd name="connsiteX0" fmla="*/ 5023856 w 5023856"/>
              <a:gd name="connsiteY0" fmla="*/ 776106 h 776106"/>
              <a:gd name="connsiteX1" fmla="*/ 128627 w 5023856"/>
              <a:gd name="connsiteY1" fmla="*/ 351698 h 776106"/>
              <a:gd name="connsiteX0" fmla="*/ 4895228 w 4895228"/>
              <a:gd name="connsiteY0" fmla="*/ 761159 h 761159"/>
              <a:gd name="connsiteX1" fmla="*/ -1 w 4895228"/>
              <a:gd name="connsiteY1" fmla="*/ 336751 h 761159"/>
              <a:gd name="connsiteX0" fmla="*/ 5171732 w 5171732"/>
              <a:gd name="connsiteY0" fmla="*/ 754664 h 754664"/>
              <a:gd name="connsiteX1" fmla="*/ 0 w 5171732"/>
              <a:gd name="connsiteY1" fmla="*/ 343645 h 754664"/>
              <a:gd name="connsiteX0" fmla="*/ 5171732 w 5171732"/>
              <a:gd name="connsiteY0" fmla="*/ 835843 h 835843"/>
              <a:gd name="connsiteX1" fmla="*/ 0 w 5171732"/>
              <a:gd name="connsiteY1" fmla="*/ 424824 h 835843"/>
              <a:gd name="connsiteX0" fmla="*/ 5171732 w 5171732"/>
              <a:gd name="connsiteY0" fmla="*/ 709665 h 709665"/>
              <a:gd name="connsiteX1" fmla="*/ 0 w 5171732"/>
              <a:gd name="connsiteY1" fmla="*/ 298646 h 709665"/>
              <a:gd name="connsiteX0" fmla="*/ 5320608 w 5320608"/>
              <a:gd name="connsiteY0" fmla="*/ 692367 h 692367"/>
              <a:gd name="connsiteX1" fmla="*/ 0 w 5320608"/>
              <a:gd name="connsiteY1" fmla="*/ 308133 h 692367"/>
              <a:gd name="connsiteX0" fmla="*/ 5320608 w 5320608"/>
              <a:gd name="connsiteY0" fmla="*/ 703884 h 703884"/>
              <a:gd name="connsiteX1" fmla="*/ 0 w 5320608"/>
              <a:gd name="connsiteY1" fmla="*/ 319650 h 703884"/>
              <a:gd name="connsiteX0" fmla="*/ 2889934 w 2889938"/>
              <a:gd name="connsiteY0" fmla="*/ 251649 h 1263062"/>
              <a:gd name="connsiteX1" fmla="*/ 0 w 2889938"/>
              <a:gd name="connsiteY1" fmla="*/ 1263061 h 1263062"/>
              <a:gd name="connsiteX0" fmla="*/ 2889934 w 2889938"/>
              <a:gd name="connsiteY0" fmla="*/ 1 h 1011414"/>
              <a:gd name="connsiteX1" fmla="*/ 0 w 2889938"/>
              <a:gd name="connsiteY1" fmla="*/ 1011413 h 1011414"/>
              <a:gd name="connsiteX0" fmla="*/ 752739 w 752743"/>
              <a:gd name="connsiteY0" fmla="*/ 1 h 1935252"/>
              <a:gd name="connsiteX1" fmla="*/ 3 w 752743"/>
              <a:gd name="connsiteY1" fmla="*/ 1935252 h 1935252"/>
              <a:gd name="connsiteX0" fmla="*/ 1160558 w 1160562"/>
              <a:gd name="connsiteY0" fmla="*/ 1 h 1935252"/>
              <a:gd name="connsiteX1" fmla="*/ 407822 w 1160562"/>
              <a:gd name="connsiteY1" fmla="*/ 1935252 h 1935252"/>
              <a:gd name="connsiteX0" fmla="*/ 1205658 w 1205662"/>
              <a:gd name="connsiteY0" fmla="*/ 1 h 1862610"/>
              <a:gd name="connsiteX1" fmla="*/ 384793 w 1205662"/>
              <a:gd name="connsiteY1" fmla="*/ 1862612 h 1862610"/>
              <a:gd name="connsiteX0" fmla="*/ 1190716 w 1190720"/>
              <a:gd name="connsiteY0" fmla="*/ 1 h 1883273"/>
              <a:gd name="connsiteX1" fmla="*/ 392148 w 1190720"/>
              <a:gd name="connsiteY1" fmla="*/ 1883273 h 1883273"/>
              <a:gd name="connsiteX0" fmla="*/ 1189098 w 1189102"/>
              <a:gd name="connsiteY0" fmla="*/ 1 h 1883273"/>
              <a:gd name="connsiteX1" fmla="*/ 390530 w 1189102"/>
              <a:gd name="connsiteY1" fmla="*/ 1883273 h 1883273"/>
              <a:gd name="connsiteX0" fmla="*/ 1164575 w 1164575"/>
              <a:gd name="connsiteY0" fmla="*/ 0 h 1860619"/>
              <a:gd name="connsiteX1" fmla="*/ 403194 w 1164575"/>
              <a:gd name="connsiteY1" fmla="*/ 1860619 h 1860619"/>
              <a:gd name="connsiteX0" fmla="*/ 1164909 w 1164909"/>
              <a:gd name="connsiteY0" fmla="*/ 0 h 1860619"/>
              <a:gd name="connsiteX1" fmla="*/ 403528 w 1164909"/>
              <a:gd name="connsiteY1" fmla="*/ 1860619 h 1860619"/>
              <a:gd name="connsiteX0" fmla="*/ 1215490 w 1215490"/>
              <a:gd name="connsiteY0" fmla="*/ 0 h 1860619"/>
              <a:gd name="connsiteX1" fmla="*/ 454109 w 1215490"/>
              <a:gd name="connsiteY1" fmla="*/ 1860619 h 1860619"/>
              <a:gd name="connsiteX0" fmla="*/ 1157822 w 1157826"/>
              <a:gd name="connsiteY0" fmla="*/ 2 h 1943256"/>
              <a:gd name="connsiteX1" fmla="*/ 485627 w 1157826"/>
              <a:gd name="connsiteY1" fmla="*/ 1943256 h 1943256"/>
              <a:gd name="connsiteX0" fmla="*/ 1105906 w 1105910"/>
              <a:gd name="connsiteY0" fmla="*/ 2 h 1943256"/>
              <a:gd name="connsiteX1" fmla="*/ 433711 w 1105910"/>
              <a:gd name="connsiteY1" fmla="*/ 1943256 h 1943256"/>
              <a:gd name="connsiteX0" fmla="*/ 1206089 w 1206088"/>
              <a:gd name="connsiteY0" fmla="*/ -2 h 1848170"/>
              <a:gd name="connsiteX1" fmla="*/ 390188 w 1206088"/>
              <a:gd name="connsiteY1" fmla="*/ 1848170 h 1848170"/>
              <a:gd name="connsiteX0" fmla="*/ 1086473 w 1086472"/>
              <a:gd name="connsiteY0" fmla="*/ -2 h 1848170"/>
              <a:gd name="connsiteX1" fmla="*/ 270572 w 1086472"/>
              <a:gd name="connsiteY1" fmla="*/ 1848170 h 1848170"/>
              <a:gd name="connsiteX0" fmla="*/ 8038878 w 8038877"/>
              <a:gd name="connsiteY0" fmla="*/ -2 h 3615278"/>
              <a:gd name="connsiteX1" fmla="*/ 49728 w 8038877"/>
              <a:gd name="connsiteY1" fmla="*/ 3615276 h 3615278"/>
              <a:gd name="connsiteX0" fmla="*/ 7989148 w 7989147"/>
              <a:gd name="connsiteY0" fmla="*/ -2 h 3615278"/>
              <a:gd name="connsiteX1" fmla="*/ -2 w 7989147"/>
              <a:gd name="connsiteY1" fmla="*/ 3615276 h 3615278"/>
              <a:gd name="connsiteX0" fmla="*/ 7852029 w 7852028"/>
              <a:gd name="connsiteY0" fmla="*/ -2 h 3653503"/>
              <a:gd name="connsiteX1" fmla="*/ 0 w 7852028"/>
              <a:gd name="connsiteY1" fmla="*/ 3653504 h 3653503"/>
              <a:gd name="connsiteX0" fmla="*/ 7852029 w 7852028"/>
              <a:gd name="connsiteY0" fmla="*/ -2 h 3653503"/>
              <a:gd name="connsiteX1" fmla="*/ 0 w 7852028"/>
              <a:gd name="connsiteY1" fmla="*/ 3653504 h 3653503"/>
              <a:gd name="connsiteX0" fmla="*/ 8045309 w 8045309"/>
              <a:gd name="connsiteY0" fmla="*/ 0 h 3588622"/>
              <a:gd name="connsiteX1" fmla="*/ 0 w 8045309"/>
              <a:gd name="connsiteY1" fmla="*/ 3588623 h 3588622"/>
              <a:gd name="connsiteX0" fmla="*/ 8045309 w 8045309"/>
              <a:gd name="connsiteY0" fmla="*/ 0 h 3588622"/>
              <a:gd name="connsiteX1" fmla="*/ 0 w 8045309"/>
              <a:gd name="connsiteY1" fmla="*/ 3588623 h 3588622"/>
              <a:gd name="connsiteX0" fmla="*/ 8045309 w 8045309"/>
              <a:gd name="connsiteY0" fmla="*/ 0 h 3588622"/>
              <a:gd name="connsiteX1" fmla="*/ 0 w 8045309"/>
              <a:gd name="connsiteY1" fmla="*/ 3588623 h 3588622"/>
              <a:gd name="connsiteX0" fmla="*/ 8179140 w 8179141"/>
              <a:gd name="connsiteY0" fmla="*/ 0 h 3578833"/>
              <a:gd name="connsiteX1" fmla="*/ 0 w 8179141"/>
              <a:gd name="connsiteY1" fmla="*/ 3578834 h 3578833"/>
              <a:gd name="connsiteX0" fmla="*/ 8179140 w 8179141"/>
              <a:gd name="connsiteY0" fmla="*/ 0 h 3578833"/>
              <a:gd name="connsiteX1" fmla="*/ 0 w 8179141"/>
              <a:gd name="connsiteY1" fmla="*/ 3578834 h 3578833"/>
              <a:gd name="connsiteX0" fmla="*/ 8288176 w 8288179"/>
              <a:gd name="connsiteY0" fmla="*/ 0 h 3553940"/>
              <a:gd name="connsiteX1" fmla="*/ 0 w 8288179"/>
              <a:gd name="connsiteY1" fmla="*/ 3553941 h 3553940"/>
              <a:gd name="connsiteX0" fmla="*/ 8238107 w 8238103"/>
              <a:gd name="connsiteY0" fmla="*/ -1 h 3553134"/>
              <a:gd name="connsiteX1" fmla="*/ 0 w 8238103"/>
              <a:gd name="connsiteY1" fmla="*/ 3553135 h 3553134"/>
              <a:gd name="connsiteX0" fmla="*/ 8238107 w 8305339"/>
              <a:gd name="connsiteY0" fmla="*/ -1 h 3553134"/>
              <a:gd name="connsiteX1" fmla="*/ 0 w 8305339"/>
              <a:gd name="connsiteY1" fmla="*/ 3553135 h 3553134"/>
              <a:gd name="connsiteX0" fmla="*/ 12251389 w 12288614"/>
              <a:gd name="connsiteY0" fmla="*/ -1 h 4841777"/>
              <a:gd name="connsiteX1" fmla="*/ 2 w 12288614"/>
              <a:gd name="connsiteY1" fmla="*/ 4841777 h 4841777"/>
              <a:gd name="connsiteX0" fmla="*/ 12251389 w 12300718"/>
              <a:gd name="connsiteY0" fmla="*/ -1 h 4841777"/>
              <a:gd name="connsiteX1" fmla="*/ 2 w 12300718"/>
              <a:gd name="connsiteY1" fmla="*/ 4841777 h 4841777"/>
              <a:gd name="connsiteX0" fmla="*/ 12107399 w 12157791"/>
              <a:gd name="connsiteY0" fmla="*/ -2 h 4813412"/>
              <a:gd name="connsiteX1" fmla="*/ 2 w 12157791"/>
              <a:gd name="connsiteY1" fmla="*/ 4813412 h 4813412"/>
              <a:gd name="connsiteX0" fmla="*/ 12107399 w 12115490"/>
              <a:gd name="connsiteY0" fmla="*/ -2 h 4813412"/>
              <a:gd name="connsiteX1" fmla="*/ 2 w 12115490"/>
              <a:gd name="connsiteY1" fmla="*/ 4813412 h 4813412"/>
              <a:gd name="connsiteX0" fmla="*/ 12107399 w 12107392"/>
              <a:gd name="connsiteY0" fmla="*/ -2 h 9321579"/>
              <a:gd name="connsiteX1" fmla="*/ 2 w 12107392"/>
              <a:gd name="connsiteY1" fmla="*/ 4813412 h 9321579"/>
              <a:gd name="connsiteX0" fmla="*/ 12107399 w 12107392"/>
              <a:gd name="connsiteY0" fmla="*/ -2 h 14043873"/>
              <a:gd name="connsiteX1" fmla="*/ 2 w 12107392"/>
              <a:gd name="connsiteY1" fmla="*/ 4813412 h 14043873"/>
              <a:gd name="connsiteX0" fmla="*/ 15668089 w 15668107"/>
              <a:gd name="connsiteY0" fmla="*/ 11076433 h 19061140"/>
              <a:gd name="connsiteX1" fmla="*/ 2 w 15668107"/>
              <a:gd name="connsiteY1" fmla="*/ 7 h 19061140"/>
              <a:gd name="connsiteX0" fmla="*/ 15668089 w 16723234"/>
              <a:gd name="connsiteY0" fmla="*/ 11076433 h 11076437"/>
              <a:gd name="connsiteX1" fmla="*/ 2 w 16723234"/>
              <a:gd name="connsiteY1" fmla="*/ 7 h 11076437"/>
              <a:gd name="connsiteX0" fmla="*/ 12428599 w 13690125"/>
              <a:gd name="connsiteY0" fmla="*/ 16649274 h 16649280"/>
              <a:gd name="connsiteX1" fmla="*/ 2 w 13690125"/>
              <a:gd name="connsiteY1" fmla="*/ 7 h 16649280"/>
              <a:gd name="connsiteX0" fmla="*/ 12428599 w 13595310"/>
              <a:gd name="connsiteY0" fmla="*/ 16649274 h 16649280"/>
              <a:gd name="connsiteX1" fmla="*/ 2 w 13595310"/>
              <a:gd name="connsiteY1" fmla="*/ 7 h 16649280"/>
              <a:gd name="connsiteX0" fmla="*/ 12428599 w 12982795"/>
              <a:gd name="connsiteY0" fmla="*/ 16649274 h 16649280"/>
              <a:gd name="connsiteX1" fmla="*/ 2 w 12982795"/>
              <a:gd name="connsiteY1" fmla="*/ 7 h 16649280"/>
            </a:gdLst>
            <a:ahLst/>
            <a:cxnLst>
              <a:cxn ang="0">
                <a:pos x="connsiteX0" y="connsiteY0"/>
              </a:cxn>
              <a:cxn ang="0">
                <a:pos x="connsiteX1" y="connsiteY1"/>
              </a:cxn>
            </a:cxnLst>
            <a:rect l="l" t="t" r="r" b="b"/>
            <a:pathLst>
              <a:path w="12982795" h="16649280">
                <a:moveTo>
                  <a:pt x="12428599" y="16649274"/>
                </a:moveTo>
                <a:cubicBezTo>
                  <a:pt x="15656564" y="9829477"/>
                  <a:pt x="3897589" y="2492237"/>
                  <a:pt x="2" y="7"/>
                </a:cubicBezTo>
              </a:path>
            </a:pathLst>
          </a:custGeom>
          <a:noFill/>
          <a:ln w="15875" cap="flat" cmpd="sng" algn="ctr">
            <a:solidFill>
              <a:srgbClr val="B8690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94" name="Freeform 93"/>
          <p:cNvSpPr/>
          <p:nvPr/>
        </p:nvSpPr>
        <p:spPr bwMode="auto">
          <a:xfrm rot="13276803" flipV="1">
            <a:off x="2751818" y="2517995"/>
            <a:ext cx="112212" cy="178204"/>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9853"/>
              <a:gd name="connsiteY0" fmla="*/ 0 h 1710816"/>
              <a:gd name="connsiteX1" fmla="*/ 3043291 w 3049853"/>
              <a:gd name="connsiteY1" fmla="*/ 1710816 h 1710816"/>
              <a:gd name="connsiteX0" fmla="*/ 0 w 3012897"/>
              <a:gd name="connsiteY0" fmla="*/ 0 h 1700872"/>
              <a:gd name="connsiteX1" fmla="*/ 3006136 w 3012897"/>
              <a:gd name="connsiteY1" fmla="*/ 1700872 h 1700872"/>
              <a:gd name="connsiteX0" fmla="*/ 0 w 3012358"/>
              <a:gd name="connsiteY0" fmla="*/ 0 h 1700872"/>
              <a:gd name="connsiteX1" fmla="*/ 3006136 w 3012358"/>
              <a:gd name="connsiteY1" fmla="*/ 1700872 h 1700872"/>
              <a:gd name="connsiteX0" fmla="*/ 0 w 3009172"/>
              <a:gd name="connsiteY0" fmla="*/ 0 h 1700872"/>
              <a:gd name="connsiteX1" fmla="*/ 3006136 w 3009172"/>
              <a:gd name="connsiteY1" fmla="*/ 1700872 h 1700872"/>
              <a:gd name="connsiteX0" fmla="*/ 0 w 3011188"/>
              <a:gd name="connsiteY0" fmla="*/ 0 h 1700872"/>
              <a:gd name="connsiteX1" fmla="*/ 3006136 w 3011188"/>
              <a:gd name="connsiteY1" fmla="*/ 1700872 h 1700872"/>
              <a:gd name="connsiteX0" fmla="*/ 0 w 1265872"/>
              <a:gd name="connsiteY0" fmla="*/ 231846 h 231890"/>
              <a:gd name="connsiteX1" fmla="*/ 1024598 w 1265872"/>
              <a:gd name="connsiteY1" fmla="*/ 215725 h 231890"/>
              <a:gd name="connsiteX0" fmla="*/ 0 w 1089071"/>
              <a:gd name="connsiteY0" fmla="*/ 43894 h 44136"/>
              <a:gd name="connsiteX1" fmla="*/ 1024598 w 1089071"/>
              <a:gd name="connsiteY1" fmla="*/ 27773 h 44136"/>
              <a:gd name="connsiteX0" fmla="*/ 0 w 1024597"/>
              <a:gd name="connsiteY0" fmla="*/ 52170 h 52170"/>
              <a:gd name="connsiteX1" fmla="*/ 1024598 w 1024597"/>
              <a:gd name="connsiteY1" fmla="*/ 36049 h 52170"/>
              <a:gd name="connsiteX0" fmla="*/ 0 w 1024599"/>
              <a:gd name="connsiteY0" fmla="*/ 202860 h 202860"/>
              <a:gd name="connsiteX1" fmla="*/ 1024599 w 1024599"/>
              <a:gd name="connsiteY1" fmla="*/ 14374 h 202860"/>
              <a:gd name="connsiteX0" fmla="*/ 0 w 1024599"/>
              <a:gd name="connsiteY0" fmla="*/ 188486 h 188486"/>
              <a:gd name="connsiteX1" fmla="*/ 1024599 w 1024599"/>
              <a:gd name="connsiteY1" fmla="*/ 0 h 188486"/>
              <a:gd name="connsiteX0" fmla="*/ 0 w 1024599"/>
              <a:gd name="connsiteY0" fmla="*/ 188486 h 188486"/>
              <a:gd name="connsiteX1" fmla="*/ 1024599 w 1024599"/>
              <a:gd name="connsiteY1" fmla="*/ 0 h 188486"/>
              <a:gd name="connsiteX0" fmla="*/ 0 w 4327162"/>
              <a:gd name="connsiteY0" fmla="*/ 188486 h 188486"/>
              <a:gd name="connsiteX1" fmla="*/ 4327162 w 4327162"/>
              <a:gd name="connsiteY1" fmla="*/ 0 h 188486"/>
              <a:gd name="connsiteX0" fmla="*/ 0 w 4327162"/>
              <a:gd name="connsiteY0" fmla="*/ 496341 h 496341"/>
              <a:gd name="connsiteX1" fmla="*/ 4327162 w 4327162"/>
              <a:gd name="connsiteY1" fmla="*/ 307855 h 496341"/>
              <a:gd name="connsiteX0" fmla="*/ 0 w 4327162"/>
              <a:gd name="connsiteY0" fmla="*/ 874372 h 874372"/>
              <a:gd name="connsiteX1" fmla="*/ 4327162 w 4327162"/>
              <a:gd name="connsiteY1" fmla="*/ 685886 h 874372"/>
              <a:gd name="connsiteX0" fmla="*/ 0 w 4327162"/>
              <a:gd name="connsiteY0" fmla="*/ 932499 h 932499"/>
              <a:gd name="connsiteX1" fmla="*/ 4327162 w 4327162"/>
              <a:gd name="connsiteY1" fmla="*/ 744013 h 932499"/>
              <a:gd name="connsiteX0" fmla="*/ 0 w 4327162"/>
              <a:gd name="connsiteY0" fmla="*/ 900717 h 900717"/>
              <a:gd name="connsiteX1" fmla="*/ 4327162 w 4327162"/>
              <a:gd name="connsiteY1" fmla="*/ 712231 h 900717"/>
              <a:gd name="connsiteX0" fmla="*/ 0 w 4327162"/>
              <a:gd name="connsiteY0" fmla="*/ 900717 h 900717"/>
              <a:gd name="connsiteX1" fmla="*/ 4327162 w 4327162"/>
              <a:gd name="connsiteY1" fmla="*/ 712231 h 900717"/>
              <a:gd name="connsiteX0" fmla="*/ 0 w 4327162"/>
              <a:gd name="connsiteY0" fmla="*/ 918648 h 918648"/>
              <a:gd name="connsiteX1" fmla="*/ 4327162 w 4327162"/>
              <a:gd name="connsiteY1" fmla="*/ 730162 h 918648"/>
              <a:gd name="connsiteX0" fmla="*/ 0 w 5599916"/>
              <a:gd name="connsiteY0" fmla="*/ 643023 h 1216923"/>
              <a:gd name="connsiteX1" fmla="*/ 5599916 w 5599916"/>
              <a:gd name="connsiteY1" fmla="*/ 1216923 h 1216923"/>
              <a:gd name="connsiteX0" fmla="*/ 0 w 5599916"/>
              <a:gd name="connsiteY0" fmla="*/ 863522 h 1437422"/>
              <a:gd name="connsiteX1" fmla="*/ 5599916 w 5599916"/>
              <a:gd name="connsiteY1" fmla="*/ 1437422 h 1437422"/>
              <a:gd name="connsiteX0" fmla="*/ 0 w 5599916"/>
              <a:gd name="connsiteY0" fmla="*/ 984252 h 1558152"/>
              <a:gd name="connsiteX1" fmla="*/ 5599916 w 5599916"/>
              <a:gd name="connsiteY1" fmla="*/ 1558152 h 1558152"/>
              <a:gd name="connsiteX0" fmla="*/ 0 w 5599916"/>
              <a:gd name="connsiteY0" fmla="*/ 1001224 h 1575124"/>
              <a:gd name="connsiteX1" fmla="*/ 5599916 w 5599916"/>
              <a:gd name="connsiteY1" fmla="*/ 1575124 h 1575124"/>
              <a:gd name="connsiteX0" fmla="*/ 0 w 778662"/>
              <a:gd name="connsiteY0" fmla="*/ 1354876 h 1354876"/>
              <a:gd name="connsiteX1" fmla="*/ 234769 w 778662"/>
              <a:gd name="connsiteY1" fmla="*/ 1149153 h 1354876"/>
              <a:gd name="connsiteX0" fmla="*/ 0 w 935096"/>
              <a:gd name="connsiteY0" fmla="*/ 808798 h 808798"/>
              <a:gd name="connsiteX1" fmla="*/ 234769 w 935096"/>
              <a:gd name="connsiteY1" fmla="*/ 603075 h 808798"/>
              <a:gd name="connsiteX0" fmla="*/ 0 w 907643"/>
              <a:gd name="connsiteY0" fmla="*/ 790190 h 790190"/>
              <a:gd name="connsiteX1" fmla="*/ 130338 w 907643"/>
              <a:gd name="connsiteY1" fmla="*/ 648110 h 790190"/>
              <a:gd name="connsiteX0" fmla="*/ 0 w 928079"/>
              <a:gd name="connsiteY0" fmla="*/ 797069 h 797069"/>
              <a:gd name="connsiteX1" fmla="*/ 208661 w 928079"/>
              <a:gd name="connsiteY1" fmla="*/ 631123 h 797069"/>
              <a:gd name="connsiteX0" fmla="*/ 0 w 208662"/>
              <a:gd name="connsiteY0" fmla="*/ 165946 h 165946"/>
              <a:gd name="connsiteX1" fmla="*/ 208661 w 208662"/>
              <a:gd name="connsiteY1" fmla="*/ 0 h 165946"/>
              <a:gd name="connsiteX0" fmla="*/ 0 w 241295"/>
              <a:gd name="connsiteY0" fmla="*/ 175890 h 175890"/>
              <a:gd name="connsiteX1" fmla="*/ 241296 w 241295"/>
              <a:gd name="connsiteY1" fmla="*/ 0 h 175890"/>
              <a:gd name="connsiteX0" fmla="*/ 6942 w 248238"/>
              <a:gd name="connsiteY0" fmla="*/ 175890 h 175890"/>
              <a:gd name="connsiteX1" fmla="*/ 248238 w 248238"/>
              <a:gd name="connsiteY1" fmla="*/ 0 h 175890"/>
              <a:gd name="connsiteX0" fmla="*/ 8926 w 225747"/>
              <a:gd name="connsiteY0" fmla="*/ 153516 h 153516"/>
              <a:gd name="connsiteX1" fmla="*/ 225747 w 225747"/>
              <a:gd name="connsiteY1" fmla="*/ 0 h 153516"/>
              <a:gd name="connsiteX0" fmla="*/ 7514 w 240653"/>
              <a:gd name="connsiteY0" fmla="*/ 170918 h 170918"/>
              <a:gd name="connsiteX1" fmla="*/ 240653 w 240653"/>
              <a:gd name="connsiteY1" fmla="*/ 0 h 170918"/>
              <a:gd name="connsiteX0" fmla="*/ 18240 w 251379"/>
              <a:gd name="connsiteY0" fmla="*/ 170918 h 170918"/>
              <a:gd name="connsiteX1" fmla="*/ 251379 w 251379"/>
              <a:gd name="connsiteY1" fmla="*/ 0 h 170918"/>
              <a:gd name="connsiteX0" fmla="*/ 18240 w 251379"/>
              <a:gd name="connsiteY0" fmla="*/ 158488 h 158488"/>
              <a:gd name="connsiteX1" fmla="*/ 251379 w 251379"/>
              <a:gd name="connsiteY1" fmla="*/ 0 h 158488"/>
              <a:gd name="connsiteX0" fmla="*/ 17341 w 258639"/>
              <a:gd name="connsiteY0" fmla="*/ 160974 h 160974"/>
              <a:gd name="connsiteX1" fmla="*/ 258640 w 258639"/>
              <a:gd name="connsiteY1" fmla="*/ 0 h 160974"/>
              <a:gd name="connsiteX0" fmla="*/ 14278 w 255578"/>
              <a:gd name="connsiteY0" fmla="*/ 163066 h 163066"/>
              <a:gd name="connsiteX1" fmla="*/ 255577 w 255578"/>
              <a:gd name="connsiteY1" fmla="*/ 2092 h 163066"/>
              <a:gd name="connsiteX0" fmla="*/ 14278 w 255576"/>
              <a:gd name="connsiteY0" fmla="*/ 165919 h 165919"/>
              <a:gd name="connsiteX1" fmla="*/ 255577 w 255576"/>
              <a:gd name="connsiteY1" fmla="*/ 4945 h 165919"/>
              <a:gd name="connsiteX0" fmla="*/ 15719 w 257018"/>
              <a:gd name="connsiteY0" fmla="*/ 166082 h 166082"/>
              <a:gd name="connsiteX1" fmla="*/ 257018 w 257018"/>
              <a:gd name="connsiteY1" fmla="*/ 5108 h 166082"/>
              <a:gd name="connsiteX0" fmla="*/ 16029 w 257328"/>
              <a:gd name="connsiteY0" fmla="*/ 164225 h 164225"/>
              <a:gd name="connsiteX1" fmla="*/ 257328 w 257328"/>
              <a:gd name="connsiteY1" fmla="*/ 3251 h 164225"/>
              <a:gd name="connsiteX0" fmla="*/ 15126 w 256425"/>
              <a:gd name="connsiteY0" fmla="*/ 164814 h 164814"/>
              <a:gd name="connsiteX1" fmla="*/ 256425 w 256425"/>
              <a:gd name="connsiteY1" fmla="*/ 3840 h 164814"/>
              <a:gd name="connsiteX0" fmla="*/ 41402 w 135844"/>
              <a:gd name="connsiteY0" fmla="*/ 32128 h 57606"/>
              <a:gd name="connsiteX1" fmla="*/ 135844 w 135844"/>
              <a:gd name="connsiteY1" fmla="*/ 57607 h 57606"/>
              <a:gd name="connsiteX0" fmla="*/ 288769 w 288769"/>
              <a:gd name="connsiteY0" fmla="*/ 16967 h 159290"/>
              <a:gd name="connsiteX1" fmla="*/ 44626 w 288769"/>
              <a:gd name="connsiteY1" fmla="*/ 159290 h 159290"/>
              <a:gd name="connsiteX0" fmla="*/ 244143 w 244143"/>
              <a:gd name="connsiteY0" fmla="*/ 15076 h 157526"/>
              <a:gd name="connsiteX1" fmla="*/ 0 w 244143"/>
              <a:gd name="connsiteY1" fmla="*/ 157399 h 157526"/>
              <a:gd name="connsiteX0" fmla="*/ 219666 w 219666"/>
              <a:gd name="connsiteY0" fmla="*/ 14805 h 162223"/>
              <a:gd name="connsiteX1" fmla="*/ 0 w 219666"/>
              <a:gd name="connsiteY1" fmla="*/ 162100 h 162223"/>
              <a:gd name="connsiteX0" fmla="*/ 219666 w 247319"/>
              <a:gd name="connsiteY0" fmla="*/ 0 h 147529"/>
              <a:gd name="connsiteX1" fmla="*/ 0 w 247319"/>
              <a:gd name="connsiteY1" fmla="*/ 147295 h 147529"/>
              <a:gd name="connsiteX0" fmla="*/ 227824 w 254399"/>
              <a:gd name="connsiteY0" fmla="*/ 0 h 152492"/>
              <a:gd name="connsiteX1" fmla="*/ 0 w 254399"/>
              <a:gd name="connsiteY1" fmla="*/ 152268 h 152492"/>
              <a:gd name="connsiteX0" fmla="*/ 227824 w 253476"/>
              <a:gd name="connsiteY0" fmla="*/ 0 h 154921"/>
              <a:gd name="connsiteX1" fmla="*/ 0 w 253476"/>
              <a:gd name="connsiteY1" fmla="*/ 152268 h 154921"/>
              <a:gd name="connsiteX0" fmla="*/ 227824 w 261726"/>
              <a:gd name="connsiteY0" fmla="*/ 0 h 155188"/>
              <a:gd name="connsiteX1" fmla="*/ 0 w 261726"/>
              <a:gd name="connsiteY1" fmla="*/ 152268 h 155188"/>
              <a:gd name="connsiteX0" fmla="*/ 0 w 1622463"/>
              <a:gd name="connsiteY0" fmla="*/ 81420 h 94627"/>
              <a:gd name="connsiteX1" fmla="*/ 1607873 w 1622463"/>
              <a:gd name="connsiteY1" fmla="*/ 0 h 94627"/>
              <a:gd name="connsiteX0" fmla="*/ 0 w 1607873"/>
              <a:gd name="connsiteY0" fmla="*/ 90497 h 99366"/>
              <a:gd name="connsiteX1" fmla="*/ 1607873 w 1607873"/>
              <a:gd name="connsiteY1" fmla="*/ 9077 h 99366"/>
              <a:gd name="connsiteX0" fmla="*/ 0 w 1591556"/>
              <a:gd name="connsiteY0" fmla="*/ 104820 h 113107"/>
              <a:gd name="connsiteX1" fmla="*/ 1591556 w 1591556"/>
              <a:gd name="connsiteY1" fmla="*/ 8483 h 113107"/>
              <a:gd name="connsiteX0" fmla="*/ 0 w 1591556"/>
              <a:gd name="connsiteY0" fmla="*/ 117229 h 124320"/>
              <a:gd name="connsiteX1" fmla="*/ 1591556 w 1591556"/>
              <a:gd name="connsiteY1" fmla="*/ 20892 h 124320"/>
              <a:gd name="connsiteX0" fmla="*/ 0 w 1591556"/>
              <a:gd name="connsiteY0" fmla="*/ 113613 h 140106"/>
              <a:gd name="connsiteX1" fmla="*/ 1591556 w 1591556"/>
              <a:gd name="connsiteY1" fmla="*/ 17276 h 140106"/>
              <a:gd name="connsiteX0" fmla="*/ 0 w 1591556"/>
              <a:gd name="connsiteY0" fmla="*/ 118345 h 144487"/>
              <a:gd name="connsiteX1" fmla="*/ 1591556 w 1591556"/>
              <a:gd name="connsiteY1" fmla="*/ 17036 h 144487"/>
              <a:gd name="connsiteX0" fmla="*/ 0 w 1591556"/>
              <a:gd name="connsiteY0" fmla="*/ 117486 h 150580"/>
              <a:gd name="connsiteX1" fmla="*/ 1591556 w 1591556"/>
              <a:gd name="connsiteY1" fmla="*/ 16177 h 150580"/>
              <a:gd name="connsiteX0" fmla="*/ 0 w 1069402"/>
              <a:gd name="connsiteY0" fmla="*/ 0 h 77685"/>
              <a:gd name="connsiteX1" fmla="*/ 1069402 w 1069402"/>
              <a:gd name="connsiteY1" fmla="*/ 77686 h 77685"/>
              <a:gd name="connsiteX0" fmla="*/ 0 w 1069402"/>
              <a:gd name="connsiteY0" fmla="*/ 0 h 77686"/>
              <a:gd name="connsiteX1" fmla="*/ 1069402 w 1069402"/>
              <a:gd name="connsiteY1" fmla="*/ 77686 h 77686"/>
              <a:gd name="connsiteX0" fmla="*/ 0 w 1069402"/>
              <a:gd name="connsiteY0" fmla="*/ 0 h 77686"/>
              <a:gd name="connsiteX1" fmla="*/ 1069402 w 1069402"/>
              <a:gd name="connsiteY1" fmla="*/ 77686 h 77686"/>
              <a:gd name="connsiteX0" fmla="*/ 0 w 1028610"/>
              <a:gd name="connsiteY0" fmla="*/ 0 h 102546"/>
              <a:gd name="connsiteX1" fmla="*/ 1028610 w 1028610"/>
              <a:gd name="connsiteY1" fmla="*/ 102546 h 102546"/>
              <a:gd name="connsiteX0" fmla="*/ 0 w 1028610"/>
              <a:gd name="connsiteY0" fmla="*/ 0 h 102546"/>
              <a:gd name="connsiteX1" fmla="*/ 1028610 w 1028610"/>
              <a:gd name="connsiteY1" fmla="*/ 102546 h 102546"/>
              <a:gd name="connsiteX0" fmla="*/ 0 w 1028610"/>
              <a:gd name="connsiteY0" fmla="*/ 0 h 102546"/>
              <a:gd name="connsiteX1" fmla="*/ 1028610 w 1028610"/>
              <a:gd name="connsiteY1" fmla="*/ 102546 h 102546"/>
              <a:gd name="connsiteX0" fmla="*/ 0 w 1004133"/>
              <a:gd name="connsiteY0" fmla="*/ 0 h 105032"/>
              <a:gd name="connsiteX1" fmla="*/ 1004133 w 1004133"/>
              <a:gd name="connsiteY1" fmla="*/ 105032 h 105032"/>
              <a:gd name="connsiteX0" fmla="*/ 0 w 1004133"/>
              <a:gd name="connsiteY0" fmla="*/ 0 h 105032"/>
              <a:gd name="connsiteX1" fmla="*/ 1004133 w 1004133"/>
              <a:gd name="connsiteY1" fmla="*/ 105032 h 105032"/>
              <a:gd name="connsiteX0" fmla="*/ 0 w 893991"/>
              <a:gd name="connsiteY0" fmla="*/ 0 h 433188"/>
              <a:gd name="connsiteX1" fmla="*/ 893991 w 893991"/>
              <a:gd name="connsiteY1" fmla="*/ 433188 h 433188"/>
              <a:gd name="connsiteX0" fmla="*/ 0 w 934785"/>
              <a:gd name="connsiteY0" fmla="*/ 0 h 433188"/>
              <a:gd name="connsiteX1" fmla="*/ 934785 w 934785"/>
              <a:gd name="connsiteY1" fmla="*/ 433188 h 433188"/>
              <a:gd name="connsiteX0" fmla="*/ 0 w 934785"/>
              <a:gd name="connsiteY0" fmla="*/ 0 h 433188"/>
              <a:gd name="connsiteX1" fmla="*/ 934785 w 934785"/>
              <a:gd name="connsiteY1" fmla="*/ 433188 h 433188"/>
              <a:gd name="connsiteX0" fmla="*/ 0 w 820564"/>
              <a:gd name="connsiteY0" fmla="*/ 0 h 482909"/>
              <a:gd name="connsiteX1" fmla="*/ 820564 w 820564"/>
              <a:gd name="connsiteY1" fmla="*/ 482909 h 482909"/>
              <a:gd name="connsiteX0" fmla="*/ 0 w 820564"/>
              <a:gd name="connsiteY0" fmla="*/ 0 h 482909"/>
              <a:gd name="connsiteX1" fmla="*/ 820564 w 820564"/>
              <a:gd name="connsiteY1" fmla="*/ 482909 h 482909"/>
              <a:gd name="connsiteX0" fmla="*/ 0 w 2493088"/>
              <a:gd name="connsiteY0" fmla="*/ 0 h 756373"/>
              <a:gd name="connsiteX1" fmla="*/ 2493088 w 2493088"/>
              <a:gd name="connsiteY1" fmla="*/ 756373 h 756373"/>
              <a:gd name="connsiteX0" fmla="*/ 0 w 2493088"/>
              <a:gd name="connsiteY0" fmla="*/ 0 h 756373"/>
              <a:gd name="connsiteX1" fmla="*/ 2493088 w 2493088"/>
              <a:gd name="connsiteY1" fmla="*/ 756373 h 756373"/>
              <a:gd name="connsiteX0" fmla="*/ 0 w 2482210"/>
              <a:gd name="connsiteY0" fmla="*/ 0 h 772947"/>
              <a:gd name="connsiteX1" fmla="*/ 2482210 w 2482210"/>
              <a:gd name="connsiteY1" fmla="*/ 772947 h 772947"/>
              <a:gd name="connsiteX0" fmla="*/ 0 w 2221133"/>
              <a:gd name="connsiteY0" fmla="*/ 0 h 1377550"/>
              <a:gd name="connsiteX1" fmla="*/ 2221133 w 2221133"/>
              <a:gd name="connsiteY1" fmla="*/ 1377550 h 1377550"/>
              <a:gd name="connsiteX0" fmla="*/ 0 w 2221133"/>
              <a:gd name="connsiteY0" fmla="*/ 0 h 1377550"/>
              <a:gd name="connsiteX1" fmla="*/ 2221133 w 2221133"/>
              <a:gd name="connsiteY1" fmla="*/ 1377550 h 1377550"/>
              <a:gd name="connsiteX0" fmla="*/ 0 w 2273348"/>
              <a:gd name="connsiteY0" fmla="*/ 0 h 1377550"/>
              <a:gd name="connsiteX1" fmla="*/ 2273348 w 2273348"/>
              <a:gd name="connsiteY1" fmla="*/ 1377550 h 1377550"/>
              <a:gd name="connsiteX0" fmla="*/ 0 w 2273348"/>
              <a:gd name="connsiteY0" fmla="*/ 0 h 1377550"/>
              <a:gd name="connsiteX1" fmla="*/ 2273348 w 2273348"/>
              <a:gd name="connsiteY1" fmla="*/ 1377550 h 1377550"/>
              <a:gd name="connsiteX0" fmla="*/ 0 w 2257031"/>
              <a:gd name="connsiteY0" fmla="*/ 0 h 1367606"/>
              <a:gd name="connsiteX1" fmla="*/ 2257031 w 2257031"/>
              <a:gd name="connsiteY1" fmla="*/ 1367606 h 1367606"/>
              <a:gd name="connsiteX0" fmla="*/ 0 w 2257031"/>
              <a:gd name="connsiteY0" fmla="*/ 0 h 1367606"/>
              <a:gd name="connsiteX1" fmla="*/ 2257031 w 2257031"/>
              <a:gd name="connsiteY1" fmla="*/ 1367606 h 1367606"/>
              <a:gd name="connsiteX0" fmla="*/ 0 w 2257031"/>
              <a:gd name="connsiteY0" fmla="*/ 0 h 1367606"/>
              <a:gd name="connsiteX1" fmla="*/ 2257031 w 2257031"/>
              <a:gd name="connsiteY1" fmla="*/ 1367606 h 1367606"/>
              <a:gd name="connsiteX0" fmla="*/ 0 w 2518108"/>
              <a:gd name="connsiteY0" fmla="*/ 0 h 1712336"/>
              <a:gd name="connsiteX1" fmla="*/ 2518108 w 2518108"/>
              <a:gd name="connsiteY1" fmla="*/ 1712336 h 1712336"/>
              <a:gd name="connsiteX0" fmla="*/ 0 w 2518108"/>
              <a:gd name="connsiteY0" fmla="*/ 0 h 1712336"/>
              <a:gd name="connsiteX1" fmla="*/ 2518108 w 2518108"/>
              <a:gd name="connsiteY1" fmla="*/ 1712336 h 1712336"/>
              <a:gd name="connsiteX0" fmla="*/ 0 w 2518108"/>
              <a:gd name="connsiteY0" fmla="*/ 0 h 1712336"/>
              <a:gd name="connsiteX1" fmla="*/ 2518108 w 2518108"/>
              <a:gd name="connsiteY1" fmla="*/ 1712336 h 1712336"/>
              <a:gd name="connsiteX0" fmla="*/ 0 w 2561621"/>
              <a:gd name="connsiteY0" fmla="*/ 0 h 1705707"/>
              <a:gd name="connsiteX1" fmla="*/ 2561621 w 2561621"/>
              <a:gd name="connsiteY1" fmla="*/ 1705707 h 1705707"/>
              <a:gd name="connsiteX0" fmla="*/ 0 w 3094653"/>
              <a:gd name="connsiteY0" fmla="*/ 0 h 1838295"/>
              <a:gd name="connsiteX1" fmla="*/ 3094653 w 3094653"/>
              <a:gd name="connsiteY1" fmla="*/ 1838295 h 1838295"/>
              <a:gd name="connsiteX0" fmla="*/ 0 w 3094653"/>
              <a:gd name="connsiteY0" fmla="*/ 0 h 1838295"/>
              <a:gd name="connsiteX1" fmla="*/ 3094653 w 3094653"/>
              <a:gd name="connsiteY1" fmla="*/ 1838295 h 1838295"/>
              <a:gd name="connsiteX0" fmla="*/ 0 w 3062018"/>
              <a:gd name="connsiteY0" fmla="*/ 0 h 1818407"/>
              <a:gd name="connsiteX1" fmla="*/ 3062018 w 3062018"/>
              <a:gd name="connsiteY1" fmla="*/ 1818407 h 1818407"/>
              <a:gd name="connsiteX0" fmla="*/ 0 w 3062018"/>
              <a:gd name="connsiteY0" fmla="*/ 0 h 1818407"/>
              <a:gd name="connsiteX1" fmla="*/ 3062018 w 3062018"/>
              <a:gd name="connsiteY1" fmla="*/ 1818407 h 1818407"/>
              <a:gd name="connsiteX0" fmla="*/ 0 w 3121356"/>
              <a:gd name="connsiteY0" fmla="*/ 0 h 1858986"/>
              <a:gd name="connsiteX1" fmla="*/ 3121356 w 3121356"/>
              <a:gd name="connsiteY1" fmla="*/ 1858986 h 1858986"/>
              <a:gd name="connsiteX0" fmla="*/ 0 w 3143961"/>
              <a:gd name="connsiteY0" fmla="*/ 0 h 1858986"/>
              <a:gd name="connsiteX1" fmla="*/ 3143961 w 3143961"/>
              <a:gd name="connsiteY1" fmla="*/ 1858986 h 1858986"/>
              <a:gd name="connsiteX0" fmla="*/ 0 w 3143961"/>
              <a:gd name="connsiteY0" fmla="*/ 0 h 1858986"/>
              <a:gd name="connsiteX1" fmla="*/ 3143961 w 3143961"/>
              <a:gd name="connsiteY1" fmla="*/ 1858986 h 1858986"/>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77828"/>
              <a:gd name="connsiteX1" fmla="*/ 2680568 w 2680568"/>
              <a:gd name="connsiteY1" fmla="*/ 1777828 h 1777828"/>
              <a:gd name="connsiteX0" fmla="*/ 0 w 1561644"/>
              <a:gd name="connsiteY0" fmla="*/ 0 h 1507302"/>
              <a:gd name="connsiteX1" fmla="*/ 1561644 w 1561644"/>
              <a:gd name="connsiteY1" fmla="*/ 1507302 h 1507302"/>
              <a:gd name="connsiteX0" fmla="*/ 0 w 1561644"/>
              <a:gd name="connsiteY0" fmla="*/ 0 h 1507302"/>
              <a:gd name="connsiteX1" fmla="*/ 1561644 w 1561644"/>
              <a:gd name="connsiteY1" fmla="*/ 1507302 h 1507302"/>
              <a:gd name="connsiteX0" fmla="*/ 0 w 1561644"/>
              <a:gd name="connsiteY0" fmla="*/ 0 h 1507302"/>
              <a:gd name="connsiteX1" fmla="*/ 1561644 w 1561644"/>
              <a:gd name="connsiteY1" fmla="*/ 1507302 h 1507302"/>
              <a:gd name="connsiteX0" fmla="*/ 0 w 1539039"/>
              <a:gd name="connsiteY0" fmla="*/ 0 h 1500539"/>
              <a:gd name="connsiteX1" fmla="*/ 1539039 w 1539039"/>
              <a:gd name="connsiteY1" fmla="*/ 1500539 h 1500539"/>
              <a:gd name="connsiteX0" fmla="*/ 0 w 1528011"/>
              <a:gd name="connsiteY0" fmla="*/ 0 h 1490461"/>
              <a:gd name="connsiteX1" fmla="*/ 1528011 w 1528011"/>
              <a:gd name="connsiteY1" fmla="*/ 1490461 h 1490461"/>
              <a:gd name="connsiteX0" fmla="*/ 0 w 1528011"/>
              <a:gd name="connsiteY0" fmla="*/ 0 h 1490461"/>
              <a:gd name="connsiteX1" fmla="*/ 1528011 w 1528011"/>
              <a:gd name="connsiteY1" fmla="*/ 1490461 h 1490461"/>
              <a:gd name="connsiteX0" fmla="*/ 3080799 w 3090213"/>
              <a:gd name="connsiteY0" fmla="*/ 0 h 2226950"/>
              <a:gd name="connsiteX1" fmla="*/ 78511 w 3090213"/>
              <a:gd name="connsiteY1" fmla="*/ 2226950 h 2226950"/>
              <a:gd name="connsiteX0" fmla="*/ 3321263 w 3321263"/>
              <a:gd name="connsiteY0" fmla="*/ 267285 h 2494235"/>
              <a:gd name="connsiteX1" fmla="*/ 318975 w 3321263"/>
              <a:gd name="connsiteY1" fmla="*/ 2494235 h 2494235"/>
              <a:gd name="connsiteX0" fmla="*/ 5023856 w 5023856"/>
              <a:gd name="connsiteY0" fmla="*/ 776106 h 776106"/>
              <a:gd name="connsiteX1" fmla="*/ 128627 w 5023856"/>
              <a:gd name="connsiteY1" fmla="*/ 351698 h 776106"/>
              <a:gd name="connsiteX0" fmla="*/ 4895228 w 4895228"/>
              <a:gd name="connsiteY0" fmla="*/ 761159 h 761159"/>
              <a:gd name="connsiteX1" fmla="*/ -1 w 4895228"/>
              <a:gd name="connsiteY1" fmla="*/ 336751 h 761159"/>
              <a:gd name="connsiteX0" fmla="*/ 5171732 w 5171732"/>
              <a:gd name="connsiteY0" fmla="*/ 754664 h 754664"/>
              <a:gd name="connsiteX1" fmla="*/ 0 w 5171732"/>
              <a:gd name="connsiteY1" fmla="*/ 343645 h 754664"/>
              <a:gd name="connsiteX0" fmla="*/ 5171732 w 5171732"/>
              <a:gd name="connsiteY0" fmla="*/ 835843 h 835843"/>
              <a:gd name="connsiteX1" fmla="*/ 0 w 5171732"/>
              <a:gd name="connsiteY1" fmla="*/ 424824 h 835843"/>
              <a:gd name="connsiteX0" fmla="*/ 5171732 w 5171732"/>
              <a:gd name="connsiteY0" fmla="*/ 709665 h 709665"/>
              <a:gd name="connsiteX1" fmla="*/ 0 w 5171732"/>
              <a:gd name="connsiteY1" fmla="*/ 298646 h 709665"/>
              <a:gd name="connsiteX0" fmla="*/ 5320608 w 5320608"/>
              <a:gd name="connsiteY0" fmla="*/ 692367 h 692367"/>
              <a:gd name="connsiteX1" fmla="*/ 0 w 5320608"/>
              <a:gd name="connsiteY1" fmla="*/ 308133 h 692367"/>
              <a:gd name="connsiteX0" fmla="*/ 5320608 w 5320608"/>
              <a:gd name="connsiteY0" fmla="*/ 703884 h 703884"/>
              <a:gd name="connsiteX1" fmla="*/ 0 w 5320608"/>
              <a:gd name="connsiteY1" fmla="*/ 319650 h 703884"/>
              <a:gd name="connsiteX0" fmla="*/ 2889934 w 2889938"/>
              <a:gd name="connsiteY0" fmla="*/ 251649 h 1263062"/>
              <a:gd name="connsiteX1" fmla="*/ 0 w 2889938"/>
              <a:gd name="connsiteY1" fmla="*/ 1263061 h 1263062"/>
              <a:gd name="connsiteX0" fmla="*/ 2889934 w 2889938"/>
              <a:gd name="connsiteY0" fmla="*/ 1 h 1011414"/>
              <a:gd name="connsiteX1" fmla="*/ 0 w 2889938"/>
              <a:gd name="connsiteY1" fmla="*/ 1011413 h 1011414"/>
              <a:gd name="connsiteX0" fmla="*/ 752739 w 752743"/>
              <a:gd name="connsiteY0" fmla="*/ 1 h 1935252"/>
              <a:gd name="connsiteX1" fmla="*/ 3 w 752743"/>
              <a:gd name="connsiteY1" fmla="*/ 1935252 h 1935252"/>
              <a:gd name="connsiteX0" fmla="*/ 1160558 w 1160562"/>
              <a:gd name="connsiteY0" fmla="*/ 1 h 1935252"/>
              <a:gd name="connsiteX1" fmla="*/ 407822 w 1160562"/>
              <a:gd name="connsiteY1" fmla="*/ 1935252 h 1935252"/>
              <a:gd name="connsiteX0" fmla="*/ 1205658 w 1205662"/>
              <a:gd name="connsiteY0" fmla="*/ 1 h 1862610"/>
              <a:gd name="connsiteX1" fmla="*/ 384793 w 1205662"/>
              <a:gd name="connsiteY1" fmla="*/ 1862612 h 1862610"/>
              <a:gd name="connsiteX0" fmla="*/ 1190716 w 1190720"/>
              <a:gd name="connsiteY0" fmla="*/ 1 h 1883273"/>
              <a:gd name="connsiteX1" fmla="*/ 392148 w 1190720"/>
              <a:gd name="connsiteY1" fmla="*/ 1883273 h 1883273"/>
              <a:gd name="connsiteX0" fmla="*/ 1189098 w 1189102"/>
              <a:gd name="connsiteY0" fmla="*/ 1 h 1883273"/>
              <a:gd name="connsiteX1" fmla="*/ 390530 w 1189102"/>
              <a:gd name="connsiteY1" fmla="*/ 1883273 h 1883273"/>
              <a:gd name="connsiteX0" fmla="*/ 1164575 w 1164575"/>
              <a:gd name="connsiteY0" fmla="*/ 0 h 1860619"/>
              <a:gd name="connsiteX1" fmla="*/ 403194 w 1164575"/>
              <a:gd name="connsiteY1" fmla="*/ 1860619 h 1860619"/>
              <a:gd name="connsiteX0" fmla="*/ 1164909 w 1164909"/>
              <a:gd name="connsiteY0" fmla="*/ 0 h 1860619"/>
              <a:gd name="connsiteX1" fmla="*/ 403528 w 1164909"/>
              <a:gd name="connsiteY1" fmla="*/ 1860619 h 1860619"/>
              <a:gd name="connsiteX0" fmla="*/ 1215490 w 1215490"/>
              <a:gd name="connsiteY0" fmla="*/ 0 h 1860619"/>
              <a:gd name="connsiteX1" fmla="*/ 454109 w 1215490"/>
              <a:gd name="connsiteY1" fmla="*/ 1860619 h 1860619"/>
              <a:gd name="connsiteX0" fmla="*/ 1157822 w 1157826"/>
              <a:gd name="connsiteY0" fmla="*/ 2 h 1943256"/>
              <a:gd name="connsiteX1" fmla="*/ 485627 w 1157826"/>
              <a:gd name="connsiteY1" fmla="*/ 1943256 h 1943256"/>
              <a:gd name="connsiteX0" fmla="*/ 1105906 w 1105910"/>
              <a:gd name="connsiteY0" fmla="*/ 2 h 1943256"/>
              <a:gd name="connsiteX1" fmla="*/ 433711 w 1105910"/>
              <a:gd name="connsiteY1" fmla="*/ 1943256 h 1943256"/>
              <a:gd name="connsiteX0" fmla="*/ 1206089 w 1206088"/>
              <a:gd name="connsiteY0" fmla="*/ -2 h 1848170"/>
              <a:gd name="connsiteX1" fmla="*/ 390188 w 1206088"/>
              <a:gd name="connsiteY1" fmla="*/ 1848170 h 1848170"/>
              <a:gd name="connsiteX0" fmla="*/ 1086473 w 1086472"/>
              <a:gd name="connsiteY0" fmla="*/ -2 h 1848170"/>
              <a:gd name="connsiteX1" fmla="*/ 270572 w 1086472"/>
              <a:gd name="connsiteY1" fmla="*/ 1848170 h 1848170"/>
              <a:gd name="connsiteX0" fmla="*/ 8038878 w 8038877"/>
              <a:gd name="connsiteY0" fmla="*/ -2 h 3615278"/>
              <a:gd name="connsiteX1" fmla="*/ 49728 w 8038877"/>
              <a:gd name="connsiteY1" fmla="*/ 3615276 h 3615278"/>
              <a:gd name="connsiteX0" fmla="*/ 7989148 w 7989147"/>
              <a:gd name="connsiteY0" fmla="*/ -2 h 3615278"/>
              <a:gd name="connsiteX1" fmla="*/ -2 w 7989147"/>
              <a:gd name="connsiteY1" fmla="*/ 3615276 h 3615278"/>
              <a:gd name="connsiteX0" fmla="*/ 7852029 w 7852028"/>
              <a:gd name="connsiteY0" fmla="*/ -2 h 3653503"/>
              <a:gd name="connsiteX1" fmla="*/ 0 w 7852028"/>
              <a:gd name="connsiteY1" fmla="*/ 3653504 h 3653503"/>
              <a:gd name="connsiteX0" fmla="*/ 7852029 w 7852028"/>
              <a:gd name="connsiteY0" fmla="*/ -2 h 3653503"/>
              <a:gd name="connsiteX1" fmla="*/ 0 w 7852028"/>
              <a:gd name="connsiteY1" fmla="*/ 3653504 h 3653503"/>
              <a:gd name="connsiteX0" fmla="*/ 8045309 w 8045309"/>
              <a:gd name="connsiteY0" fmla="*/ 0 h 3588622"/>
              <a:gd name="connsiteX1" fmla="*/ 0 w 8045309"/>
              <a:gd name="connsiteY1" fmla="*/ 3588623 h 3588622"/>
              <a:gd name="connsiteX0" fmla="*/ 8045309 w 8045309"/>
              <a:gd name="connsiteY0" fmla="*/ 0 h 3588622"/>
              <a:gd name="connsiteX1" fmla="*/ 0 w 8045309"/>
              <a:gd name="connsiteY1" fmla="*/ 3588623 h 3588622"/>
              <a:gd name="connsiteX0" fmla="*/ 8045309 w 8045309"/>
              <a:gd name="connsiteY0" fmla="*/ 0 h 3588622"/>
              <a:gd name="connsiteX1" fmla="*/ 0 w 8045309"/>
              <a:gd name="connsiteY1" fmla="*/ 3588623 h 3588622"/>
              <a:gd name="connsiteX0" fmla="*/ 8179140 w 8179141"/>
              <a:gd name="connsiteY0" fmla="*/ 0 h 3578833"/>
              <a:gd name="connsiteX1" fmla="*/ 0 w 8179141"/>
              <a:gd name="connsiteY1" fmla="*/ 3578834 h 3578833"/>
              <a:gd name="connsiteX0" fmla="*/ 8179140 w 8179141"/>
              <a:gd name="connsiteY0" fmla="*/ 0 h 3578833"/>
              <a:gd name="connsiteX1" fmla="*/ 0 w 8179141"/>
              <a:gd name="connsiteY1" fmla="*/ 3578834 h 3578833"/>
              <a:gd name="connsiteX0" fmla="*/ 8288176 w 8288179"/>
              <a:gd name="connsiteY0" fmla="*/ 0 h 3553940"/>
              <a:gd name="connsiteX1" fmla="*/ 0 w 8288179"/>
              <a:gd name="connsiteY1" fmla="*/ 3553941 h 3553940"/>
              <a:gd name="connsiteX0" fmla="*/ 8238107 w 8238103"/>
              <a:gd name="connsiteY0" fmla="*/ -1 h 3553134"/>
              <a:gd name="connsiteX1" fmla="*/ 0 w 8238103"/>
              <a:gd name="connsiteY1" fmla="*/ 3553135 h 3553134"/>
              <a:gd name="connsiteX0" fmla="*/ 8238107 w 8305339"/>
              <a:gd name="connsiteY0" fmla="*/ -1 h 3553134"/>
              <a:gd name="connsiteX1" fmla="*/ 0 w 8305339"/>
              <a:gd name="connsiteY1" fmla="*/ 3553135 h 3553134"/>
              <a:gd name="connsiteX0" fmla="*/ 12251389 w 12288614"/>
              <a:gd name="connsiteY0" fmla="*/ -1 h 4841777"/>
              <a:gd name="connsiteX1" fmla="*/ 2 w 12288614"/>
              <a:gd name="connsiteY1" fmla="*/ 4841777 h 4841777"/>
              <a:gd name="connsiteX0" fmla="*/ 12251389 w 12300718"/>
              <a:gd name="connsiteY0" fmla="*/ -1 h 4841777"/>
              <a:gd name="connsiteX1" fmla="*/ 2 w 12300718"/>
              <a:gd name="connsiteY1" fmla="*/ 4841777 h 4841777"/>
              <a:gd name="connsiteX0" fmla="*/ 12107399 w 12157791"/>
              <a:gd name="connsiteY0" fmla="*/ -2 h 4813412"/>
              <a:gd name="connsiteX1" fmla="*/ 2 w 12157791"/>
              <a:gd name="connsiteY1" fmla="*/ 4813412 h 4813412"/>
              <a:gd name="connsiteX0" fmla="*/ 12107399 w 12115490"/>
              <a:gd name="connsiteY0" fmla="*/ -2 h 4813412"/>
              <a:gd name="connsiteX1" fmla="*/ 2 w 12115490"/>
              <a:gd name="connsiteY1" fmla="*/ 4813412 h 4813412"/>
              <a:gd name="connsiteX0" fmla="*/ 12107399 w 12107392"/>
              <a:gd name="connsiteY0" fmla="*/ -2 h 9321579"/>
              <a:gd name="connsiteX1" fmla="*/ 2 w 12107392"/>
              <a:gd name="connsiteY1" fmla="*/ 4813412 h 9321579"/>
              <a:gd name="connsiteX0" fmla="*/ 12107399 w 12107392"/>
              <a:gd name="connsiteY0" fmla="*/ -2 h 14043873"/>
              <a:gd name="connsiteX1" fmla="*/ 2 w 12107392"/>
              <a:gd name="connsiteY1" fmla="*/ 4813412 h 14043873"/>
              <a:gd name="connsiteX0" fmla="*/ 15668089 w 15668107"/>
              <a:gd name="connsiteY0" fmla="*/ 11076433 h 19061140"/>
              <a:gd name="connsiteX1" fmla="*/ 2 w 15668107"/>
              <a:gd name="connsiteY1" fmla="*/ 7 h 19061140"/>
              <a:gd name="connsiteX0" fmla="*/ 15668089 w 16723234"/>
              <a:gd name="connsiteY0" fmla="*/ 11076433 h 11076437"/>
              <a:gd name="connsiteX1" fmla="*/ 2 w 16723234"/>
              <a:gd name="connsiteY1" fmla="*/ 7 h 11076437"/>
              <a:gd name="connsiteX0" fmla="*/ 12428599 w 13690125"/>
              <a:gd name="connsiteY0" fmla="*/ 16649274 h 16649280"/>
              <a:gd name="connsiteX1" fmla="*/ 2 w 13690125"/>
              <a:gd name="connsiteY1" fmla="*/ 7 h 16649280"/>
              <a:gd name="connsiteX0" fmla="*/ 12428599 w 13595310"/>
              <a:gd name="connsiteY0" fmla="*/ 16649274 h 16649280"/>
              <a:gd name="connsiteX1" fmla="*/ 2 w 13595310"/>
              <a:gd name="connsiteY1" fmla="*/ 7 h 16649280"/>
              <a:gd name="connsiteX0" fmla="*/ 12428599 w 12982795"/>
              <a:gd name="connsiteY0" fmla="*/ 16649274 h 16649280"/>
              <a:gd name="connsiteX1" fmla="*/ 2 w 12982795"/>
              <a:gd name="connsiteY1" fmla="*/ 7 h 16649280"/>
            </a:gdLst>
            <a:ahLst/>
            <a:cxnLst>
              <a:cxn ang="0">
                <a:pos x="connsiteX0" y="connsiteY0"/>
              </a:cxn>
              <a:cxn ang="0">
                <a:pos x="connsiteX1" y="connsiteY1"/>
              </a:cxn>
            </a:cxnLst>
            <a:rect l="l" t="t" r="r" b="b"/>
            <a:pathLst>
              <a:path w="12982795" h="16649280">
                <a:moveTo>
                  <a:pt x="12428599" y="16649274"/>
                </a:moveTo>
                <a:cubicBezTo>
                  <a:pt x="15656564" y="9829477"/>
                  <a:pt x="3897589" y="2492237"/>
                  <a:pt x="2" y="7"/>
                </a:cubicBezTo>
              </a:path>
            </a:pathLst>
          </a:custGeom>
          <a:noFill/>
          <a:ln w="15875" cap="flat" cmpd="sng" algn="ctr">
            <a:solidFill>
              <a:srgbClr val="B8690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95" name="Freeform 93"/>
          <p:cNvSpPr/>
          <p:nvPr/>
        </p:nvSpPr>
        <p:spPr bwMode="auto">
          <a:xfrm rot="2644906" flipV="1">
            <a:off x="2767336" y="2590446"/>
            <a:ext cx="142496" cy="159085"/>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9853"/>
              <a:gd name="connsiteY0" fmla="*/ 0 h 1710816"/>
              <a:gd name="connsiteX1" fmla="*/ 3043291 w 3049853"/>
              <a:gd name="connsiteY1" fmla="*/ 1710816 h 1710816"/>
              <a:gd name="connsiteX0" fmla="*/ 0 w 3012897"/>
              <a:gd name="connsiteY0" fmla="*/ 0 h 1700872"/>
              <a:gd name="connsiteX1" fmla="*/ 3006136 w 3012897"/>
              <a:gd name="connsiteY1" fmla="*/ 1700872 h 1700872"/>
              <a:gd name="connsiteX0" fmla="*/ 0 w 3012358"/>
              <a:gd name="connsiteY0" fmla="*/ 0 h 1700872"/>
              <a:gd name="connsiteX1" fmla="*/ 3006136 w 3012358"/>
              <a:gd name="connsiteY1" fmla="*/ 1700872 h 1700872"/>
              <a:gd name="connsiteX0" fmla="*/ 0 w 3009172"/>
              <a:gd name="connsiteY0" fmla="*/ 0 h 1700872"/>
              <a:gd name="connsiteX1" fmla="*/ 3006136 w 3009172"/>
              <a:gd name="connsiteY1" fmla="*/ 1700872 h 1700872"/>
              <a:gd name="connsiteX0" fmla="*/ 0 w 3011188"/>
              <a:gd name="connsiteY0" fmla="*/ 0 h 1700872"/>
              <a:gd name="connsiteX1" fmla="*/ 3006136 w 3011188"/>
              <a:gd name="connsiteY1" fmla="*/ 1700872 h 1700872"/>
              <a:gd name="connsiteX0" fmla="*/ 0 w 1265872"/>
              <a:gd name="connsiteY0" fmla="*/ 231846 h 231890"/>
              <a:gd name="connsiteX1" fmla="*/ 1024598 w 1265872"/>
              <a:gd name="connsiteY1" fmla="*/ 215725 h 231890"/>
              <a:gd name="connsiteX0" fmla="*/ 0 w 1089071"/>
              <a:gd name="connsiteY0" fmla="*/ 43894 h 44136"/>
              <a:gd name="connsiteX1" fmla="*/ 1024598 w 1089071"/>
              <a:gd name="connsiteY1" fmla="*/ 27773 h 44136"/>
              <a:gd name="connsiteX0" fmla="*/ 0 w 1024597"/>
              <a:gd name="connsiteY0" fmla="*/ 52170 h 52170"/>
              <a:gd name="connsiteX1" fmla="*/ 1024598 w 1024597"/>
              <a:gd name="connsiteY1" fmla="*/ 36049 h 52170"/>
              <a:gd name="connsiteX0" fmla="*/ 0 w 1024599"/>
              <a:gd name="connsiteY0" fmla="*/ 202860 h 202860"/>
              <a:gd name="connsiteX1" fmla="*/ 1024599 w 1024599"/>
              <a:gd name="connsiteY1" fmla="*/ 14374 h 202860"/>
              <a:gd name="connsiteX0" fmla="*/ 0 w 1024599"/>
              <a:gd name="connsiteY0" fmla="*/ 188486 h 188486"/>
              <a:gd name="connsiteX1" fmla="*/ 1024599 w 1024599"/>
              <a:gd name="connsiteY1" fmla="*/ 0 h 188486"/>
              <a:gd name="connsiteX0" fmla="*/ 0 w 1024599"/>
              <a:gd name="connsiteY0" fmla="*/ 188486 h 188486"/>
              <a:gd name="connsiteX1" fmla="*/ 1024599 w 1024599"/>
              <a:gd name="connsiteY1" fmla="*/ 0 h 188486"/>
              <a:gd name="connsiteX0" fmla="*/ 0 w 4327162"/>
              <a:gd name="connsiteY0" fmla="*/ 188486 h 188486"/>
              <a:gd name="connsiteX1" fmla="*/ 4327162 w 4327162"/>
              <a:gd name="connsiteY1" fmla="*/ 0 h 188486"/>
              <a:gd name="connsiteX0" fmla="*/ 0 w 4327162"/>
              <a:gd name="connsiteY0" fmla="*/ 496341 h 496341"/>
              <a:gd name="connsiteX1" fmla="*/ 4327162 w 4327162"/>
              <a:gd name="connsiteY1" fmla="*/ 307855 h 496341"/>
              <a:gd name="connsiteX0" fmla="*/ 0 w 4327162"/>
              <a:gd name="connsiteY0" fmla="*/ 874372 h 874372"/>
              <a:gd name="connsiteX1" fmla="*/ 4327162 w 4327162"/>
              <a:gd name="connsiteY1" fmla="*/ 685886 h 874372"/>
              <a:gd name="connsiteX0" fmla="*/ 0 w 4327162"/>
              <a:gd name="connsiteY0" fmla="*/ 932499 h 932499"/>
              <a:gd name="connsiteX1" fmla="*/ 4327162 w 4327162"/>
              <a:gd name="connsiteY1" fmla="*/ 744013 h 932499"/>
              <a:gd name="connsiteX0" fmla="*/ 0 w 4327162"/>
              <a:gd name="connsiteY0" fmla="*/ 900717 h 900717"/>
              <a:gd name="connsiteX1" fmla="*/ 4327162 w 4327162"/>
              <a:gd name="connsiteY1" fmla="*/ 712231 h 900717"/>
              <a:gd name="connsiteX0" fmla="*/ 0 w 4327162"/>
              <a:gd name="connsiteY0" fmla="*/ 900717 h 900717"/>
              <a:gd name="connsiteX1" fmla="*/ 4327162 w 4327162"/>
              <a:gd name="connsiteY1" fmla="*/ 712231 h 900717"/>
              <a:gd name="connsiteX0" fmla="*/ 0 w 4327162"/>
              <a:gd name="connsiteY0" fmla="*/ 918648 h 918648"/>
              <a:gd name="connsiteX1" fmla="*/ 4327162 w 4327162"/>
              <a:gd name="connsiteY1" fmla="*/ 730162 h 918648"/>
              <a:gd name="connsiteX0" fmla="*/ 0 w 5599916"/>
              <a:gd name="connsiteY0" fmla="*/ 643023 h 1216923"/>
              <a:gd name="connsiteX1" fmla="*/ 5599916 w 5599916"/>
              <a:gd name="connsiteY1" fmla="*/ 1216923 h 1216923"/>
              <a:gd name="connsiteX0" fmla="*/ 0 w 5599916"/>
              <a:gd name="connsiteY0" fmla="*/ 863522 h 1437422"/>
              <a:gd name="connsiteX1" fmla="*/ 5599916 w 5599916"/>
              <a:gd name="connsiteY1" fmla="*/ 1437422 h 1437422"/>
              <a:gd name="connsiteX0" fmla="*/ 0 w 5599916"/>
              <a:gd name="connsiteY0" fmla="*/ 984252 h 1558152"/>
              <a:gd name="connsiteX1" fmla="*/ 5599916 w 5599916"/>
              <a:gd name="connsiteY1" fmla="*/ 1558152 h 1558152"/>
              <a:gd name="connsiteX0" fmla="*/ 0 w 5599916"/>
              <a:gd name="connsiteY0" fmla="*/ 1001224 h 1575124"/>
              <a:gd name="connsiteX1" fmla="*/ 5599916 w 5599916"/>
              <a:gd name="connsiteY1" fmla="*/ 1575124 h 1575124"/>
              <a:gd name="connsiteX0" fmla="*/ 0 w 778662"/>
              <a:gd name="connsiteY0" fmla="*/ 1354876 h 1354876"/>
              <a:gd name="connsiteX1" fmla="*/ 234769 w 778662"/>
              <a:gd name="connsiteY1" fmla="*/ 1149153 h 1354876"/>
              <a:gd name="connsiteX0" fmla="*/ 0 w 935096"/>
              <a:gd name="connsiteY0" fmla="*/ 808798 h 808798"/>
              <a:gd name="connsiteX1" fmla="*/ 234769 w 935096"/>
              <a:gd name="connsiteY1" fmla="*/ 603075 h 808798"/>
              <a:gd name="connsiteX0" fmla="*/ 0 w 907643"/>
              <a:gd name="connsiteY0" fmla="*/ 790190 h 790190"/>
              <a:gd name="connsiteX1" fmla="*/ 130338 w 907643"/>
              <a:gd name="connsiteY1" fmla="*/ 648110 h 790190"/>
              <a:gd name="connsiteX0" fmla="*/ 0 w 928079"/>
              <a:gd name="connsiteY0" fmla="*/ 797069 h 797069"/>
              <a:gd name="connsiteX1" fmla="*/ 208661 w 928079"/>
              <a:gd name="connsiteY1" fmla="*/ 631123 h 797069"/>
              <a:gd name="connsiteX0" fmla="*/ 0 w 208662"/>
              <a:gd name="connsiteY0" fmla="*/ 165946 h 165946"/>
              <a:gd name="connsiteX1" fmla="*/ 208661 w 208662"/>
              <a:gd name="connsiteY1" fmla="*/ 0 h 165946"/>
              <a:gd name="connsiteX0" fmla="*/ 0 w 241295"/>
              <a:gd name="connsiteY0" fmla="*/ 175890 h 175890"/>
              <a:gd name="connsiteX1" fmla="*/ 241296 w 241295"/>
              <a:gd name="connsiteY1" fmla="*/ 0 h 175890"/>
              <a:gd name="connsiteX0" fmla="*/ 6942 w 248238"/>
              <a:gd name="connsiteY0" fmla="*/ 175890 h 175890"/>
              <a:gd name="connsiteX1" fmla="*/ 248238 w 248238"/>
              <a:gd name="connsiteY1" fmla="*/ 0 h 175890"/>
              <a:gd name="connsiteX0" fmla="*/ 8926 w 225747"/>
              <a:gd name="connsiteY0" fmla="*/ 153516 h 153516"/>
              <a:gd name="connsiteX1" fmla="*/ 225747 w 225747"/>
              <a:gd name="connsiteY1" fmla="*/ 0 h 153516"/>
              <a:gd name="connsiteX0" fmla="*/ 7514 w 240653"/>
              <a:gd name="connsiteY0" fmla="*/ 170918 h 170918"/>
              <a:gd name="connsiteX1" fmla="*/ 240653 w 240653"/>
              <a:gd name="connsiteY1" fmla="*/ 0 h 170918"/>
              <a:gd name="connsiteX0" fmla="*/ 18240 w 251379"/>
              <a:gd name="connsiteY0" fmla="*/ 170918 h 170918"/>
              <a:gd name="connsiteX1" fmla="*/ 251379 w 251379"/>
              <a:gd name="connsiteY1" fmla="*/ 0 h 170918"/>
              <a:gd name="connsiteX0" fmla="*/ 18240 w 251379"/>
              <a:gd name="connsiteY0" fmla="*/ 158488 h 158488"/>
              <a:gd name="connsiteX1" fmla="*/ 251379 w 251379"/>
              <a:gd name="connsiteY1" fmla="*/ 0 h 158488"/>
              <a:gd name="connsiteX0" fmla="*/ 17341 w 258639"/>
              <a:gd name="connsiteY0" fmla="*/ 160974 h 160974"/>
              <a:gd name="connsiteX1" fmla="*/ 258640 w 258639"/>
              <a:gd name="connsiteY1" fmla="*/ 0 h 160974"/>
              <a:gd name="connsiteX0" fmla="*/ 14278 w 255578"/>
              <a:gd name="connsiteY0" fmla="*/ 163066 h 163066"/>
              <a:gd name="connsiteX1" fmla="*/ 255577 w 255578"/>
              <a:gd name="connsiteY1" fmla="*/ 2092 h 163066"/>
              <a:gd name="connsiteX0" fmla="*/ 14278 w 255576"/>
              <a:gd name="connsiteY0" fmla="*/ 165919 h 165919"/>
              <a:gd name="connsiteX1" fmla="*/ 255577 w 255576"/>
              <a:gd name="connsiteY1" fmla="*/ 4945 h 165919"/>
              <a:gd name="connsiteX0" fmla="*/ 15719 w 257018"/>
              <a:gd name="connsiteY0" fmla="*/ 166082 h 166082"/>
              <a:gd name="connsiteX1" fmla="*/ 257018 w 257018"/>
              <a:gd name="connsiteY1" fmla="*/ 5108 h 166082"/>
              <a:gd name="connsiteX0" fmla="*/ 16029 w 257328"/>
              <a:gd name="connsiteY0" fmla="*/ 164225 h 164225"/>
              <a:gd name="connsiteX1" fmla="*/ 257328 w 257328"/>
              <a:gd name="connsiteY1" fmla="*/ 3251 h 164225"/>
              <a:gd name="connsiteX0" fmla="*/ 15126 w 256425"/>
              <a:gd name="connsiteY0" fmla="*/ 164814 h 164814"/>
              <a:gd name="connsiteX1" fmla="*/ 256425 w 256425"/>
              <a:gd name="connsiteY1" fmla="*/ 3840 h 164814"/>
              <a:gd name="connsiteX0" fmla="*/ 41402 w 135844"/>
              <a:gd name="connsiteY0" fmla="*/ 32128 h 57606"/>
              <a:gd name="connsiteX1" fmla="*/ 135844 w 135844"/>
              <a:gd name="connsiteY1" fmla="*/ 57607 h 57606"/>
              <a:gd name="connsiteX0" fmla="*/ 288769 w 288769"/>
              <a:gd name="connsiteY0" fmla="*/ 16967 h 159290"/>
              <a:gd name="connsiteX1" fmla="*/ 44626 w 288769"/>
              <a:gd name="connsiteY1" fmla="*/ 159290 h 159290"/>
              <a:gd name="connsiteX0" fmla="*/ 244143 w 244143"/>
              <a:gd name="connsiteY0" fmla="*/ 15076 h 157526"/>
              <a:gd name="connsiteX1" fmla="*/ 0 w 244143"/>
              <a:gd name="connsiteY1" fmla="*/ 157399 h 157526"/>
              <a:gd name="connsiteX0" fmla="*/ 219666 w 219666"/>
              <a:gd name="connsiteY0" fmla="*/ 14805 h 162223"/>
              <a:gd name="connsiteX1" fmla="*/ 0 w 219666"/>
              <a:gd name="connsiteY1" fmla="*/ 162100 h 162223"/>
              <a:gd name="connsiteX0" fmla="*/ 219666 w 247319"/>
              <a:gd name="connsiteY0" fmla="*/ 0 h 147529"/>
              <a:gd name="connsiteX1" fmla="*/ 0 w 247319"/>
              <a:gd name="connsiteY1" fmla="*/ 147295 h 147529"/>
              <a:gd name="connsiteX0" fmla="*/ 227824 w 254399"/>
              <a:gd name="connsiteY0" fmla="*/ 0 h 152492"/>
              <a:gd name="connsiteX1" fmla="*/ 0 w 254399"/>
              <a:gd name="connsiteY1" fmla="*/ 152268 h 152492"/>
              <a:gd name="connsiteX0" fmla="*/ 227824 w 253476"/>
              <a:gd name="connsiteY0" fmla="*/ 0 h 154921"/>
              <a:gd name="connsiteX1" fmla="*/ 0 w 253476"/>
              <a:gd name="connsiteY1" fmla="*/ 152268 h 154921"/>
              <a:gd name="connsiteX0" fmla="*/ 227824 w 261726"/>
              <a:gd name="connsiteY0" fmla="*/ 0 h 155188"/>
              <a:gd name="connsiteX1" fmla="*/ 0 w 261726"/>
              <a:gd name="connsiteY1" fmla="*/ 152268 h 155188"/>
              <a:gd name="connsiteX0" fmla="*/ 0 w 1622463"/>
              <a:gd name="connsiteY0" fmla="*/ 81420 h 94627"/>
              <a:gd name="connsiteX1" fmla="*/ 1607873 w 1622463"/>
              <a:gd name="connsiteY1" fmla="*/ 0 h 94627"/>
              <a:gd name="connsiteX0" fmla="*/ 0 w 1607873"/>
              <a:gd name="connsiteY0" fmla="*/ 90497 h 99366"/>
              <a:gd name="connsiteX1" fmla="*/ 1607873 w 1607873"/>
              <a:gd name="connsiteY1" fmla="*/ 9077 h 99366"/>
              <a:gd name="connsiteX0" fmla="*/ 0 w 1591556"/>
              <a:gd name="connsiteY0" fmla="*/ 104820 h 113107"/>
              <a:gd name="connsiteX1" fmla="*/ 1591556 w 1591556"/>
              <a:gd name="connsiteY1" fmla="*/ 8483 h 113107"/>
              <a:gd name="connsiteX0" fmla="*/ 0 w 1591556"/>
              <a:gd name="connsiteY0" fmla="*/ 117229 h 124320"/>
              <a:gd name="connsiteX1" fmla="*/ 1591556 w 1591556"/>
              <a:gd name="connsiteY1" fmla="*/ 20892 h 124320"/>
              <a:gd name="connsiteX0" fmla="*/ 0 w 1591556"/>
              <a:gd name="connsiteY0" fmla="*/ 113613 h 140106"/>
              <a:gd name="connsiteX1" fmla="*/ 1591556 w 1591556"/>
              <a:gd name="connsiteY1" fmla="*/ 17276 h 140106"/>
              <a:gd name="connsiteX0" fmla="*/ 0 w 1591556"/>
              <a:gd name="connsiteY0" fmla="*/ 118345 h 144487"/>
              <a:gd name="connsiteX1" fmla="*/ 1591556 w 1591556"/>
              <a:gd name="connsiteY1" fmla="*/ 17036 h 144487"/>
              <a:gd name="connsiteX0" fmla="*/ 0 w 1591556"/>
              <a:gd name="connsiteY0" fmla="*/ 117486 h 150580"/>
              <a:gd name="connsiteX1" fmla="*/ 1591556 w 1591556"/>
              <a:gd name="connsiteY1" fmla="*/ 16177 h 150580"/>
              <a:gd name="connsiteX0" fmla="*/ 0 w 1069402"/>
              <a:gd name="connsiteY0" fmla="*/ 0 h 77685"/>
              <a:gd name="connsiteX1" fmla="*/ 1069402 w 1069402"/>
              <a:gd name="connsiteY1" fmla="*/ 77686 h 77685"/>
              <a:gd name="connsiteX0" fmla="*/ 0 w 1069402"/>
              <a:gd name="connsiteY0" fmla="*/ 0 h 77686"/>
              <a:gd name="connsiteX1" fmla="*/ 1069402 w 1069402"/>
              <a:gd name="connsiteY1" fmla="*/ 77686 h 77686"/>
              <a:gd name="connsiteX0" fmla="*/ 0 w 1069402"/>
              <a:gd name="connsiteY0" fmla="*/ 0 h 77686"/>
              <a:gd name="connsiteX1" fmla="*/ 1069402 w 1069402"/>
              <a:gd name="connsiteY1" fmla="*/ 77686 h 77686"/>
              <a:gd name="connsiteX0" fmla="*/ 0 w 1028610"/>
              <a:gd name="connsiteY0" fmla="*/ 0 h 102546"/>
              <a:gd name="connsiteX1" fmla="*/ 1028610 w 1028610"/>
              <a:gd name="connsiteY1" fmla="*/ 102546 h 102546"/>
              <a:gd name="connsiteX0" fmla="*/ 0 w 1028610"/>
              <a:gd name="connsiteY0" fmla="*/ 0 h 102546"/>
              <a:gd name="connsiteX1" fmla="*/ 1028610 w 1028610"/>
              <a:gd name="connsiteY1" fmla="*/ 102546 h 102546"/>
              <a:gd name="connsiteX0" fmla="*/ 0 w 1028610"/>
              <a:gd name="connsiteY0" fmla="*/ 0 h 102546"/>
              <a:gd name="connsiteX1" fmla="*/ 1028610 w 1028610"/>
              <a:gd name="connsiteY1" fmla="*/ 102546 h 102546"/>
              <a:gd name="connsiteX0" fmla="*/ 0 w 1004133"/>
              <a:gd name="connsiteY0" fmla="*/ 0 h 105032"/>
              <a:gd name="connsiteX1" fmla="*/ 1004133 w 1004133"/>
              <a:gd name="connsiteY1" fmla="*/ 105032 h 105032"/>
              <a:gd name="connsiteX0" fmla="*/ 0 w 1004133"/>
              <a:gd name="connsiteY0" fmla="*/ 0 h 105032"/>
              <a:gd name="connsiteX1" fmla="*/ 1004133 w 1004133"/>
              <a:gd name="connsiteY1" fmla="*/ 105032 h 105032"/>
              <a:gd name="connsiteX0" fmla="*/ 0 w 893991"/>
              <a:gd name="connsiteY0" fmla="*/ 0 h 433188"/>
              <a:gd name="connsiteX1" fmla="*/ 893991 w 893991"/>
              <a:gd name="connsiteY1" fmla="*/ 433188 h 433188"/>
              <a:gd name="connsiteX0" fmla="*/ 0 w 934785"/>
              <a:gd name="connsiteY0" fmla="*/ 0 h 433188"/>
              <a:gd name="connsiteX1" fmla="*/ 934785 w 934785"/>
              <a:gd name="connsiteY1" fmla="*/ 433188 h 433188"/>
              <a:gd name="connsiteX0" fmla="*/ 0 w 934785"/>
              <a:gd name="connsiteY0" fmla="*/ 0 h 433188"/>
              <a:gd name="connsiteX1" fmla="*/ 934785 w 934785"/>
              <a:gd name="connsiteY1" fmla="*/ 433188 h 433188"/>
              <a:gd name="connsiteX0" fmla="*/ 0 w 820564"/>
              <a:gd name="connsiteY0" fmla="*/ 0 h 482909"/>
              <a:gd name="connsiteX1" fmla="*/ 820564 w 820564"/>
              <a:gd name="connsiteY1" fmla="*/ 482909 h 482909"/>
              <a:gd name="connsiteX0" fmla="*/ 0 w 820564"/>
              <a:gd name="connsiteY0" fmla="*/ 0 h 482909"/>
              <a:gd name="connsiteX1" fmla="*/ 820564 w 820564"/>
              <a:gd name="connsiteY1" fmla="*/ 482909 h 482909"/>
              <a:gd name="connsiteX0" fmla="*/ 0 w 2493088"/>
              <a:gd name="connsiteY0" fmla="*/ 0 h 756373"/>
              <a:gd name="connsiteX1" fmla="*/ 2493088 w 2493088"/>
              <a:gd name="connsiteY1" fmla="*/ 756373 h 756373"/>
              <a:gd name="connsiteX0" fmla="*/ 0 w 2493088"/>
              <a:gd name="connsiteY0" fmla="*/ 0 h 756373"/>
              <a:gd name="connsiteX1" fmla="*/ 2493088 w 2493088"/>
              <a:gd name="connsiteY1" fmla="*/ 756373 h 756373"/>
              <a:gd name="connsiteX0" fmla="*/ 0 w 2482210"/>
              <a:gd name="connsiteY0" fmla="*/ 0 h 772947"/>
              <a:gd name="connsiteX1" fmla="*/ 2482210 w 2482210"/>
              <a:gd name="connsiteY1" fmla="*/ 772947 h 772947"/>
              <a:gd name="connsiteX0" fmla="*/ 0 w 2221133"/>
              <a:gd name="connsiteY0" fmla="*/ 0 h 1377550"/>
              <a:gd name="connsiteX1" fmla="*/ 2221133 w 2221133"/>
              <a:gd name="connsiteY1" fmla="*/ 1377550 h 1377550"/>
              <a:gd name="connsiteX0" fmla="*/ 0 w 2221133"/>
              <a:gd name="connsiteY0" fmla="*/ 0 h 1377550"/>
              <a:gd name="connsiteX1" fmla="*/ 2221133 w 2221133"/>
              <a:gd name="connsiteY1" fmla="*/ 1377550 h 1377550"/>
              <a:gd name="connsiteX0" fmla="*/ 0 w 2273348"/>
              <a:gd name="connsiteY0" fmla="*/ 0 h 1377550"/>
              <a:gd name="connsiteX1" fmla="*/ 2273348 w 2273348"/>
              <a:gd name="connsiteY1" fmla="*/ 1377550 h 1377550"/>
              <a:gd name="connsiteX0" fmla="*/ 0 w 2273348"/>
              <a:gd name="connsiteY0" fmla="*/ 0 h 1377550"/>
              <a:gd name="connsiteX1" fmla="*/ 2273348 w 2273348"/>
              <a:gd name="connsiteY1" fmla="*/ 1377550 h 1377550"/>
              <a:gd name="connsiteX0" fmla="*/ 0 w 2257031"/>
              <a:gd name="connsiteY0" fmla="*/ 0 h 1367606"/>
              <a:gd name="connsiteX1" fmla="*/ 2257031 w 2257031"/>
              <a:gd name="connsiteY1" fmla="*/ 1367606 h 1367606"/>
              <a:gd name="connsiteX0" fmla="*/ 0 w 2257031"/>
              <a:gd name="connsiteY0" fmla="*/ 0 h 1367606"/>
              <a:gd name="connsiteX1" fmla="*/ 2257031 w 2257031"/>
              <a:gd name="connsiteY1" fmla="*/ 1367606 h 1367606"/>
              <a:gd name="connsiteX0" fmla="*/ 0 w 2257031"/>
              <a:gd name="connsiteY0" fmla="*/ 0 h 1367606"/>
              <a:gd name="connsiteX1" fmla="*/ 2257031 w 2257031"/>
              <a:gd name="connsiteY1" fmla="*/ 1367606 h 1367606"/>
              <a:gd name="connsiteX0" fmla="*/ 0 w 2518108"/>
              <a:gd name="connsiteY0" fmla="*/ 0 h 1712336"/>
              <a:gd name="connsiteX1" fmla="*/ 2518108 w 2518108"/>
              <a:gd name="connsiteY1" fmla="*/ 1712336 h 1712336"/>
              <a:gd name="connsiteX0" fmla="*/ 0 w 2518108"/>
              <a:gd name="connsiteY0" fmla="*/ 0 h 1712336"/>
              <a:gd name="connsiteX1" fmla="*/ 2518108 w 2518108"/>
              <a:gd name="connsiteY1" fmla="*/ 1712336 h 1712336"/>
              <a:gd name="connsiteX0" fmla="*/ 0 w 2518108"/>
              <a:gd name="connsiteY0" fmla="*/ 0 h 1712336"/>
              <a:gd name="connsiteX1" fmla="*/ 2518108 w 2518108"/>
              <a:gd name="connsiteY1" fmla="*/ 1712336 h 1712336"/>
              <a:gd name="connsiteX0" fmla="*/ 0 w 2561621"/>
              <a:gd name="connsiteY0" fmla="*/ 0 h 1705707"/>
              <a:gd name="connsiteX1" fmla="*/ 2561621 w 2561621"/>
              <a:gd name="connsiteY1" fmla="*/ 1705707 h 1705707"/>
              <a:gd name="connsiteX0" fmla="*/ 0 w 3094653"/>
              <a:gd name="connsiteY0" fmla="*/ 0 h 1838295"/>
              <a:gd name="connsiteX1" fmla="*/ 3094653 w 3094653"/>
              <a:gd name="connsiteY1" fmla="*/ 1838295 h 1838295"/>
              <a:gd name="connsiteX0" fmla="*/ 0 w 3094653"/>
              <a:gd name="connsiteY0" fmla="*/ 0 h 1838295"/>
              <a:gd name="connsiteX1" fmla="*/ 3094653 w 3094653"/>
              <a:gd name="connsiteY1" fmla="*/ 1838295 h 1838295"/>
              <a:gd name="connsiteX0" fmla="*/ 0 w 3062018"/>
              <a:gd name="connsiteY0" fmla="*/ 0 h 1818407"/>
              <a:gd name="connsiteX1" fmla="*/ 3062018 w 3062018"/>
              <a:gd name="connsiteY1" fmla="*/ 1818407 h 1818407"/>
              <a:gd name="connsiteX0" fmla="*/ 0 w 3062018"/>
              <a:gd name="connsiteY0" fmla="*/ 0 h 1818407"/>
              <a:gd name="connsiteX1" fmla="*/ 3062018 w 3062018"/>
              <a:gd name="connsiteY1" fmla="*/ 1818407 h 1818407"/>
              <a:gd name="connsiteX0" fmla="*/ 0 w 3121356"/>
              <a:gd name="connsiteY0" fmla="*/ 0 h 1858986"/>
              <a:gd name="connsiteX1" fmla="*/ 3121356 w 3121356"/>
              <a:gd name="connsiteY1" fmla="*/ 1858986 h 1858986"/>
              <a:gd name="connsiteX0" fmla="*/ 0 w 3143961"/>
              <a:gd name="connsiteY0" fmla="*/ 0 h 1858986"/>
              <a:gd name="connsiteX1" fmla="*/ 3143961 w 3143961"/>
              <a:gd name="connsiteY1" fmla="*/ 1858986 h 1858986"/>
              <a:gd name="connsiteX0" fmla="*/ 0 w 3143961"/>
              <a:gd name="connsiteY0" fmla="*/ 0 h 1858986"/>
              <a:gd name="connsiteX1" fmla="*/ 3143961 w 3143961"/>
              <a:gd name="connsiteY1" fmla="*/ 1858986 h 1858986"/>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77828"/>
              <a:gd name="connsiteX1" fmla="*/ 2680568 w 2680568"/>
              <a:gd name="connsiteY1" fmla="*/ 1777828 h 1777828"/>
              <a:gd name="connsiteX0" fmla="*/ 0 w 1561644"/>
              <a:gd name="connsiteY0" fmla="*/ 0 h 1507302"/>
              <a:gd name="connsiteX1" fmla="*/ 1561644 w 1561644"/>
              <a:gd name="connsiteY1" fmla="*/ 1507302 h 1507302"/>
              <a:gd name="connsiteX0" fmla="*/ 0 w 1561644"/>
              <a:gd name="connsiteY0" fmla="*/ 0 h 1507302"/>
              <a:gd name="connsiteX1" fmla="*/ 1561644 w 1561644"/>
              <a:gd name="connsiteY1" fmla="*/ 1507302 h 1507302"/>
              <a:gd name="connsiteX0" fmla="*/ 0 w 1561644"/>
              <a:gd name="connsiteY0" fmla="*/ 0 h 1507302"/>
              <a:gd name="connsiteX1" fmla="*/ 1561644 w 1561644"/>
              <a:gd name="connsiteY1" fmla="*/ 1507302 h 1507302"/>
              <a:gd name="connsiteX0" fmla="*/ 0 w 1539039"/>
              <a:gd name="connsiteY0" fmla="*/ 0 h 1500539"/>
              <a:gd name="connsiteX1" fmla="*/ 1539039 w 1539039"/>
              <a:gd name="connsiteY1" fmla="*/ 1500539 h 1500539"/>
              <a:gd name="connsiteX0" fmla="*/ 0 w 1528011"/>
              <a:gd name="connsiteY0" fmla="*/ 0 h 1490461"/>
              <a:gd name="connsiteX1" fmla="*/ 1528011 w 1528011"/>
              <a:gd name="connsiteY1" fmla="*/ 1490461 h 1490461"/>
              <a:gd name="connsiteX0" fmla="*/ 0 w 1528011"/>
              <a:gd name="connsiteY0" fmla="*/ 0 h 1490461"/>
              <a:gd name="connsiteX1" fmla="*/ 1528011 w 1528011"/>
              <a:gd name="connsiteY1" fmla="*/ 1490461 h 1490461"/>
              <a:gd name="connsiteX0" fmla="*/ 3080799 w 3090213"/>
              <a:gd name="connsiteY0" fmla="*/ 0 h 2226950"/>
              <a:gd name="connsiteX1" fmla="*/ 78511 w 3090213"/>
              <a:gd name="connsiteY1" fmla="*/ 2226950 h 2226950"/>
              <a:gd name="connsiteX0" fmla="*/ 3321263 w 3321263"/>
              <a:gd name="connsiteY0" fmla="*/ 267285 h 2494235"/>
              <a:gd name="connsiteX1" fmla="*/ 318975 w 3321263"/>
              <a:gd name="connsiteY1" fmla="*/ 2494235 h 2494235"/>
              <a:gd name="connsiteX0" fmla="*/ 5023856 w 5023856"/>
              <a:gd name="connsiteY0" fmla="*/ 776106 h 776106"/>
              <a:gd name="connsiteX1" fmla="*/ 128627 w 5023856"/>
              <a:gd name="connsiteY1" fmla="*/ 351698 h 776106"/>
              <a:gd name="connsiteX0" fmla="*/ 4895228 w 4895228"/>
              <a:gd name="connsiteY0" fmla="*/ 761159 h 761159"/>
              <a:gd name="connsiteX1" fmla="*/ -1 w 4895228"/>
              <a:gd name="connsiteY1" fmla="*/ 336751 h 761159"/>
              <a:gd name="connsiteX0" fmla="*/ 5171732 w 5171732"/>
              <a:gd name="connsiteY0" fmla="*/ 754664 h 754664"/>
              <a:gd name="connsiteX1" fmla="*/ 0 w 5171732"/>
              <a:gd name="connsiteY1" fmla="*/ 343645 h 754664"/>
              <a:gd name="connsiteX0" fmla="*/ 5171732 w 5171732"/>
              <a:gd name="connsiteY0" fmla="*/ 835843 h 835843"/>
              <a:gd name="connsiteX1" fmla="*/ 0 w 5171732"/>
              <a:gd name="connsiteY1" fmla="*/ 424824 h 835843"/>
              <a:gd name="connsiteX0" fmla="*/ 5171732 w 5171732"/>
              <a:gd name="connsiteY0" fmla="*/ 709665 h 709665"/>
              <a:gd name="connsiteX1" fmla="*/ 0 w 5171732"/>
              <a:gd name="connsiteY1" fmla="*/ 298646 h 709665"/>
              <a:gd name="connsiteX0" fmla="*/ 5320608 w 5320608"/>
              <a:gd name="connsiteY0" fmla="*/ 692367 h 692367"/>
              <a:gd name="connsiteX1" fmla="*/ 0 w 5320608"/>
              <a:gd name="connsiteY1" fmla="*/ 308133 h 692367"/>
              <a:gd name="connsiteX0" fmla="*/ 5320608 w 5320608"/>
              <a:gd name="connsiteY0" fmla="*/ 703884 h 703884"/>
              <a:gd name="connsiteX1" fmla="*/ 0 w 5320608"/>
              <a:gd name="connsiteY1" fmla="*/ 319650 h 703884"/>
              <a:gd name="connsiteX0" fmla="*/ 2889934 w 2889938"/>
              <a:gd name="connsiteY0" fmla="*/ 251649 h 1263062"/>
              <a:gd name="connsiteX1" fmla="*/ 0 w 2889938"/>
              <a:gd name="connsiteY1" fmla="*/ 1263061 h 1263062"/>
              <a:gd name="connsiteX0" fmla="*/ 2889934 w 2889938"/>
              <a:gd name="connsiteY0" fmla="*/ 1 h 1011414"/>
              <a:gd name="connsiteX1" fmla="*/ 0 w 2889938"/>
              <a:gd name="connsiteY1" fmla="*/ 1011413 h 1011414"/>
              <a:gd name="connsiteX0" fmla="*/ 752739 w 752743"/>
              <a:gd name="connsiteY0" fmla="*/ 1 h 1935252"/>
              <a:gd name="connsiteX1" fmla="*/ 3 w 752743"/>
              <a:gd name="connsiteY1" fmla="*/ 1935252 h 1935252"/>
              <a:gd name="connsiteX0" fmla="*/ 1160558 w 1160562"/>
              <a:gd name="connsiteY0" fmla="*/ 1 h 1935252"/>
              <a:gd name="connsiteX1" fmla="*/ 407822 w 1160562"/>
              <a:gd name="connsiteY1" fmla="*/ 1935252 h 1935252"/>
              <a:gd name="connsiteX0" fmla="*/ 1205658 w 1205662"/>
              <a:gd name="connsiteY0" fmla="*/ 1 h 1862610"/>
              <a:gd name="connsiteX1" fmla="*/ 384793 w 1205662"/>
              <a:gd name="connsiteY1" fmla="*/ 1862612 h 1862610"/>
              <a:gd name="connsiteX0" fmla="*/ 1190716 w 1190720"/>
              <a:gd name="connsiteY0" fmla="*/ 1 h 1883273"/>
              <a:gd name="connsiteX1" fmla="*/ 392148 w 1190720"/>
              <a:gd name="connsiteY1" fmla="*/ 1883273 h 1883273"/>
              <a:gd name="connsiteX0" fmla="*/ 1189098 w 1189102"/>
              <a:gd name="connsiteY0" fmla="*/ 1 h 1883273"/>
              <a:gd name="connsiteX1" fmla="*/ 390530 w 1189102"/>
              <a:gd name="connsiteY1" fmla="*/ 1883273 h 1883273"/>
              <a:gd name="connsiteX0" fmla="*/ 1164575 w 1164575"/>
              <a:gd name="connsiteY0" fmla="*/ 0 h 1860619"/>
              <a:gd name="connsiteX1" fmla="*/ 403194 w 1164575"/>
              <a:gd name="connsiteY1" fmla="*/ 1860619 h 1860619"/>
              <a:gd name="connsiteX0" fmla="*/ 1164909 w 1164909"/>
              <a:gd name="connsiteY0" fmla="*/ 0 h 1860619"/>
              <a:gd name="connsiteX1" fmla="*/ 403528 w 1164909"/>
              <a:gd name="connsiteY1" fmla="*/ 1860619 h 1860619"/>
              <a:gd name="connsiteX0" fmla="*/ 1215490 w 1215490"/>
              <a:gd name="connsiteY0" fmla="*/ 0 h 1860619"/>
              <a:gd name="connsiteX1" fmla="*/ 454109 w 1215490"/>
              <a:gd name="connsiteY1" fmla="*/ 1860619 h 1860619"/>
              <a:gd name="connsiteX0" fmla="*/ 1157822 w 1157826"/>
              <a:gd name="connsiteY0" fmla="*/ 2 h 1943256"/>
              <a:gd name="connsiteX1" fmla="*/ 485627 w 1157826"/>
              <a:gd name="connsiteY1" fmla="*/ 1943256 h 1943256"/>
              <a:gd name="connsiteX0" fmla="*/ 1105906 w 1105910"/>
              <a:gd name="connsiteY0" fmla="*/ 2 h 1943256"/>
              <a:gd name="connsiteX1" fmla="*/ 433711 w 1105910"/>
              <a:gd name="connsiteY1" fmla="*/ 1943256 h 1943256"/>
              <a:gd name="connsiteX0" fmla="*/ 1206089 w 1206088"/>
              <a:gd name="connsiteY0" fmla="*/ -2 h 1848170"/>
              <a:gd name="connsiteX1" fmla="*/ 390188 w 1206088"/>
              <a:gd name="connsiteY1" fmla="*/ 1848170 h 1848170"/>
              <a:gd name="connsiteX0" fmla="*/ 1086473 w 1086472"/>
              <a:gd name="connsiteY0" fmla="*/ -2 h 1848170"/>
              <a:gd name="connsiteX1" fmla="*/ 270572 w 1086472"/>
              <a:gd name="connsiteY1" fmla="*/ 1848170 h 1848170"/>
              <a:gd name="connsiteX0" fmla="*/ 8038878 w 8038877"/>
              <a:gd name="connsiteY0" fmla="*/ -2 h 3615278"/>
              <a:gd name="connsiteX1" fmla="*/ 49728 w 8038877"/>
              <a:gd name="connsiteY1" fmla="*/ 3615276 h 3615278"/>
              <a:gd name="connsiteX0" fmla="*/ 7989148 w 7989147"/>
              <a:gd name="connsiteY0" fmla="*/ -2 h 3615278"/>
              <a:gd name="connsiteX1" fmla="*/ -2 w 7989147"/>
              <a:gd name="connsiteY1" fmla="*/ 3615276 h 3615278"/>
              <a:gd name="connsiteX0" fmla="*/ 7852029 w 7852028"/>
              <a:gd name="connsiteY0" fmla="*/ -2 h 3653503"/>
              <a:gd name="connsiteX1" fmla="*/ 0 w 7852028"/>
              <a:gd name="connsiteY1" fmla="*/ 3653504 h 3653503"/>
              <a:gd name="connsiteX0" fmla="*/ 7852029 w 7852028"/>
              <a:gd name="connsiteY0" fmla="*/ -2 h 3653503"/>
              <a:gd name="connsiteX1" fmla="*/ 0 w 7852028"/>
              <a:gd name="connsiteY1" fmla="*/ 3653504 h 3653503"/>
              <a:gd name="connsiteX0" fmla="*/ 8045309 w 8045309"/>
              <a:gd name="connsiteY0" fmla="*/ 0 h 3588622"/>
              <a:gd name="connsiteX1" fmla="*/ 0 w 8045309"/>
              <a:gd name="connsiteY1" fmla="*/ 3588623 h 3588622"/>
              <a:gd name="connsiteX0" fmla="*/ 8045309 w 8045309"/>
              <a:gd name="connsiteY0" fmla="*/ 0 h 3588622"/>
              <a:gd name="connsiteX1" fmla="*/ 0 w 8045309"/>
              <a:gd name="connsiteY1" fmla="*/ 3588623 h 3588622"/>
              <a:gd name="connsiteX0" fmla="*/ 8045309 w 8045309"/>
              <a:gd name="connsiteY0" fmla="*/ 0 h 3588622"/>
              <a:gd name="connsiteX1" fmla="*/ 0 w 8045309"/>
              <a:gd name="connsiteY1" fmla="*/ 3588623 h 3588622"/>
              <a:gd name="connsiteX0" fmla="*/ 8179140 w 8179141"/>
              <a:gd name="connsiteY0" fmla="*/ 0 h 3578833"/>
              <a:gd name="connsiteX1" fmla="*/ 0 w 8179141"/>
              <a:gd name="connsiteY1" fmla="*/ 3578834 h 3578833"/>
              <a:gd name="connsiteX0" fmla="*/ 8179140 w 8179141"/>
              <a:gd name="connsiteY0" fmla="*/ 0 h 3578833"/>
              <a:gd name="connsiteX1" fmla="*/ 0 w 8179141"/>
              <a:gd name="connsiteY1" fmla="*/ 3578834 h 3578833"/>
              <a:gd name="connsiteX0" fmla="*/ 8288176 w 8288179"/>
              <a:gd name="connsiteY0" fmla="*/ 0 h 3553940"/>
              <a:gd name="connsiteX1" fmla="*/ 0 w 8288179"/>
              <a:gd name="connsiteY1" fmla="*/ 3553941 h 3553940"/>
              <a:gd name="connsiteX0" fmla="*/ 8238107 w 8238103"/>
              <a:gd name="connsiteY0" fmla="*/ -1 h 3553134"/>
              <a:gd name="connsiteX1" fmla="*/ 0 w 8238103"/>
              <a:gd name="connsiteY1" fmla="*/ 3553135 h 3553134"/>
              <a:gd name="connsiteX0" fmla="*/ 8238107 w 8305339"/>
              <a:gd name="connsiteY0" fmla="*/ -1 h 3553134"/>
              <a:gd name="connsiteX1" fmla="*/ 0 w 8305339"/>
              <a:gd name="connsiteY1" fmla="*/ 3553135 h 3553134"/>
              <a:gd name="connsiteX0" fmla="*/ 12251389 w 12288614"/>
              <a:gd name="connsiteY0" fmla="*/ -1 h 4841777"/>
              <a:gd name="connsiteX1" fmla="*/ 2 w 12288614"/>
              <a:gd name="connsiteY1" fmla="*/ 4841777 h 4841777"/>
              <a:gd name="connsiteX0" fmla="*/ 12251389 w 12300718"/>
              <a:gd name="connsiteY0" fmla="*/ -1 h 4841777"/>
              <a:gd name="connsiteX1" fmla="*/ 2 w 12300718"/>
              <a:gd name="connsiteY1" fmla="*/ 4841777 h 4841777"/>
              <a:gd name="connsiteX0" fmla="*/ 12107399 w 12157791"/>
              <a:gd name="connsiteY0" fmla="*/ -2 h 4813412"/>
              <a:gd name="connsiteX1" fmla="*/ 2 w 12157791"/>
              <a:gd name="connsiteY1" fmla="*/ 4813412 h 4813412"/>
              <a:gd name="connsiteX0" fmla="*/ 12107399 w 12115490"/>
              <a:gd name="connsiteY0" fmla="*/ -2 h 4813412"/>
              <a:gd name="connsiteX1" fmla="*/ 2 w 12115490"/>
              <a:gd name="connsiteY1" fmla="*/ 4813412 h 4813412"/>
              <a:gd name="connsiteX0" fmla="*/ 12107399 w 12107392"/>
              <a:gd name="connsiteY0" fmla="*/ -2 h 9321579"/>
              <a:gd name="connsiteX1" fmla="*/ 2 w 12107392"/>
              <a:gd name="connsiteY1" fmla="*/ 4813412 h 9321579"/>
              <a:gd name="connsiteX0" fmla="*/ 12107399 w 12107392"/>
              <a:gd name="connsiteY0" fmla="*/ -2 h 14043873"/>
              <a:gd name="connsiteX1" fmla="*/ 2 w 12107392"/>
              <a:gd name="connsiteY1" fmla="*/ 4813412 h 14043873"/>
              <a:gd name="connsiteX0" fmla="*/ 15668089 w 15668107"/>
              <a:gd name="connsiteY0" fmla="*/ 11076433 h 19061140"/>
              <a:gd name="connsiteX1" fmla="*/ 2 w 15668107"/>
              <a:gd name="connsiteY1" fmla="*/ 7 h 19061140"/>
              <a:gd name="connsiteX0" fmla="*/ 15668089 w 16723234"/>
              <a:gd name="connsiteY0" fmla="*/ 11076433 h 11076437"/>
              <a:gd name="connsiteX1" fmla="*/ 2 w 16723234"/>
              <a:gd name="connsiteY1" fmla="*/ 7 h 11076437"/>
              <a:gd name="connsiteX0" fmla="*/ 12428599 w 13690125"/>
              <a:gd name="connsiteY0" fmla="*/ 16649274 h 16649280"/>
              <a:gd name="connsiteX1" fmla="*/ 2 w 13690125"/>
              <a:gd name="connsiteY1" fmla="*/ 7 h 16649280"/>
              <a:gd name="connsiteX0" fmla="*/ 12428599 w 13595310"/>
              <a:gd name="connsiteY0" fmla="*/ 16649274 h 16649280"/>
              <a:gd name="connsiteX1" fmla="*/ 2 w 13595310"/>
              <a:gd name="connsiteY1" fmla="*/ 7 h 16649280"/>
              <a:gd name="connsiteX0" fmla="*/ 12428599 w 12982795"/>
              <a:gd name="connsiteY0" fmla="*/ 16649274 h 16649280"/>
              <a:gd name="connsiteX1" fmla="*/ 2 w 12982795"/>
              <a:gd name="connsiteY1" fmla="*/ 7 h 16649280"/>
            </a:gdLst>
            <a:ahLst/>
            <a:cxnLst>
              <a:cxn ang="0">
                <a:pos x="connsiteX0" y="connsiteY0"/>
              </a:cxn>
              <a:cxn ang="0">
                <a:pos x="connsiteX1" y="connsiteY1"/>
              </a:cxn>
            </a:cxnLst>
            <a:rect l="l" t="t" r="r" b="b"/>
            <a:pathLst>
              <a:path w="12982795" h="16649280">
                <a:moveTo>
                  <a:pt x="12428599" y="16649274"/>
                </a:moveTo>
                <a:cubicBezTo>
                  <a:pt x="15656564" y="9829477"/>
                  <a:pt x="3897589" y="2492237"/>
                  <a:pt x="2" y="7"/>
                </a:cubicBezTo>
              </a:path>
            </a:pathLst>
          </a:custGeom>
          <a:noFill/>
          <a:ln w="15875" cap="flat" cmpd="sng" algn="ctr">
            <a:solidFill>
              <a:srgbClr val="B8690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96" name="Freeform 238"/>
          <p:cNvSpPr/>
          <p:nvPr/>
        </p:nvSpPr>
        <p:spPr bwMode="auto">
          <a:xfrm rot="21298758" flipV="1">
            <a:off x="3191246" y="2377091"/>
            <a:ext cx="176061" cy="253976"/>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9853"/>
              <a:gd name="connsiteY0" fmla="*/ 0 h 1710816"/>
              <a:gd name="connsiteX1" fmla="*/ 3043291 w 3049853"/>
              <a:gd name="connsiteY1" fmla="*/ 1710816 h 1710816"/>
              <a:gd name="connsiteX0" fmla="*/ 0 w 3012897"/>
              <a:gd name="connsiteY0" fmla="*/ 0 h 1700872"/>
              <a:gd name="connsiteX1" fmla="*/ 3006136 w 3012897"/>
              <a:gd name="connsiteY1" fmla="*/ 1700872 h 1700872"/>
              <a:gd name="connsiteX0" fmla="*/ 0 w 3012358"/>
              <a:gd name="connsiteY0" fmla="*/ 0 h 1700872"/>
              <a:gd name="connsiteX1" fmla="*/ 3006136 w 3012358"/>
              <a:gd name="connsiteY1" fmla="*/ 1700872 h 1700872"/>
              <a:gd name="connsiteX0" fmla="*/ 0 w 3009172"/>
              <a:gd name="connsiteY0" fmla="*/ 0 h 1700872"/>
              <a:gd name="connsiteX1" fmla="*/ 3006136 w 3009172"/>
              <a:gd name="connsiteY1" fmla="*/ 1700872 h 1700872"/>
              <a:gd name="connsiteX0" fmla="*/ 0 w 3011188"/>
              <a:gd name="connsiteY0" fmla="*/ 0 h 1700872"/>
              <a:gd name="connsiteX1" fmla="*/ 3006136 w 3011188"/>
              <a:gd name="connsiteY1" fmla="*/ 1700872 h 1700872"/>
              <a:gd name="connsiteX0" fmla="*/ 0 w 1265872"/>
              <a:gd name="connsiteY0" fmla="*/ 231846 h 231890"/>
              <a:gd name="connsiteX1" fmla="*/ 1024598 w 1265872"/>
              <a:gd name="connsiteY1" fmla="*/ 215725 h 231890"/>
              <a:gd name="connsiteX0" fmla="*/ 0 w 1089071"/>
              <a:gd name="connsiteY0" fmla="*/ 43894 h 44136"/>
              <a:gd name="connsiteX1" fmla="*/ 1024598 w 1089071"/>
              <a:gd name="connsiteY1" fmla="*/ 27773 h 44136"/>
              <a:gd name="connsiteX0" fmla="*/ 0 w 1024597"/>
              <a:gd name="connsiteY0" fmla="*/ 52170 h 52170"/>
              <a:gd name="connsiteX1" fmla="*/ 1024598 w 1024597"/>
              <a:gd name="connsiteY1" fmla="*/ 36049 h 52170"/>
              <a:gd name="connsiteX0" fmla="*/ 0 w 1024599"/>
              <a:gd name="connsiteY0" fmla="*/ 202860 h 202860"/>
              <a:gd name="connsiteX1" fmla="*/ 1024599 w 1024599"/>
              <a:gd name="connsiteY1" fmla="*/ 14374 h 202860"/>
              <a:gd name="connsiteX0" fmla="*/ 0 w 1024599"/>
              <a:gd name="connsiteY0" fmla="*/ 188486 h 188486"/>
              <a:gd name="connsiteX1" fmla="*/ 1024599 w 1024599"/>
              <a:gd name="connsiteY1" fmla="*/ 0 h 188486"/>
              <a:gd name="connsiteX0" fmla="*/ 0 w 1024599"/>
              <a:gd name="connsiteY0" fmla="*/ 188486 h 188486"/>
              <a:gd name="connsiteX1" fmla="*/ 1024599 w 1024599"/>
              <a:gd name="connsiteY1" fmla="*/ 0 h 188486"/>
              <a:gd name="connsiteX0" fmla="*/ 0 w 4327162"/>
              <a:gd name="connsiteY0" fmla="*/ 188486 h 188486"/>
              <a:gd name="connsiteX1" fmla="*/ 4327162 w 4327162"/>
              <a:gd name="connsiteY1" fmla="*/ 0 h 188486"/>
              <a:gd name="connsiteX0" fmla="*/ 0 w 4327162"/>
              <a:gd name="connsiteY0" fmla="*/ 496341 h 496341"/>
              <a:gd name="connsiteX1" fmla="*/ 4327162 w 4327162"/>
              <a:gd name="connsiteY1" fmla="*/ 307855 h 496341"/>
              <a:gd name="connsiteX0" fmla="*/ 0 w 4327162"/>
              <a:gd name="connsiteY0" fmla="*/ 874372 h 874372"/>
              <a:gd name="connsiteX1" fmla="*/ 4327162 w 4327162"/>
              <a:gd name="connsiteY1" fmla="*/ 685886 h 874372"/>
              <a:gd name="connsiteX0" fmla="*/ 0 w 4327162"/>
              <a:gd name="connsiteY0" fmla="*/ 932499 h 932499"/>
              <a:gd name="connsiteX1" fmla="*/ 4327162 w 4327162"/>
              <a:gd name="connsiteY1" fmla="*/ 744013 h 932499"/>
              <a:gd name="connsiteX0" fmla="*/ 0 w 4327162"/>
              <a:gd name="connsiteY0" fmla="*/ 900717 h 900717"/>
              <a:gd name="connsiteX1" fmla="*/ 4327162 w 4327162"/>
              <a:gd name="connsiteY1" fmla="*/ 712231 h 900717"/>
              <a:gd name="connsiteX0" fmla="*/ 0 w 4327162"/>
              <a:gd name="connsiteY0" fmla="*/ 900717 h 900717"/>
              <a:gd name="connsiteX1" fmla="*/ 4327162 w 4327162"/>
              <a:gd name="connsiteY1" fmla="*/ 712231 h 900717"/>
              <a:gd name="connsiteX0" fmla="*/ 0 w 4327162"/>
              <a:gd name="connsiteY0" fmla="*/ 918648 h 918648"/>
              <a:gd name="connsiteX1" fmla="*/ 4327162 w 4327162"/>
              <a:gd name="connsiteY1" fmla="*/ 730162 h 918648"/>
              <a:gd name="connsiteX0" fmla="*/ 0 w 5599916"/>
              <a:gd name="connsiteY0" fmla="*/ 643023 h 1216923"/>
              <a:gd name="connsiteX1" fmla="*/ 5599916 w 5599916"/>
              <a:gd name="connsiteY1" fmla="*/ 1216923 h 1216923"/>
              <a:gd name="connsiteX0" fmla="*/ 0 w 5599916"/>
              <a:gd name="connsiteY0" fmla="*/ 863522 h 1437422"/>
              <a:gd name="connsiteX1" fmla="*/ 5599916 w 5599916"/>
              <a:gd name="connsiteY1" fmla="*/ 1437422 h 1437422"/>
              <a:gd name="connsiteX0" fmla="*/ 0 w 5599916"/>
              <a:gd name="connsiteY0" fmla="*/ 984252 h 1558152"/>
              <a:gd name="connsiteX1" fmla="*/ 5599916 w 5599916"/>
              <a:gd name="connsiteY1" fmla="*/ 1558152 h 1558152"/>
              <a:gd name="connsiteX0" fmla="*/ 0 w 5599916"/>
              <a:gd name="connsiteY0" fmla="*/ 1001224 h 1575124"/>
              <a:gd name="connsiteX1" fmla="*/ 5599916 w 5599916"/>
              <a:gd name="connsiteY1" fmla="*/ 1575124 h 1575124"/>
              <a:gd name="connsiteX0" fmla="*/ 0 w 778662"/>
              <a:gd name="connsiteY0" fmla="*/ 1354876 h 1354876"/>
              <a:gd name="connsiteX1" fmla="*/ 234769 w 778662"/>
              <a:gd name="connsiteY1" fmla="*/ 1149153 h 1354876"/>
              <a:gd name="connsiteX0" fmla="*/ 0 w 935096"/>
              <a:gd name="connsiteY0" fmla="*/ 808798 h 808798"/>
              <a:gd name="connsiteX1" fmla="*/ 234769 w 935096"/>
              <a:gd name="connsiteY1" fmla="*/ 603075 h 808798"/>
              <a:gd name="connsiteX0" fmla="*/ 0 w 907643"/>
              <a:gd name="connsiteY0" fmla="*/ 790190 h 790190"/>
              <a:gd name="connsiteX1" fmla="*/ 130338 w 907643"/>
              <a:gd name="connsiteY1" fmla="*/ 648110 h 790190"/>
              <a:gd name="connsiteX0" fmla="*/ 0 w 928079"/>
              <a:gd name="connsiteY0" fmla="*/ 797069 h 797069"/>
              <a:gd name="connsiteX1" fmla="*/ 208661 w 928079"/>
              <a:gd name="connsiteY1" fmla="*/ 631123 h 797069"/>
              <a:gd name="connsiteX0" fmla="*/ 0 w 208662"/>
              <a:gd name="connsiteY0" fmla="*/ 165946 h 165946"/>
              <a:gd name="connsiteX1" fmla="*/ 208661 w 208662"/>
              <a:gd name="connsiteY1" fmla="*/ 0 h 165946"/>
              <a:gd name="connsiteX0" fmla="*/ 0 w 241295"/>
              <a:gd name="connsiteY0" fmla="*/ 175890 h 175890"/>
              <a:gd name="connsiteX1" fmla="*/ 241296 w 241295"/>
              <a:gd name="connsiteY1" fmla="*/ 0 h 175890"/>
              <a:gd name="connsiteX0" fmla="*/ 6942 w 248238"/>
              <a:gd name="connsiteY0" fmla="*/ 175890 h 175890"/>
              <a:gd name="connsiteX1" fmla="*/ 248238 w 248238"/>
              <a:gd name="connsiteY1" fmla="*/ 0 h 175890"/>
              <a:gd name="connsiteX0" fmla="*/ 8926 w 225747"/>
              <a:gd name="connsiteY0" fmla="*/ 153516 h 153516"/>
              <a:gd name="connsiteX1" fmla="*/ 225747 w 225747"/>
              <a:gd name="connsiteY1" fmla="*/ 0 h 153516"/>
              <a:gd name="connsiteX0" fmla="*/ 7514 w 240653"/>
              <a:gd name="connsiteY0" fmla="*/ 170918 h 170918"/>
              <a:gd name="connsiteX1" fmla="*/ 240653 w 240653"/>
              <a:gd name="connsiteY1" fmla="*/ 0 h 170918"/>
              <a:gd name="connsiteX0" fmla="*/ 18240 w 251379"/>
              <a:gd name="connsiteY0" fmla="*/ 170918 h 170918"/>
              <a:gd name="connsiteX1" fmla="*/ 251379 w 251379"/>
              <a:gd name="connsiteY1" fmla="*/ 0 h 170918"/>
              <a:gd name="connsiteX0" fmla="*/ 18240 w 251379"/>
              <a:gd name="connsiteY0" fmla="*/ 158488 h 158488"/>
              <a:gd name="connsiteX1" fmla="*/ 251379 w 251379"/>
              <a:gd name="connsiteY1" fmla="*/ 0 h 158488"/>
              <a:gd name="connsiteX0" fmla="*/ 17341 w 258639"/>
              <a:gd name="connsiteY0" fmla="*/ 160974 h 160974"/>
              <a:gd name="connsiteX1" fmla="*/ 258640 w 258639"/>
              <a:gd name="connsiteY1" fmla="*/ 0 h 160974"/>
              <a:gd name="connsiteX0" fmla="*/ 14278 w 255578"/>
              <a:gd name="connsiteY0" fmla="*/ 163066 h 163066"/>
              <a:gd name="connsiteX1" fmla="*/ 255577 w 255578"/>
              <a:gd name="connsiteY1" fmla="*/ 2092 h 163066"/>
              <a:gd name="connsiteX0" fmla="*/ 14278 w 255576"/>
              <a:gd name="connsiteY0" fmla="*/ 165919 h 165919"/>
              <a:gd name="connsiteX1" fmla="*/ 255577 w 255576"/>
              <a:gd name="connsiteY1" fmla="*/ 4945 h 165919"/>
              <a:gd name="connsiteX0" fmla="*/ 15719 w 257018"/>
              <a:gd name="connsiteY0" fmla="*/ 166082 h 166082"/>
              <a:gd name="connsiteX1" fmla="*/ 257018 w 257018"/>
              <a:gd name="connsiteY1" fmla="*/ 5108 h 166082"/>
              <a:gd name="connsiteX0" fmla="*/ 16029 w 257328"/>
              <a:gd name="connsiteY0" fmla="*/ 164225 h 164225"/>
              <a:gd name="connsiteX1" fmla="*/ 257328 w 257328"/>
              <a:gd name="connsiteY1" fmla="*/ 3251 h 164225"/>
              <a:gd name="connsiteX0" fmla="*/ 15126 w 256425"/>
              <a:gd name="connsiteY0" fmla="*/ 164814 h 164814"/>
              <a:gd name="connsiteX1" fmla="*/ 256425 w 256425"/>
              <a:gd name="connsiteY1" fmla="*/ 3840 h 164814"/>
              <a:gd name="connsiteX0" fmla="*/ 41402 w 135844"/>
              <a:gd name="connsiteY0" fmla="*/ 32128 h 57606"/>
              <a:gd name="connsiteX1" fmla="*/ 135844 w 135844"/>
              <a:gd name="connsiteY1" fmla="*/ 57607 h 57606"/>
              <a:gd name="connsiteX0" fmla="*/ 288769 w 288769"/>
              <a:gd name="connsiteY0" fmla="*/ 16967 h 159290"/>
              <a:gd name="connsiteX1" fmla="*/ 44626 w 288769"/>
              <a:gd name="connsiteY1" fmla="*/ 159290 h 159290"/>
              <a:gd name="connsiteX0" fmla="*/ 244143 w 244143"/>
              <a:gd name="connsiteY0" fmla="*/ 15076 h 157526"/>
              <a:gd name="connsiteX1" fmla="*/ 0 w 244143"/>
              <a:gd name="connsiteY1" fmla="*/ 157399 h 157526"/>
              <a:gd name="connsiteX0" fmla="*/ 219666 w 219666"/>
              <a:gd name="connsiteY0" fmla="*/ 14805 h 162223"/>
              <a:gd name="connsiteX1" fmla="*/ 0 w 219666"/>
              <a:gd name="connsiteY1" fmla="*/ 162100 h 162223"/>
              <a:gd name="connsiteX0" fmla="*/ 219666 w 247319"/>
              <a:gd name="connsiteY0" fmla="*/ 0 h 147529"/>
              <a:gd name="connsiteX1" fmla="*/ 0 w 247319"/>
              <a:gd name="connsiteY1" fmla="*/ 147295 h 147529"/>
              <a:gd name="connsiteX0" fmla="*/ 227824 w 254399"/>
              <a:gd name="connsiteY0" fmla="*/ 0 h 152492"/>
              <a:gd name="connsiteX1" fmla="*/ 0 w 254399"/>
              <a:gd name="connsiteY1" fmla="*/ 152268 h 152492"/>
              <a:gd name="connsiteX0" fmla="*/ 227824 w 253476"/>
              <a:gd name="connsiteY0" fmla="*/ 0 h 154921"/>
              <a:gd name="connsiteX1" fmla="*/ 0 w 253476"/>
              <a:gd name="connsiteY1" fmla="*/ 152268 h 154921"/>
              <a:gd name="connsiteX0" fmla="*/ 227824 w 261726"/>
              <a:gd name="connsiteY0" fmla="*/ 0 h 155188"/>
              <a:gd name="connsiteX1" fmla="*/ 0 w 261726"/>
              <a:gd name="connsiteY1" fmla="*/ 152268 h 155188"/>
              <a:gd name="connsiteX0" fmla="*/ 0 w 1622463"/>
              <a:gd name="connsiteY0" fmla="*/ 81420 h 94627"/>
              <a:gd name="connsiteX1" fmla="*/ 1607873 w 1622463"/>
              <a:gd name="connsiteY1" fmla="*/ 0 h 94627"/>
              <a:gd name="connsiteX0" fmla="*/ 0 w 1607873"/>
              <a:gd name="connsiteY0" fmla="*/ 90497 h 99366"/>
              <a:gd name="connsiteX1" fmla="*/ 1607873 w 1607873"/>
              <a:gd name="connsiteY1" fmla="*/ 9077 h 99366"/>
              <a:gd name="connsiteX0" fmla="*/ 0 w 1591556"/>
              <a:gd name="connsiteY0" fmla="*/ 104820 h 113107"/>
              <a:gd name="connsiteX1" fmla="*/ 1591556 w 1591556"/>
              <a:gd name="connsiteY1" fmla="*/ 8483 h 113107"/>
              <a:gd name="connsiteX0" fmla="*/ 0 w 1591556"/>
              <a:gd name="connsiteY0" fmla="*/ 117229 h 124320"/>
              <a:gd name="connsiteX1" fmla="*/ 1591556 w 1591556"/>
              <a:gd name="connsiteY1" fmla="*/ 20892 h 124320"/>
              <a:gd name="connsiteX0" fmla="*/ 0 w 1591556"/>
              <a:gd name="connsiteY0" fmla="*/ 113613 h 140106"/>
              <a:gd name="connsiteX1" fmla="*/ 1591556 w 1591556"/>
              <a:gd name="connsiteY1" fmla="*/ 17276 h 140106"/>
              <a:gd name="connsiteX0" fmla="*/ 0 w 1591556"/>
              <a:gd name="connsiteY0" fmla="*/ 118345 h 144487"/>
              <a:gd name="connsiteX1" fmla="*/ 1591556 w 1591556"/>
              <a:gd name="connsiteY1" fmla="*/ 17036 h 144487"/>
              <a:gd name="connsiteX0" fmla="*/ 0 w 1591556"/>
              <a:gd name="connsiteY0" fmla="*/ 117486 h 150580"/>
              <a:gd name="connsiteX1" fmla="*/ 1591556 w 1591556"/>
              <a:gd name="connsiteY1" fmla="*/ 16177 h 150580"/>
              <a:gd name="connsiteX0" fmla="*/ 0 w 1069402"/>
              <a:gd name="connsiteY0" fmla="*/ 0 h 77685"/>
              <a:gd name="connsiteX1" fmla="*/ 1069402 w 1069402"/>
              <a:gd name="connsiteY1" fmla="*/ 77686 h 77685"/>
              <a:gd name="connsiteX0" fmla="*/ 0 w 1069402"/>
              <a:gd name="connsiteY0" fmla="*/ 0 h 77686"/>
              <a:gd name="connsiteX1" fmla="*/ 1069402 w 1069402"/>
              <a:gd name="connsiteY1" fmla="*/ 77686 h 77686"/>
              <a:gd name="connsiteX0" fmla="*/ 0 w 1069402"/>
              <a:gd name="connsiteY0" fmla="*/ 0 h 77686"/>
              <a:gd name="connsiteX1" fmla="*/ 1069402 w 1069402"/>
              <a:gd name="connsiteY1" fmla="*/ 77686 h 77686"/>
              <a:gd name="connsiteX0" fmla="*/ 0 w 1028610"/>
              <a:gd name="connsiteY0" fmla="*/ 0 h 102546"/>
              <a:gd name="connsiteX1" fmla="*/ 1028610 w 1028610"/>
              <a:gd name="connsiteY1" fmla="*/ 102546 h 102546"/>
              <a:gd name="connsiteX0" fmla="*/ 0 w 1028610"/>
              <a:gd name="connsiteY0" fmla="*/ 0 h 102546"/>
              <a:gd name="connsiteX1" fmla="*/ 1028610 w 1028610"/>
              <a:gd name="connsiteY1" fmla="*/ 102546 h 102546"/>
              <a:gd name="connsiteX0" fmla="*/ 0 w 1028610"/>
              <a:gd name="connsiteY0" fmla="*/ 0 h 102546"/>
              <a:gd name="connsiteX1" fmla="*/ 1028610 w 1028610"/>
              <a:gd name="connsiteY1" fmla="*/ 102546 h 102546"/>
              <a:gd name="connsiteX0" fmla="*/ 0 w 1004133"/>
              <a:gd name="connsiteY0" fmla="*/ 0 h 105032"/>
              <a:gd name="connsiteX1" fmla="*/ 1004133 w 1004133"/>
              <a:gd name="connsiteY1" fmla="*/ 105032 h 105032"/>
              <a:gd name="connsiteX0" fmla="*/ 0 w 1004133"/>
              <a:gd name="connsiteY0" fmla="*/ 0 h 105032"/>
              <a:gd name="connsiteX1" fmla="*/ 1004133 w 1004133"/>
              <a:gd name="connsiteY1" fmla="*/ 105032 h 105032"/>
              <a:gd name="connsiteX0" fmla="*/ 0 w 893991"/>
              <a:gd name="connsiteY0" fmla="*/ 0 h 433188"/>
              <a:gd name="connsiteX1" fmla="*/ 893991 w 893991"/>
              <a:gd name="connsiteY1" fmla="*/ 433188 h 433188"/>
              <a:gd name="connsiteX0" fmla="*/ 0 w 934785"/>
              <a:gd name="connsiteY0" fmla="*/ 0 h 433188"/>
              <a:gd name="connsiteX1" fmla="*/ 934785 w 934785"/>
              <a:gd name="connsiteY1" fmla="*/ 433188 h 433188"/>
              <a:gd name="connsiteX0" fmla="*/ 0 w 934785"/>
              <a:gd name="connsiteY0" fmla="*/ 0 h 433188"/>
              <a:gd name="connsiteX1" fmla="*/ 934785 w 934785"/>
              <a:gd name="connsiteY1" fmla="*/ 433188 h 433188"/>
              <a:gd name="connsiteX0" fmla="*/ 0 w 820564"/>
              <a:gd name="connsiteY0" fmla="*/ 0 h 482909"/>
              <a:gd name="connsiteX1" fmla="*/ 820564 w 820564"/>
              <a:gd name="connsiteY1" fmla="*/ 482909 h 482909"/>
              <a:gd name="connsiteX0" fmla="*/ 0 w 820564"/>
              <a:gd name="connsiteY0" fmla="*/ 0 h 482909"/>
              <a:gd name="connsiteX1" fmla="*/ 820564 w 820564"/>
              <a:gd name="connsiteY1" fmla="*/ 482909 h 482909"/>
              <a:gd name="connsiteX0" fmla="*/ 0 w 2493088"/>
              <a:gd name="connsiteY0" fmla="*/ 0 h 756373"/>
              <a:gd name="connsiteX1" fmla="*/ 2493088 w 2493088"/>
              <a:gd name="connsiteY1" fmla="*/ 756373 h 756373"/>
              <a:gd name="connsiteX0" fmla="*/ 0 w 2493088"/>
              <a:gd name="connsiteY0" fmla="*/ 0 h 756373"/>
              <a:gd name="connsiteX1" fmla="*/ 2493088 w 2493088"/>
              <a:gd name="connsiteY1" fmla="*/ 756373 h 756373"/>
              <a:gd name="connsiteX0" fmla="*/ 0 w 2482210"/>
              <a:gd name="connsiteY0" fmla="*/ 0 h 772947"/>
              <a:gd name="connsiteX1" fmla="*/ 2482210 w 2482210"/>
              <a:gd name="connsiteY1" fmla="*/ 772947 h 772947"/>
              <a:gd name="connsiteX0" fmla="*/ 0 w 2221133"/>
              <a:gd name="connsiteY0" fmla="*/ 0 h 1377550"/>
              <a:gd name="connsiteX1" fmla="*/ 2221133 w 2221133"/>
              <a:gd name="connsiteY1" fmla="*/ 1377550 h 1377550"/>
              <a:gd name="connsiteX0" fmla="*/ 0 w 2221133"/>
              <a:gd name="connsiteY0" fmla="*/ 0 h 1377550"/>
              <a:gd name="connsiteX1" fmla="*/ 2221133 w 2221133"/>
              <a:gd name="connsiteY1" fmla="*/ 1377550 h 1377550"/>
              <a:gd name="connsiteX0" fmla="*/ 0 w 2273348"/>
              <a:gd name="connsiteY0" fmla="*/ 0 h 1377550"/>
              <a:gd name="connsiteX1" fmla="*/ 2273348 w 2273348"/>
              <a:gd name="connsiteY1" fmla="*/ 1377550 h 1377550"/>
              <a:gd name="connsiteX0" fmla="*/ 0 w 2273348"/>
              <a:gd name="connsiteY0" fmla="*/ 0 h 1377550"/>
              <a:gd name="connsiteX1" fmla="*/ 2273348 w 2273348"/>
              <a:gd name="connsiteY1" fmla="*/ 1377550 h 1377550"/>
              <a:gd name="connsiteX0" fmla="*/ 0 w 2257031"/>
              <a:gd name="connsiteY0" fmla="*/ 0 h 1367606"/>
              <a:gd name="connsiteX1" fmla="*/ 2257031 w 2257031"/>
              <a:gd name="connsiteY1" fmla="*/ 1367606 h 1367606"/>
              <a:gd name="connsiteX0" fmla="*/ 0 w 2257031"/>
              <a:gd name="connsiteY0" fmla="*/ 0 h 1367606"/>
              <a:gd name="connsiteX1" fmla="*/ 2257031 w 2257031"/>
              <a:gd name="connsiteY1" fmla="*/ 1367606 h 1367606"/>
              <a:gd name="connsiteX0" fmla="*/ 0 w 2257031"/>
              <a:gd name="connsiteY0" fmla="*/ 0 h 1367606"/>
              <a:gd name="connsiteX1" fmla="*/ 2257031 w 2257031"/>
              <a:gd name="connsiteY1" fmla="*/ 1367606 h 1367606"/>
              <a:gd name="connsiteX0" fmla="*/ 0 w 2518108"/>
              <a:gd name="connsiteY0" fmla="*/ 0 h 1712336"/>
              <a:gd name="connsiteX1" fmla="*/ 2518108 w 2518108"/>
              <a:gd name="connsiteY1" fmla="*/ 1712336 h 1712336"/>
              <a:gd name="connsiteX0" fmla="*/ 0 w 2518108"/>
              <a:gd name="connsiteY0" fmla="*/ 0 h 1712336"/>
              <a:gd name="connsiteX1" fmla="*/ 2518108 w 2518108"/>
              <a:gd name="connsiteY1" fmla="*/ 1712336 h 1712336"/>
              <a:gd name="connsiteX0" fmla="*/ 0 w 2518108"/>
              <a:gd name="connsiteY0" fmla="*/ 0 h 1712336"/>
              <a:gd name="connsiteX1" fmla="*/ 2518108 w 2518108"/>
              <a:gd name="connsiteY1" fmla="*/ 1712336 h 1712336"/>
              <a:gd name="connsiteX0" fmla="*/ 0 w 2561621"/>
              <a:gd name="connsiteY0" fmla="*/ 0 h 1705707"/>
              <a:gd name="connsiteX1" fmla="*/ 2561621 w 2561621"/>
              <a:gd name="connsiteY1" fmla="*/ 1705707 h 1705707"/>
              <a:gd name="connsiteX0" fmla="*/ 0 w 3094653"/>
              <a:gd name="connsiteY0" fmla="*/ 0 h 1838295"/>
              <a:gd name="connsiteX1" fmla="*/ 3094653 w 3094653"/>
              <a:gd name="connsiteY1" fmla="*/ 1838295 h 1838295"/>
              <a:gd name="connsiteX0" fmla="*/ 0 w 3094653"/>
              <a:gd name="connsiteY0" fmla="*/ 0 h 1838295"/>
              <a:gd name="connsiteX1" fmla="*/ 3094653 w 3094653"/>
              <a:gd name="connsiteY1" fmla="*/ 1838295 h 1838295"/>
              <a:gd name="connsiteX0" fmla="*/ 0 w 3062018"/>
              <a:gd name="connsiteY0" fmla="*/ 0 h 1818407"/>
              <a:gd name="connsiteX1" fmla="*/ 3062018 w 3062018"/>
              <a:gd name="connsiteY1" fmla="*/ 1818407 h 1818407"/>
              <a:gd name="connsiteX0" fmla="*/ 0 w 3062018"/>
              <a:gd name="connsiteY0" fmla="*/ 0 h 1818407"/>
              <a:gd name="connsiteX1" fmla="*/ 3062018 w 3062018"/>
              <a:gd name="connsiteY1" fmla="*/ 1818407 h 1818407"/>
              <a:gd name="connsiteX0" fmla="*/ 0 w 3121356"/>
              <a:gd name="connsiteY0" fmla="*/ 0 h 1858986"/>
              <a:gd name="connsiteX1" fmla="*/ 3121356 w 3121356"/>
              <a:gd name="connsiteY1" fmla="*/ 1858986 h 1858986"/>
              <a:gd name="connsiteX0" fmla="*/ 0 w 3143961"/>
              <a:gd name="connsiteY0" fmla="*/ 0 h 1858986"/>
              <a:gd name="connsiteX1" fmla="*/ 3143961 w 3143961"/>
              <a:gd name="connsiteY1" fmla="*/ 1858986 h 1858986"/>
              <a:gd name="connsiteX0" fmla="*/ 0 w 3143961"/>
              <a:gd name="connsiteY0" fmla="*/ 0 h 1858986"/>
              <a:gd name="connsiteX1" fmla="*/ 3143961 w 3143961"/>
              <a:gd name="connsiteY1" fmla="*/ 1858986 h 1858986"/>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77828"/>
              <a:gd name="connsiteX1" fmla="*/ 2680568 w 2680568"/>
              <a:gd name="connsiteY1" fmla="*/ 1777828 h 1777828"/>
              <a:gd name="connsiteX0" fmla="*/ 0 w 1561644"/>
              <a:gd name="connsiteY0" fmla="*/ 0 h 1507302"/>
              <a:gd name="connsiteX1" fmla="*/ 1561644 w 1561644"/>
              <a:gd name="connsiteY1" fmla="*/ 1507302 h 1507302"/>
              <a:gd name="connsiteX0" fmla="*/ 0 w 1561644"/>
              <a:gd name="connsiteY0" fmla="*/ 0 h 1507302"/>
              <a:gd name="connsiteX1" fmla="*/ 1561644 w 1561644"/>
              <a:gd name="connsiteY1" fmla="*/ 1507302 h 1507302"/>
              <a:gd name="connsiteX0" fmla="*/ 0 w 1561644"/>
              <a:gd name="connsiteY0" fmla="*/ 0 h 1507302"/>
              <a:gd name="connsiteX1" fmla="*/ 1561644 w 1561644"/>
              <a:gd name="connsiteY1" fmla="*/ 1507302 h 1507302"/>
              <a:gd name="connsiteX0" fmla="*/ 0 w 1539039"/>
              <a:gd name="connsiteY0" fmla="*/ 0 h 1500539"/>
              <a:gd name="connsiteX1" fmla="*/ 1539039 w 1539039"/>
              <a:gd name="connsiteY1" fmla="*/ 1500539 h 1500539"/>
              <a:gd name="connsiteX0" fmla="*/ 0 w 1528011"/>
              <a:gd name="connsiteY0" fmla="*/ 0 h 1490461"/>
              <a:gd name="connsiteX1" fmla="*/ 1528011 w 1528011"/>
              <a:gd name="connsiteY1" fmla="*/ 1490461 h 1490461"/>
              <a:gd name="connsiteX0" fmla="*/ 0 w 1528011"/>
              <a:gd name="connsiteY0" fmla="*/ 0 h 1490461"/>
              <a:gd name="connsiteX1" fmla="*/ 1528011 w 1528011"/>
              <a:gd name="connsiteY1" fmla="*/ 1490461 h 1490461"/>
              <a:gd name="connsiteX0" fmla="*/ 3080799 w 3090213"/>
              <a:gd name="connsiteY0" fmla="*/ 0 h 2226950"/>
              <a:gd name="connsiteX1" fmla="*/ 78511 w 3090213"/>
              <a:gd name="connsiteY1" fmla="*/ 2226950 h 2226950"/>
              <a:gd name="connsiteX0" fmla="*/ 3321263 w 3321263"/>
              <a:gd name="connsiteY0" fmla="*/ 267285 h 2494235"/>
              <a:gd name="connsiteX1" fmla="*/ 318975 w 3321263"/>
              <a:gd name="connsiteY1" fmla="*/ 2494235 h 2494235"/>
              <a:gd name="connsiteX0" fmla="*/ 5023856 w 5023856"/>
              <a:gd name="connsiteY0" fmla="*/ 776106 h 776106"/>
              <a:gd name="connsiteX1" fmla="*/ 128627 w 5023856"/>
              <a:gd name="connsiteY1" fmla="*/ 351698 h 776106"/>
              <a:gd name="connsiteX0" fmla="*/ 4895228 w 4895228"/>
              <a:gd name="connsiteY0" fmla="*/ 761159 h 761159"/>
              <a:gd name="connsiteX1" fmla="*/ -1 w 4895228"/>
              <a:gd name="connsiteY1" fmla="*/ 336751 h 761159"/>
              <a:gd name="connsiteX0" fmla="*/ 5171732 w 5171732"/>
              <a:gd name="connsiteY0" fmla="*/ 754664 h 754664"/>
              <a:gd name="connsiteX1" fmla="*/ 0 w 5171732"/>
              <a:gd name="connsiteY1" fmla="*/ 343645 h 754664"/>
              <a:gd name="connsiteX0" fmla="*/ 5171732 w 5171732"/>
              <a:gd name="connsiteY0" fmla="*/ 835843 h 835843"/>
              <a:gd name="connsiteX1" fmla="*/ 0 w 5171732"/>
              <a:gd name="connsiteY1" fmla="*/ 424824 h 835843"/>
              <a:gd name="connsiteX0" fmla="*/ 5171732 w 5171732"/>
              <a:gd name="connsiteY0" fmla="*/ 709665 h 709665"/>
              <a:gd name="connsiteX1" fmla="*/ 0 w 5171732"/>
              <a:gd name="connsiteY1" fmla="*/ 298646 h 709665"/>
              <a:gd name="connsiteX0" fmla="*/ 5320608 w 5320608"/>
              <a:gd name="connsiteY0" fmla="*/ 692367 h 692367"/>
              <a:gd name="connsiteX1" fmla="*/ 0 w 5320608"/>
              <a:gd name="connsiteY1" fmla="*/ 308133 h 692367"/>
              <a:gd name="connsiteX0" fmla="*/ 5320608 w 5320608"/>
              <a:gd name="connsiteY0" fmla="*/ 703884 h 703884"/>
              <a:gd name="connsiteX1" fmla="*/ 0 w 5320608"/>
              <a:gd name="connsiteY1" fmla="*/ 319650 h 703884"/>
              <a:gd name="connsiteX0" fmla="*/ 2889934 w 2889938"/>
              <a:gd name="connsiteY0" fmla="*/ 251649 h 1263062"/>
              <a:gd name="connsiteX1" fmla="*/ 0 w 2889938"/>
              <a:gd name="connsiteY1" fmla="*/ 1263061 h 1263062"/>
              <a:gd name="connsiteX0" fmla="*/ 2889934 w 2889938"/>
              <a:gd name="connsiteY0" fmla="*/ 1 h 1011414"/>
              <a:gd name="connsiteX1" fmla="*/ 0 w 2889938"/>
              <a:gd name="connsiteY1" fmla="*/ 1011413 h 1011414"/>
              <a:gd name="connsiteX0" fmla="*/ 752739 w 752743"/>
              <a:gd name="connsiteY0" fmla="*/ 1 h 1935252"/>
              <a:gd name="connsiteX1" fmla="*/ 3 w 752743"/>
              <a:gd name="connsiteY1" fmla="*/ 1935252 h 1935252"/>
              <a:gd name="connsiteX0" fmla="*/ 1160558 w 1160562"/>
              <a:gd name="connsiteY0" fmla="*/ 1 h 1935252"/>
              <a:gd name="connsiteX1" fmla="*/ 407822 w 1160562"/>
              <a:gd name="connsiteY1" fmla="*/ 1935252 h 1935252"/>
              <a:gd name="connsiteX0" fmla="*/ 1205658 w 1205662"/>
              <a:gd name="connsiteY0" fmla="*/ 1 h 1862610"/>
              <a:gd name="connsiteX1" fmla="*/ 384793 w 1205662"/>
              <a:gd name="connsiteY1" fmla="*/ 1862612 h 1862610"/>
              <a:gd name="connsiteX0" fmla="*/ 1190716 w 1190720"/>
              <a:gd name="connsiteY0" fmla="*/ 1 h 1883273"/>
              <a:gd name="connsiteX1" fmla="*/ 392148 w 1190720"/>
              <a:gd name="connsiteY1" fmla="*/ 1883273 h 1883273"/>
              <a:gd name="connsiteX0" fmla="*/ 1189098 w 1189102"/>
              <a:gd name="connsiteY0" fmla="*/ 1 h 1883273"/>
              <a:gd name="connsiteX1" fmla="*/ 390530 w 1189102"/>
              <a:gd name="connsiteY1" fmla="*/ 1883273 h 1883273"/>
              <a:gd name="connsiteX0" fmla="*/ 1164575 w 1164575"/>
              <a:gd name="connsiteY0" fmla="*/ 0 h 1860619"/>
              <a:gd name="connsiteX1" fmla="*/ 403194 w 1164575"/>
              <a:gd name="connsiteY1" fmla="*/ 1860619 h 1860619"/>
              <a:gd name="connsiteX0" fmla="*/ 1164909 w 1164909"/>
              <a:gd name="connsiteY0" fmla="*/ 0 h 1860619"/>
              <a:gd name="connsiteX1" fmla="*/ 403528 w 1164909"/>
              <a:gd name="connsiteY1" fmla="*/ 1860619 h 1860619"/>
              <a:gd name="connsiteX0" fmla="*/ 1215490 w 1215490"/>
              <a:gd name="connsiteY0" fmla="*/ 0 h 1860619"/>
              <a:gd name="connsiteX1" fmla="*/ 454109 w 1215490"/>
              <a:gd name="connsiteY1" fmla="*/ 1860619 h 1860619"/>
              <a:gd name="connsiteX0" fmla="*/ 1157822 w 1157826"/>
              <a:gd name="connsiteY0" fmla="*/ 2 h 1943256"/>
              <a:gd name="connsiteX1" fmla="*/ 485627 w 1157826"/>
              <a:gd name="connsiteY1" fmla="*/ 1943256 h 1943256"/>
              <a:gd name="connsiteX0" fmla="*/ 1105906 w 1105910"/>
              <a:gd name="connsiteY0" fmla="*/ 2 h 1943256"/>
              <a:gd name="connsiteX1" fmla="*/ 433711 w 1105910"/>
              <a:gd name="connsiteY1" fmla="*/ 1943256 h 1943256"/>
              <a:gd name="connsiteX0" fmla="*/ 1206089 w 1206088"/>
              <a:gd name="connsiteY0" fmla="*/ -2 h 1848170"/>
              <a:gd name="connsiteX1" fmla="*/ 390188 w 1206088"/>
              <a:gd name="connsiteY1" fmla="*/ 1848170 h 1848170"/>
              <a:gd name="connsiteX0" fmla="*/ 1086473 w 1086472"/>
              <a:gd name="connsiteY0" fmla="*/ -2 h 1848170"/>
              <a:gd name="connsiteX1" fmla="*/ 270572 w 1086472"/>
              <a:gd name="connsiteY1" fmla="*/ 1848170 h 1848170"/>
              <a:gd name="connsiteX0" fmla="*/ 8038878 w 8038877"/>
              <a:gd name="connsiteY0" fmla="*/ -2 h 3615278"/>
              <a:gd name="connsiteX1" fmla="*/ 49728 w 8038877"/>
              <a:gd name="connsiteY1" fmla="*/ 3615276 h 3615278"/>
              <a:gd name="connsiteX0" fmla="*/ 7989148 w 7989147"/>
              <a:gd name="connsiteY0" fmla="*/ -2 h 3615278"/>
              <a:gd name="connsiteX1" fmla="*/ -2 w 7989147"/>
              <a:gd name="connsiteY1" fmla="*/ 3615276 h 3615278"/>
              <a:gd name="connsiteX0" fmla="*/ 7852029 w 7852028"/>
              <a:gd name="connsiteY0" fmla="*/ -2 h 3653503"/>
              <a:gd name="connsiteX1" fmla="*/ 0 w 7852028"/>
              <a:gd name="connsiteY1" fmla="*/ 3653504 h 3653503"/>
              <a:gd name="connsiteX0" fmla="*/ 7852029 w 7852028"/>
              <a:gd name="connsiteY0" fmla="*/ -2 h 3653503"/>
              <a:gd name="connsiteX1" fmla="*/ 0 w 7852028"/>
              <a:gd name="connsiteY1" fmla="*/ 3653504 h 3653503"/>
              <a:gd name="connsiteX0" fmla="*/ 8045309 w 8045309"/>
              <a:gd name="connsiteY0" fmla="*/ 0 h 3588622"/>
              <a:gd name="connsiteX1" fmla="*/ 0 w 8045309"/>
              <a:gd name="connsiteY1" fmla="*/ 3588623 h 3588622"/>
              <a:gd name="connsiteX0" fmla="*/ 8045309 w 8045309"/>
              <a:gd name="connsiteY0" fmla="*/ 0 h 3588622"/>
              <a:gd name="connsiteX1" fmla="*/ 0 w 8045309"/>
              <a:gd name="connsiteY1" fmla="*/ 3588623 h 3588622"/>
              <a:gd name="connsiteX0" fmla="*/ 8045309 w 8045309"/>
              <a:gd name="connsiteY0" fmla="*/ 0 h 3588622"/>
              <a:gd name="connsiteX1" fmla="*/ 0 w 8045309"/>
              <a:gd name="connsiteY1" fmla="*/ 3588623 h 3588622"/>
              <a:gd name="connsiteX0" fmla="*/ 8179140 w 8179141"/>
              <a:gd name="connsiteY0" fmla="*/ 0 h 3578833"/>
              <a:gd name="connsiteX1" fmla="*/ 0 w 8179141"/>
              <a:gd name="connsiteY1" fmla="*/ 3578834 h 3578833"/>
              <a:gd name="connsiteX0" fmla="*/ 8179140 w 8179141"/>
              <a:gd name="connsiteY0" fmla="*/ 0 h 3578833"/>
              <a:gd name="connsiteX1" fmla="*/ 0 w 8179141"/>
              <a:gd name="connsiteY1" fmla="*/ 3578834 h 3578833"/>
              <a:gd name="connsiteX0" fmla="*/ 8288176 w 8288179"/>
              <a:gd name="connsiteY0" fmla="*/ 0 h 3553940"/>
              <a:gd name="connsiteX1" fmla="*/ 0 w 8288179"/>
              <a:gd name="connsiteY1" fmla="*/ 3553941 h 3553940"/>
              <a:gd name="connsiteX0" fmla="*/ 8238107 w 8238103"/>
              <a:gd name="connsiteY0" fmla="*/ -1 h 3553134"/>
              <a:gd name="connsiteX1" fmla="*/ 0 w 8238103"/>
              <a:gd name="connsiteY1" fmla="*/ 3553135 h 3553134"/>
              <a:gd name="connsiteX0" fmla="*/ 8238107 w 8305339"/>
              <a:gd name="connsiteY0" fmla="*/ -1 h 3553134"/>
              <a:gd name="connsiteX1" fmla="*/ 0 w 8305339"/>
              <a:gd name="connsiteY1" fmla="*/ 3553135 h 3553134"/>
              <a:gd name="connsiteX0" fmla="*/ 12251389 w 12288614"/>
              <a:gd name="connsiteY0" fmla="*/ -1 h 4841777"/>
              <a:gd name="connsiteX1" fmla="*/ 2 w 12288614"/>
              <a:gd name="connsiteY1" fmla="*/ 4841777 h 4841777"/>
              <a:gd name="connsiteX0" fmla="*/ 12251389 w 12300718"/>
              <a:gd name="connsiteY0" fmla="*/ -1 h 4841777"/>
              <a:gd name="connsiteX1" fmla="*/ 2 w 12300718"/>
              <a:gd name="connsiteY1" fmla="*/ 4841777 h 4841777"/>
              <a:gd name="connsiteX0" fmla="*/ 12107399 w 12157791"/>
              <a:gd name="connsiteY0" fmla="*/ -2 h 4813412"/>
              <a:gd name="connsiteX1" fmla="*/ 2 w 12157791"/>
              <a:gd name="connsiteY1" fmla="*/ 4813412 h 4813412"/>
              <a:gd name="connsiteX0" fmla="*/ 12107399 w 12115490"/>
              <a:gd name="connsiteY0" fmla="*/ -2 h 4813412"/>
              <a:gd name="connsiteX1" fmla="*/ 2 w 12115490"/>
              <a:gd name="connsiteY1" fmla="*/ 4813412 h 4813412"/>
              <a:gd name="connsiteX0" fmla="*/ 12107399 w 12107392"/>
              <a:gd name="connsiteY0" fmla="*/ -2 h 9321579"/>
              <a:gd name="connsiteX1" fmla="*/ 2 w 12107392"/>
              <a:gd name="connsiteY1" fmla="*/ 4813412 h 9321579"/>
              <a:gd name="connsiteX0" fmla="*/ 12107399 w 12107392"/>
              <a:gd name="connsiteY0" fmla="*/ -2 h 14043873"/>
              <a:gd name="connsiteX1" fmla="*/ 2 w 12107392"/>
              <a:gd name="connsiteY1" fmla="*/ 4813412 h 14043873"/>
              <a:gd name="connsiteX0" fmla="*/ 15668089 w 15668107"/>
              <a:gd name="connsiteY0" fmla="*/ 11076433 h 19061140"/>
              <a:gd name="connsiteX1" fmla="*/ 2 w 15668107"/>
              <a:gd name="connsiteY1" fmla="*/ 7 h 19061140"/>
              <a:gd name="connsiteX0" fmla="*/ 15668089 w 16723234"/>
              <a:gd name="connsiteY0" fmla="*/ 11076433 h 11076437"/>
              <a:gd name="connsiteX1" fmla="*/ 2 w 16723234"/>
              <a:gd name="connsiteY1" fmla="*/ 7 h 11076437"/>
              <a:gd name="connsiteX0" fmla="*/ 12428599 w 13690125"/>
              <a:gd name="connsiteY0" fmla="*/ 16649274 h 16649280"/>
              <a:gd name="connsiteX1" fmla="*/ 2 w 13690125"/>
              <a:gd name="connsiteY1" fmla="*/ 7 h 16649280"/>
              <a:gd name="connsiteX0" fmla="*/ 12428599 w 13595310"/>
              <a:gd name="connsiteY0" fmla="*/ 16649274 h 16649280"/>
              <a:gd name="connsiteX1" fmla="*/ 2 w 13595310"/>
              <a:gd name="connsiteY1" fmla="*/ 7 h 16649280"/>
              <a:gd name="connsiteX0" fmla="*/ 12428599 w 12982795"/>
              <a:gd name="connsiteY0" fmla="*/ 16649274 h 16649280"/>
              <a:gd name="connsiteX1" fmla="*/ 2 w 12982795"/>
              <a:gd name="connsiteY1" fmla="*/ 7 h 16649280"/>
              <a:gd name="connsiteX0" fmla="*/ 12428599 w 12945066"/>
              <a:gd name="connsiteY0" fmla="*/ 16649274 h 16649280"/>
              <a:gd name="connsiteX1" fmla="*/ 2 w 12945066"/>
              <a:gd name="connsiteY1" fmla="*/ 7 h 16649280"/>
              <a:gd name="connsiteX0" fmla="*/ 12428599 w 12428563"/>
              <a:gd name="connsiteY0" fmla="*/ 16649274 h 16649280"/>
              <a:gd name="connsiteX1" fmla="*/ 2 w 12428563"/>
              <a:gd name="connsiteY1" fmla="*/ 7 h 16649280"/>
              <a:gd name="connsiteX0" fmla="*/ 6804662 w 6804697"/>
              <a:gd name="connsiteY0" fmla="*/ 18237857 h 18237863"/>
              <a:gd name="connsiteX1" fmla="*/ 6 w 6804697"/>
              <a:gd name="connsiteY1" fmla="*/ -20 h 18237863"/>
              <a:gd name="connsiteX0" fmla="*/ 10079972 w 10079979"/>
              <a:gd name="connsiteY0" fmla="*/ 17973875 h 17973875"/>
              <a:gd name="connsiteX1" fmla="*/ 6 w 10079979"/>
              <a:gd name="connsiteY1" fmla="*/ -20 h 17973875"/>
              <a:gd name="connsiteX0" fmla="*/ 10079972 w 10200471"/>
              <a:gd name="connsiteY0" fmla="*/ 17973875 h 17973875"/>
              <a:gd name="connsiteX1" fmla="*/ 6 w 10200471"/>
              <a:gd name="connsiteY1" fmla="*/ -20 h 17973875"/>
              <a:gd name="connsiteX0" fmla="*/ 12428556 w 12525042"/>
              <a:gd name="connsiteY0" fmla="*/ 16649280 h 16649280"/>
              <a:gd name="connsiteX1" fmla="*/ -11 w 12525042"/>
              <a:gd name="connsiteY1" fmla="*/ 14 h 16649280"/>
              <a:gd name="connsiteX0" fmla="*/ 12428556 w 12582358"/>
              <a:gd name="connsiteY0" fmla="*/ 16649280 h 16649280"/>
              <a:gd name="connsiteX1" fmla="*/ -11 w 12582358"/>
              <a:gd name="connsiteY1" fmla="*/ 14 h 16649280"/>
            </a:gdLst>
            <a:ahLst/>
            <a:cxnLst>
              <a:cxn ang="0">
                <a:pos x="connsiteX0" y="connsiteY0"/>
              </a:cxn>
              <a:cxn ang="0">
                <a:pos x="connsiteX1" y="connsiteY1"/>
              </a:cxn>
            </a:cxnLst>
            <a:rect l="l" t="t" r="r" b="b"/>
            <a:pathLst>
              <a:path w="12582358" h="16649280">
                <a:moveTo>
                  <a:pt x="12428556" y="16649280"/>
                </a:moveTo>
                <a:cubicBezTo>
                  <a:pt x="13656702" y="9152555"/>
                  <a:pt x="7347466" y="5367759"/>
                  <a:pt x="-11" y="14"/>
                </a:cubicBezTo>
              </a:path>
            </a:pathLst>
          </a:custGeom>
          <a:noFill/>
          <a:ln w="15875" cap="flat" cmpd="sng" algn="ctr">
            <a:solidFill>
              <a:srgbClr val="B8690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99" name="Freeform 103"/>
          <p:cNvSpPr/>
          <p:nvPr/>
        </p:nvSpPr>
        <p:spPr bwMode="auto">
          <a:xfrm rot="272527">
            <a:off x="2542152" y="3213274"/>
            <a:ext cx="638304" cy="624456"/>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2875322"/>
              <a:gd name="connsiteY0" fmla="*/ 0 h 1850561"/>
              <a:gd name="connsiteX1" fmla="*/ 2875322 w 2875322"/>
              <a:gd name="connsiteY1" fmla="*/ 1850561 h 1850561"/>
              <a:gd name="connsiteX0" fmla="*/ 0 w 2875322"/>
              <a:gd name="connsiteY0" fmla="*/ 0 h 1850561"/>
              <a:gd name="connsiteX1" fmla="*/ 2875322 w 2875322"/>
              <a:gd name="connsiteY1" fmla="*/ 1850561 h 1850561"/>
              <a:gd name="connsiteX0" fmla="*/ 0 w 2894703"/>
              <a:gd name="connsiteY0" fmla="*/ 0 h 1850561"/>
              <a:gd name="connsiteX1" fmla="*/ 2894703 w 2894703"/>
              <a:gd name="connsiteY1" fmla="*/ 1850561 h 1850561"/>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0239"/>
              <a:gd name="connsiteY0" fmla="*/ 0 h 2300301"/>
              <a:gd name="connsiteX1" fmla="*/ 3480239 w 3480239"/>
              <a:gd name="connsiteY1" fmla="*/ 2300301 h 2300301"/>
              <a:gd name="connsiteX0" fmla="*/ 0 w 3480239"/>
              <a:gd name="connsiteY0" fmla="*/ 0 h 2300301"/>
              <a:gd name="connsiteX1" fmla="*/ 3480239 w 348023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521439"/>
              <a:gd name="connsiteY0" fmla="*/ 0 h 2232170"/>
              <a:gd name="connsiteX1" fmla="*/ 3521439 w 3521439"/>
              <a:gd name="connsiteY1" fmla="*/ 2232170 h 2232170"/>
              <a:gd name="connsiteX0" fmla="*/ 0 w 3521439"/>
              <a:gd name="connsiteY0" fmla="*/ 0 h 2232170"/>
              <a:gd name="connsiteX1" fmla="*/ 3521439 w 3521439"/>
              <a:gd name="connsiteY1" fmla="*/ 2232170 h 2232170"/>
              <a:gd name="connsiteX0" fmla="*/ 0 w 3521439"/>
              <a:gd name="connsiteY0" fmla="*/ 0 h 2209460"/>
              <a:gd name="connsiteX1" fmla="*/ 3521439 w 3521439"/>
              <a:gd name="connsiteY1" fmla="*/ 2209460 h 2209460"/>
              <a:gd name="connsiteX0" fmla="*/ 0 w 3521439"/>
              <a:gd name="connsiteY0" fmla="*/ 0 h 2209460"/>
              <a:gd name="connsiteX1" fmla="*/ 3521439 w 3521439"/>
              <a:gd name="connsiteY1" fmla="*/ 2209460 h 2209460"/>
              <a:gd name="connsiteX0" fmla="*/ 0 w 3166484"/>
              <a:gd name="connsiteY0" fmla="*/ 0 h 1509983"/>
              <a:gd name="connsiteX1" fmla="*/ 3166484 w 3166484"/>
              <a:gd name="connsiteY1" fmla="*/ 1509983 h 1509983"/>
              <a:gd name="connsiteX0" fmla="*/ 0 w 2028493"/>
              <a:gd name="connsiteY0" fmla="*/ 0 h 405367"/>
              <a:gd name="connsiteX1" fmla="*/ 2028493 w 2028493"/>
              <a:gd name="connsiteY1" fmla="*/ 62202 h 405367"/>
              <a:gd name="connsiteX0" fmla="*/ 0 w 2028493"/>
              <a:gd name="connsiteY0" fmla="*/ 0 h 410101"/>
              <a:gd name="connsiteX1" fmla="*/ 2028493 w 2028493"/>
              <a:gd name="connsiteY1" fmla="*/ 62202 h 410101"/>
              <a:gd name="connsiteX0" fmla="*/ 0 w 2049034"/>
              <a:gd name="connsiteY0" fmla="*/ 0 h 413154"/>
              <a:gd name="connsiteX1" fmla="*/ 2049034 w 2049034"/>
              <a:gd name="connsiteY1" fmla="*/ 76396 h 413154"/>
              <a:gd name="connsiteX0" fmla="*/ 0 w 2049034"/>
              <a:gd name="connsiteY0" fmla="*/ 143813 h 220209"/>
              <a:gd name="connsiteX1" fmla="*/ 2049034 w 2049034"/>
              <a:gd name="connsiteY1" fmla="*/ 220209 h 220209"/>
              <a:gd name="connsiteX0" fmla="*/ 0 w 2049034"/>
              <a:gd name="connsiteY0" fmla="*/ 154753 h 231149"/>
              <a:gd name="connsiteX1" fmla="*/ 2049034 w 2049034"/>
              <a:gd name="connsiteY1" fmla="*/ 231149 h 231149"/>
              <a:gd name="connsiteX0" fmla="*/ 0 w 2057250"/>
              <a:gd name="connsiteY0" fmla="*/ 145732 h 242000"/>
              <a:gd name="connsiteX1" fmla="*/ 2057250 w 2057250"/>
              <a:gd name="connsiteY1" fmla="*/ 242000 h 242000"/>
              <a:gd name="connsiteX0" fmla="*/ 0 w 2057250"/>
              <a:gd name="connsiteY0" fmla="*/ 155638 h 251906"/>
              <a:gd name="connsiteX1" fmla="*/ 2057250 w 2057250"/>
              <a:gd name="connsiteY1" fmla="*/ 251906 h 251906"/>
              <a:gd name="connsiteX0" fmla="*/ 0 w 2057250"/>
              <a:gd name="connsiteY0" fmla="*/ 154153 h 250421"/>
              <a:gd name="connsiteX1" fmla="*/ 2057250 w 2057250"/>
              <a:gd name="connsiteY1" fmla="*/ 250421 h 250421"/>
              <a:gd name="connsiteX0" fmla="*/ 0 w 2057250"/>
              <a:gd name="connsiteY0" fmla="*/ 175529 h 271797"/>
              <a:gd name="connsiteX1" fmla="*/ 2057250 w 2057250"/>
              <a:gd name="connsiteY1" fmla="*/ 271797 h 271797"/>
              <a:gd name="connsiteX0" fmla="*/ 0 w 1925785"/>
              <a:gd name="connsiteY0" fmla="*/ 146190 h 318159"/>
              <a:gd name="connsiteX1" fmla="*/ 1925785 w 1925785"/>
              <a:gd name="connsiteY1" fmla="*/ 318159 h 318159"/>
              <a:gd name="connsiteX0" fmla="*/ 0 w 1942218"/>
              <a:gd name="connsiteY0" fmla="*/ 143309 h 323795"/>
              <a:gd name="connsiteX1" fmla="*/ 1942218 w 1942218"/>
              <a:gd name="connsiteY1" fmla="*/ 323795 h 323795"/>
              <a:gd name="connsiteX0" fmla="*/ 0 w 1942218"/>
              <a:gd name="connsiteY0" fmla="*/ 1 h 180487"/>
              <a:gd name="connsiteX1" fmla="*/ 1942218 w 1942218"/>
              <a:gd name="connsiteY1" fmla="*/ 180487 h 180487"/>
              <a:gd name="connsiteX0" fmla="*/ 0 w 1966867"/>
              <a:gd name="connsiteY0" fmla="*/ 0 h 171970"/>
              <a:gd name="connsiteX1" fmla="*/ 1966867 w 1966867"/>
              <a:gd name="connsiteY1" fmla="*/ 171971 h 171970"/>
              <a:gd name="connsiteX0" fmla="*/ 0 w 1966867"/>
              <a:gd name="connsiteY0" fmla="*/ 0 h 171971"/>
              <a:gd name="connsiteX1" fmla="*/ 1966867 w 1966867"/>
              <a:gd name="connsiteY1" fmla="*/ 171971 h 171971"/>
              <a:gd name="connsiteX0" fmla="*/ 0 w 1958651"/>
              <a:gd name="connsiteY0" fmla="*/ 0 h 186165"/>
              <a:gd name="connsiteX1" fmla="*/ 1958651 w 1958651"/>
              <a:gd name="connsiteY1" fmla="*/ 186165 h 186165"/>
              <a:gd name="connsiteX0" fmla="*/ 0 w 1954543"/>
              <a:gd name="connsiteY0" fmla="*/ 0 h 203197"/>
              <a:gd name="connsiteX1" fmla="*/ 1954543 w 1954543"/>
              <a:gd name="connsiteY1" fmla="*/ 203197 h 203197"/>
              <a:gd name="connsiteX0" fmla="*/ 0 w 2324286"/>
              <a:gd name="connsiteY0" fmla="*/ 0 h 475721"/>
              <a:gd name="connsiteX1" fmla="*/ 2324286 w 2324286"/>
              <a:gd name="connsiteY1" fmla="*/ 475721 h 475721"/>
              <a:gd name="connsiteX0" fmla="*/ 0 w 2324286"/>
              <a:gd name="connsiteY0" fmla="*/ 0 h 479624"/>
              <a:gd name="connsiteX1" fmla="*/ 2324286 w 2324286"/>
              <a:gd name="connsiteY1" fmla="*/ 475721 h 479624"/>
              <a:gd name="connsiteX0" fmla="*/ 0 w 2324286"/>
              <a:gd name="connsiteY0" fmla="*/ 0 h 480172"/>
              <a:gd name="connsiteX1" fmla="*/ 2324286 w 2324286"/>
              <a:gd name="connsiteY1" fmla="*/ 475721 h 480172"/>
              <a:gd name="connsiteX0" fmla="*/ 0 w 2324286"/>
              <a:gd name="connsiteY0" fmla="*/ 0 h 475721"/>
              <a:gd name="connsiteX1" fmla="*/ 2324286 w 2324286"/>
              <a:gd name="connsiteY1" fmla="*/ 475721 h 475721"/>
              <a:gd name="connsiteX0" fmla="*/ 0 w 2316069"/>
              <a:gd name="connsiteY0" fmla="*/ 0 h 498431"/>
              <a:gd name="connsiteX1" fmla="*/ 2316069 w 2316069"/>
              <a:gd name="connsiteY1" fmla="*/ 498431 h 498431"/>
              <a:gd name="connsiteX0" fmla="*/ 0 w 2316069"/>
              <a:gd name="connsiteY0" fmla="*/ 0 h 498431"/>
              <a:gd name="connsiteX1" fmla="*/ 2316069 w 2316069"/>
              <a:gd name="connsiteY1" fmla="*/ 498431 h 49843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04754"/>
              <a:gd name="connsiteY0" fmla="*/ 0 h 1015091"/>
              <a:gd name="connsiteX1" fmla="*/ 4604754 w 4604754"/>
              <a:gd name="connsiteY1" fmla="*/ 1015091 h 1015091"/>
              <a:gd name="connsiteX0" fmla="*/ 0 w 4604754"/>
              <a:gd name="connsiteY0" fmla="*/ 0 h 1015091"/>
              <a:gd name="connsiteX1" fmla="*/ 4604754 w 4604754"/>
              <a:gd name="connsiteY1" fmla="*/ 1015091 h 1015091"/>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23432 h 1021455"/>
              <a:gd name="connsiteX1" fmla="*/ 4604754 w 4604754"/>
              <a:gd name="connsiteY1" fmla="*/ 1021455 h 1021455"/>
              <a:gd name="connsiteX0" fmla="*/ 0 w 4621488"/>
              <a:gd name="connsiteY0" fmla="*/ 28563 h 866964"/>
              <a:gd name="connsiteX1" fmla="*/ 4621488 w 4621488"/>
              <a:gd name="connsiteY1" fmla="*/ 866966 h 866964"/>
              <a:gd name="connsiteX0" fmla="*/ 0 w 4621488"/>
              <a:gd name="connsiteY0" fmla="*/ 35875 h 874276"/>
              <a:gd name="connsiteX1" fmla="*/ 4621488 w 4621488"/>
              <a:gd name="connsiteY1" fmla="*/ 874278 h 874276"/>
              <a:gd name="connsiteX0" fmla="*/ 2 w 4634037"/>
              <a:gd name="connsiteY0" fmla="*/ 44537 h 763234"/>
              <a:gd name="connsiteX1" fmla="*/ 4634037 w 4634037"/>
              <a:gd name="connsiteY1" fmla="*/ 763236 h 763234"/>
              <a:gd name="connsiteX0" fmla="*/ 2 w 4634037"/>
              <a:gd name="connsiteY0" fmla="*/ -3 h 718694"/>
              <a:gd name="connsiteX1" fmla="*/ 4634037 w 4634037"/>
              <a:gd name="connsiteY1" fmla="*/ 718696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1413475"/>
              <a:gd name="connsiteY0" fmla="*/ 606407 h 728390"/>
              <a:gd name="connsiteX1" fmla="*/ 1413474 w 1413475"/>
              <a:gd name="connsiteY1" fmla="*/ 126977 h 728390"/>
              <a:gd name="connsiteX0" fmla="*/ 2 w 1413475"/>
              <a:gd name="connsiteY0" fmla="*/ 479431 h 721543"/>
              <a:gd name="connsiteX1" fmla="*/ 1413474 w 1413475"/>
              <a:gd name="connsiteY1" fmla="*/ 1 h 721543"/>
              <a:gd name="connsiteX0" fmla="*/ 3 w 1605506"/>
              <a:gd name="connsiteY0" fmla="*/ 487353 h 727739"/>
              <a:gd name="connsiteX1" fmla="*/ 1605505 w 1605506"/>
              <a:gd name="connsiteY1" fmla="*/ 1 h 727739"/>
              <a:gd name="connsiteX0" fmla="*/ 3 w 1605506"/>
              <a:gd name="connsiteY0" fmla="*/ 487353 h 595674"/>
              <a:gd name="connsiteX1" fmla="*/ 1605505 w 1605506"/>
              <a:gd name="connsiteY1" fmla="*/ 1 h 595674"/>
              <a:gd name="connsiteX0" fmla="*/ 3 w 1573179"/>
              <a:gd name="connsiteY0" fmla="*/ 635014 h 720486"/>
              <a:gd name="connsiteX1" fmla="*/ 1573180 w 1573179"/>
              <a:gd name="connsiteY1" fmla="*/ 1 h 720486"/>
              <a:gd name="connsiteX0" fmla="*/ 3 w 1573179"/>
              <a:gd name="connsiteY0" fmla="*/ 635014 h 727984"/>
              <a:gd name="connsiteX1" fmla="*/ 1573180 w 1573179"/>
              <a:gd name="connsiteY1" fmla="*/ 1 h 727984"/>
              <a:gd name="connsiteX0" fmla="*/ 3 w 1619069"/>
              <a:gd name="connsiteY0" fmla="*/ 464741 h 589089"/>
              <a:gd name="connsiteX1" fmla="*/ 1619069 w 1619069"/>
              <a:gd name="connsiteY1" fmla="*/ 1 h 589089"/>
              <a:gd name="connsiteX0" fmla="*/ 3 w 1619069"/>
              <a:gd name="connsiteY0" fmla="*/ 464741 h 644508"/>
              <a:gd name="connsiteX1" fmla="*/ 1619069 w 1619069"/>
              <a:gd name="connsiteY1" fmla="*/ 1 h 644508"/>
              <a:gd name="connsiteX0" fmla="*/ 3 w 1619069"/>
              <a:gd name="connsiteY0" fmla="*/ 464741 h 573752"/>
              <a:gd name="connsiteX1" fmla="*/ 1619069 w 1619069"/>
              <a:gd name="connsiteY1" fmla="*/ 1 h 573752"/>
              <a:gd name="connsiteX0" fmla="*/ 3 w 1619069"/>
              <a:gd name="connsiteY0" fmla="*/ 496657 h 598698"/>
              <a:gd name="connsiteX1" fmla="*/ 1619069 w 1619069"/>
              <a:gd name="connsiteY1" fmla="*/ 0 h 598698"/>
              <a:gd name="connsiteX0" fmla="*/ 3 w 7916977"/>
              <a:gd name="connsiteY0" fmla="*/ 2826772 h 2841912"/>
              <a:gd name="connsiteX1" fmla="*/ 7916977 w 7916977"/>
              <a:gd name="connsiteY1" fmla="*/ 0 h 2841912"/>
              <a:gd name="connsiteX0" fmla="*/ 3 w 7916977"/>
              <a:gd name="connsiteY0" fmla="*/ 2826772 h 2846255"/>
              <a:gd name="connsiteX1" fmla="*/ 7916977 w 7916977"/>
              <a:gd name="connsiteY1" fmla="*/ 0 h 2846255"/>
              <a:gd name="connsiteX0" fmla="*/ 3 w 7916977"/>
              <a:gd name="connsiteY0" fmla="*/ 2826772 h 3052074"/>
              <a:gd name="connsiteX1" fmla="*/ 7916977 w 7916977"/>
              <a:gd name="connsiteY1" fmla="*/ 0 h 3052074"/>
              <a:gd name="connsiteX0" fmla="*/ 3 w 7916977"/>
              <a:gd name="connsiteY0" fmla="*/ 2826772 h 3005674"/>
              <a:gd name="connsiteX1" fmla="*/ 7916977 w 7916977"/>
              <a:gd name="connsiteY1" fmla="*/ 0 h 3005674"/>
              <a:gd name="connsiteX0" fmla="*/ 0 w 7916977"/>
              <a:gd name="connsiteY0" fmla="*/ 2778890 h 2960467"/>
              <a:gd name="connsiteX1" fmla="*/ 7916977 w 7916977"/>
              <a:gd name="connsiteY1" fmla="*/ 0 h 2960467"/>
              <a:gd name="connsiteX0" fmla="*/ 0 w 7933419"/>
              <a:gd name="connsiteY0" fmla="*/ 2794848 h 2975527"/>
              <a:gd name="connsiteX1" fmla="*/ 7933419 w 7933419"/>
              <a:gd name="connsiteY1" fmla="*/ 0 h 2975527"/>
              <a:gd name="connsiteX0" fmla="*/ 0 w 7933419"/>
              <a:gd name="connsiteY0" fmla="*/ 2794848 h 3006384"/>
              <a:gd name="connsiteX1" fmla="*/ 7933419 w 7933419"/>
              <a:gd name="connsiteY1" fmla="*/ 0 h 3006384"/>
              <a:gd name="connsiteX0" fmla="*/ 0 w 7867644"/>
              <a:gd name="connsiteY0" fmla="*/ 2794848 h 3006384"/>
              <a:gd name="connsiteX1" fmla="*/ 7867644 w 7867644"/>
              <a:gd name="connsiteY1" fmla="*/ 0 h 3006384"/>
              <a:gd name="connsiteX0" fmla="*/ 0 w 3197651"/>
              <a:gd name="connsiteY0" fmla="*/ 0 h 1011361"/>
              <a:gd name="connsiteX1" fmla="*/ 3197651 w 3197651"/>
              <a:gd name="connsiteY1" fmla="*/ 349213 h 1011361"/>
              <a:gd name="connsiteX0" fmla="*/ 0 w 3197651"/>
              <a:gd name="connsiteY0" fmla="*/ 0 h 551058"/>
              <a:gd name="connsiteX1" fmla="*/ 3197651 w 3197651"/>
              <a:gd name="connsiteY1" fmla="*/ 349213 h 551058"/>
              <a:gd name="connsiteX0" fmla="*/ 0 w 3197651"/>
              <a:gd name="connsiteY0" fmla="*/ 0 h 499390"/>
              <a:gd name="connsiteX1" fmla="*/ 3197651 w 3197651"/>
              <a:gd name="connsiteY1" fmla="*/ 349213 h 499390"/>
              <a:gd name="connsiteX0" fmla="*/ 0 w 3197651"/>
              <a:gd name="connsiteY0" fmla="*/ 0 h 421477"/>
              <a:gd name="connsiteX1" fmla="*/ 3197651 w 3197651"/>
              <a:gd name="connsiteY1" fmla="*/ 349213 h 421477"/>
              <a:gd name="connsiteX0" fmla="*/ 0 w 3197651"/>
              <a:gd name="connsiteY0" fmla="*/ 0 h 480912"/>
              <a:gd name="connsiteX1" fmla="*/ 3197651 w 3197651"/>
              <a:gd name="connsiteY1" fmla="*/ 349213 h 480912"/>
              <a:gd name="connsiteX0" fmla="*/ 0 w 3181202"/>
              <a:gd name="connsiteY0" fmla="*/ 0 h 617329"/>
              <a:gd name="connsiteX1" fmla="*/ 3181202 w 3181202"/>
              <a:gd name="connsiteY1" fmla="*/ 540729 h 617329"/>
              <a:gd name="connsiteX0" fmla="*/ 0 w 3181202"/>
              <a:gd name="connsiteY0" fmla="*/ 0 h 589454"/>
              <a:gd name="connsiteX1" fmla="*/ 3181202 w 3181202"/>
              <a:gd name="connsiteY1" fmla="*/ 540729 h 589454"/>
              <a:gd name="connsiteX0" fmla="*/ 0 w 3164753"/>
              <a:gd name="connsiteY0" fmla="*/ 0 h 602523"/>
              <a:gd name="connsiteX1" fmla="*/ 3164753 w 3164753"/>
              <a:gd name="connsiteY1" fmla="*/ 556687 h 602523"/>
              <a:gd name="connsiteX0" fmla="*/ 0 w 3164753"/>
              <a:gd name="connsiteY0" fmla="*/ 0 h 585741"/>
              <a:gd name="connsiteX1" fmla="*/ 3164753 w 3164753"/>
              <a:gd name="connsiteY1" fmla="*/ 556687 h 585741"/>
              <a:gd name="connsiteX0" fmla="*/ 0 w 3164753"/>
              <a:gd name="connsiteY0" fmla="*/ 0 h 588616"/>
              <a:gd name="connsiteX1" fmla="*/ 3164753 w 3164753"/>
              <a:gd name="connsiteY1" fmla="*/ 556687 h 588616"/>
              <a:gd name="connsiteX0" fmla="*/ 0 w 4184262"/>
              <a:gd name="connsiteY0" fmla="*/ 0 h 1346832"/>
              <a:gd name="connsiteX1" fmla="*/ 4184262 w 4184262"/>
              <a:gd name="connsiteY1" fmla="*/ 1338715 h 1346832"/>
              <a:gd name="connsiteX0" fmla="*/ 0 w 4184262"/>
              <a:gd name="connsiteY0" fmla="*/ 0 h 1338716"/>
              <a:gd name="connsiteX1" fmla="*/ 4184262 w 4184262"/>
              <a:gd name="connsiteY1" fmla="*/ 1338715 h 1338716"/>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7922444"/>
              <a:gd name="connsiteY0" fmla="*/ 0 h 1354674"/>
              <a:gd name="connsiteX1" fmla="*/ 7922444 w 7922444"/>
              <a:gd name="connsiteY1" fmla="*/ 1354674 h 1354674"/>
              <a:gd name="connsiteX0" fmla="*/ 0 w 7922444"/>
              <a:gd name="connsiteY0" fmla="*/ 0 h 1354674"/>
              <a:gd name="connsiteX1" fmla="*/ 7922444 w 7922444"/>
              <a:gd name="connsiteY1" fmla="*/ 1354674 h 1354674"/>
              <a:gd name="connsiteX0" fmla="*/ 0 w 7922444"/>
              <a:gd name="connsiteY0" fmla="*/ 0 h 1967324"/>
              <a:gd name="connsiteX1" fmla="*/ 7922444 w 7922444"/>
              <a:gd name="connsiteY1" fmla="*/ 1354674 h 1967324"/>
              <a:gd name="connsiteX0" fmla="*/ 0 w 7856669"/>
              <a:gd name="connsiteY0" fmla="*/ 0 h 1882889"/>
              <a:gd name="connsiteX1" fmla="*/ 7856669 w 7856669"/>
              <a:gd name="connsiteY1" fmla="*/ 1120598 h 1882889"/>
              <a:gd name="connsiteX0" fmla="*/ 0 w 7856669"/>
              <a:gd name="connsiteY0" fmla="*/ 0 h 1907225"/>
              <a:gd name="connsiteX1" fmla="*/ 7856669 w 7856669"/>
              <a:gd name="connsiteY1" fmla="*/ 1120598 h 1907225"/>
              <a:gd name="connsiteX0" fmla="*/ 0 w 7856669"/>
              <a:gd name="connsiteY0" fmla="*/ 0 h 1953216"/>
              <a:gd name="connsiteX1" fmla="*/ 7856669 w 7856669"/>
              <a:gd name="connsiteY1" fmla="*/ 1120598 h 1953216"/>
              <a:gd name="connsiteX0" fmla="*/ 0 w 6146531"/>
              <a:gd name="connsiteY0" fmla="*/ 0 h 2377876"/>
              <a:gd name="connsiteX1" fmla="*/ 6146531 w 6146531"/>
              <a:gd name="connsiteY1" fmla="*/ 2120738 h 2377876"/>
              <a:gd name="connsiteX0" fmla="*/ 0 w 6146531"/>
              <a:gd name="connsiteY0" fmla="*/ 0 h 2353527"/>
              <a:gd name="connsiteX1" fmla="*/ 6146531 w 6146531"/>
              <a:gd name="connsiteY1" fmla="*/ 2120738 h 2353527"/>
              <a:gd name="connsiteX0" fmla="*/ 0 w 6146531"/>
              <a:gd name="connsiteY0" fmla="*/ 0 h 2120739"/>
              <a:gd name="connsiteX1" fmla="*/ 6146531 w 6146531"/>
              <a:gd name="connsiteY1" fmla="*/ 2120738 h 2120739"/>
              <a:gd name="connsiteX0" fmla="*/ 0 w 6124606"/>
              <a:gd name="connsiteY0" fmla="*/ 0 h 2227137"/>
              <a:gd name="connsiteX1" fmla="*/ 6124606 w 6124606"/>
              <a:gd name="connsiteY1" fmla="*/ 2227137 h 2227137"/>
              <a:gd name="connsiteX0" fmla="*/ 0 w 6124606"/>
              <a:gd name="connsiteY0" fmla="*/ 0 h 2227137"/>
              <a:gd name="connsiteX1" fmla="*/ 6124606 w 6124606"/>
              <a:gd name="connsiteY1" fmla="*/ 2227137 h 2227137"/>
              <a:gd name="connsiteX0" fmla="*/ 0 w 6080756"/>
              <a:gd name="connsiteY0" fmla="*/ 0 h 1993062"/>
              <a:gd name="connsiteX1" fmla="*/ 6080756 w 6080756"/>
              <a:gd name="connsiteY1" fmla="*/ 1993062 h 1993062"/>
              <a:gd name="connsiteX0" fmla="*/ 0 w 6080756"/>
              <a:gd name="connsiteY0" fmla="*/ 0 h 2056901"/>
              <a:gd name="connsiteX1" fmla="*/ 6080756 w 6080756"/>
              <a:gd name="connsiteY1" fmla="*/ 2056901 h 2056901"/>
              <a:gd name="connsiteX0" fmla="*/ 0 w 6080756"/>
              <a:gd name="connsiteY0" fmla="*/ 0 h 2056901"/>
              <a:gd name="connsiteX1" fmla="*/ 6080756 w 6080756"/>
              <a:gd name="connsiteY1" fmla="*/ 2056901 h 2056901"/>
              <a:gd name="connsiteX0" fmla="*/ 0 w 6080756"/>
              <a:gd name="connsiteY0" fmla="*/ 0 h 2056901"/>
              <a:gd name="connsiteX1" fmla="*/ 6080756 w 6080756"/>
              <a:gd name="connsiteY1" fmla="*/ 2056901 h 2056901"/>
              <a:gd name="connsiteX0" fmla="*/ 0 w 6064314"/>
              <a:gd name="connsiteY0" fmla="*/ 0 h 2072866"/>
              <a:gd name="connsiteX1" fmla="*/ 6064314 w 6064314"/>
              <a:gd name="connsiteY1" fmla="*/ 2072866 h 2072866"/>
              <a:gd name="connsiteX0" fmla="*/ 0 w 7215365"/>
              <a:gd name="connsiteY0" fmla="*/ 0 h 3493277"/>
              <a:gd name="connsiteX1" fmla="*/ 7215365 w 7215365"/>
              <a:gd name="connsiteY1" fmla="*/ 3493277 h 3493277"/>
              <a:gd name="connsiteX0" fmla="*/ 0 w 7215365"/>
              <a:gd name="connsiteY0" fmla="*/ 0 h 3493277"/>
              <a:gd name="connsiteX1" fmla="*/ 7215365 w 7215365"/>
              <a:gd name="connsiteY1" fmla="*/ 3493277 h 3493277"/>
              <a:gd name="connsiteX0" fmla="*/ 0 w 7182481"/>
              <a:gd name="connsiteY0" fmla="*/ 0 h 3493277"/>
              <a:gd name="connsiteX1" fmla="*/ 7182481 w 7182481"/>
              <a:gd name="connsiteY1" fmla="*/ 3493277 h 3493277"/>
              <a:gd name="connsiteX0" fmla="*/ 0 w 7182481"/>
              <a:gd name="connsiteY0" fmla="*/ 0 h 3493277"/>
              <a:gd name="connsiteX1" fmla="*/ 7182481 w 7182481"/>
              <a:gd name="connsiteY1" fmla="*/ 3493277 h 3493277"/>
              <a:gd name="connsiteX0" fmla="*/ 0 w 7264704"/>
              <a:gd name="connsiteY0" fmla="*/ 0 h 3397516"/>
              <a:gd name="connsiteX1" fmla="*/ 7264704 w 7264704"/>
              <a:gd name="connsiteY1" fmla="*/ 3397516 h 3397516"/>
              <a:gd name="connsiteX0" fmla="*/ 0 w 7346927"/>
              <a:gd name="connsiteY0" fmla="*/ 0 h 3237916"/>
              <a:gd name="connsiteX1" fmla="*/ 7346927 w 7346927"/>
              <a:gd name="connsiteY1" fmla="*/ 3237916 h 3237916"/>
              <a:gd name="connsiteX0" fmla="*/ 0 w 7346927"/>
              <a:gd name="connsiteY0" fmla="*/ 0 h 3237916"/>
              <a:gd name="connsiteX1" fmla="*/ 7346927 w 7346927"/>
              <a:gd name="connsiteY1" fmla="*/ 3237916 h 3237916"/>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3625180"/>
              <a:gd name="connsiteY0" fmla="*/ 0 h 2062210"/>
              <a:gd name="connsiteX1" fmla="*/ 3625180 w 3625180"/>
              <a:gd name="connsiteY1" fmla="*/ 2062210 h 2062210"/>
              <a:gd name="connsiteX0" fmla="*/ 0 w 3625180"/>
              <a:gd name="connsiteY0" fmla="*/ 0 h 2062210"/>
              <a:gd name="connsiteX1" fmla="*/ 3625180 w 3625180"/>
              <a:gd name="connsiteY1" fmla="*/ 2062210 h 2062210"/>
              <a:gd name="connsiteX0" fmla="*/ 4 w 3473238"/>
              <a:gd name="connsiteY0" fmla="*/ -1 h 2084025"/>
              <a:gd name="connsiteX1" fmla="*/ 3473238 w 3473238"/>
              <a:gd name="connsiteY1" fmla="*/ 2084025 h 2084025"/>
              <a:gd name="connsiteX0" fmla="*/ 4 w 3473238"/>
              <a:gd name="connsiteY0" fmla="*/ 1 h 2084027"/>
              <a:gd name="connsiteX1" fmla="*/ 2327597 w 3473238"/>
              <a:gd name="connsiteY1" fmla="*/ 925537 h 2084027"/>
              <a:gd name="connsiteX2" fmla="*/ 3473238 w 3473238"/>
              <a:gd name="connsiteY2" fmla="*/ 2084027 h 2084027"/>
              <a:gd name="connsiteX0" fmla="*/ 4 w 4054687"/>
              <a:gd name="connsiteY0" fmla="*/ -1 h 2083270"/>
              <a:gd name="connsiteX1" fmla="*/ 2327597 w 4054687"/>
              <a:gd name="connsiteY1" fmla="*/ 925535 h 2083270"/>
              <a:gd name="connsiteX2" fmla="*/ 4054692 w 4054687"/>
              <a:gd name="connsiteY2" fmla="*/ 2083270 h 2083270"/>
              <a:gd name="connsiteX0" fmla="*/ 4 w 4054687"/>
              <a:gd name="connsiteY0" fmla="*/ 1 h 2083272"/>
              <a:gd name="connsiteX1" fmla="*/ 2213550 w 4054687"/>
              <a:gd name="connsiteY1" fmla="*/ 947314 h 2083272"/>
              <a:gd name="connsiteX2" fmla="*/ 4054692 w 4054687"/>
              <a:gd name="connsiteY2" fmla="*/ 2083272 h 2083272"/>
              <a:gd name="connsiteX0" fmla="*/ 4 w 5304241"/>
              <a:gd name="connsiteY0" fmla="*/ -1 h 2012574"/>
              <a:gd name="connsiteX1" fmla="*/ 2213550 w 5304241"/>
              <a:gd name="connsiteY1" fmla="*/ 947312 h 2012574"/>
              <a:gd name="connsiteX2" fmla="*/ 5304242 w 5304241"/>
              <a:gd name="connsiteY2" fmla="*/ 2012573 h 2012574"/>
              <a:gd name="connsiteX0" fmla="*/ 4 w 5304241"/>
              <a:gd name="connsiteY0" fmla="*/ 1 h 2012574"/>
              <a:gd name="connsiteX1" fmla="*/ 3751907 w 5304241"/>
              <a:gd name="connsiteY1" fmla="*/ 781984 h 2012574"/>
              <a:gd name="connsiteX2" fmla="*/ 5304242 w 5304241"/>
              <a:gd name="connsiteY2" fmla="*/ 2012575 h 2012574"/>
              <a:gd name="connsiteX0" fmla="*/ 4 w 5304241"/>
              <a:gd name="connsiteY0" fmla="*/ -1 h 2012574"/>
              <a:gd name="connsiteX1" fmla="*/ 3751907 w 5304241"/>
              <a:gd name="connsiteY1" fmla="*/ 781982 h 2012574"/>
              <a:gd name="connsiteX2" fmla="*/ 5304242 w 5304241"/>
              <a:gd name="connsiteY2" fmla="*/ 2012573 h 2012574"/>
              <a:gd name="connsiteX0" fmla="*/ 4 w 5304241"/>
              <a:gd name="connsiteY0" fmla="*/ 1 h 2012574"/>
              <a:gd name="connsiteX1" fmla="*/ 3751907 w 5304241"/>
              <a:gd name="connsiteY1" fmla="*/ 781984 h 2012574"/>
              <a:gd name="connsiteX2" fmla="*/ 5304242 w 5304241"/>
              <a:gd name="connsiteY2" fmla="*/ 2012575 h 2012574"/>
              <a:gd name="connsiteX0" fmla="*/ 4 w 5029060"/>
              <a:gd name="connsiteY0" fmla="*/ -1 h 2020679"/>
              <a:gd name="connsiteX1" fmla="*/ 3751907 w 5029060"/>
              <a:gd name="connsiteY1" fmla="*/ 781982 h 2020679"/>
              <a:gd name="connsiteX2" fmla="*/ 5029065 w 5029060"/>
              <a:gd name="connsiteY2" fmla="*/ 2020679 h 2020679"/>
              <a:gd name="connsiteX0" fmla="*/ 4 w 5414133"/>
              <a:gd name="connsiteY0" fmla="*/ 1 h 2020681"/>
              <a:gd name="connsiteX1" fmla="*/ 3751907 w 5414133"/>
              <a:gd name="connsiteY1" fmla="*/ 781984 h 2020681"/>
              <a:gd name="connsiteX2" fmla="*/ 5373418 w 5414133"/>
              <a:gd name="connsiteY2" fmla="*/ 1442358 h 2020681"/>
              <a:gd name="connsiteX3" fmla="*/ 5029065 w 5414133"/>
              <a:gd name="connsiteY3" fmla="*/ 2020681 h 2020681"/>
              <a:gd name="connsiteX0" fmla="*/ -3 w 5414126"/>
              <a:gd name="connsiteY0" fmla="*/ 1 h 2020681"/>
              <a:gd name="connsiteX1" fmla="*/ 5373411 w 5414126"/>
              <a:gd name="connsiteY1" fmla="*/ 1442358 h 2020681"/>
              <a:gd name="connsiteX2" fmla="*/ 5029058 w 5414126"/>
              <a:gd name="connsiteY2" fmla="*/ 2020681 h 2020681"/>
              <a:gd name="connsiteX0" fmla="*/ -3 w 5029061"/>
              <a:gd name="connsiteY0" fmla="*/ 1 h 2020681"/>
              <a:gd name="connsiteX1" fmla="*/ 5029058 w 5029061"/>
              <a:gd name="connsiteY1" fmla="*/ 2020681 h 2020681"/>
            </a:gdLst>
            <a:ahLst/>
            <a:cxnLst>
              <a:cxn ang="0">
                <a:pos x="connsiteX0" y="connsiteY0"/>
              </a:cxn>
              <a:cxn ang="0">
                <a:pos x="connsiteX1" y="connsiteY1"/>
              </a:cxn>
            </a:cxnLst>
            <a:rect l="l" t="t" r="r" b="b"/>
            <a:pathLst>
              <a:path w="5029061" h="2020681">
                <a:moveTo>
                  <a:pt x="-3" y="1"/>
                </a:moveTo>
                <a:lnTo>
                  <a:pt x="5029058" y="2020681"/>
                </a:lnTo>
              </a:path>
            </a:pathLst>
          </a:custGeom>
          <a:noFill/>
          <a:ln w="12700" cap="flat" cmpd="sng" algn="ctr">
            <a:solidFill>
              <a:srgbClr val="13835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de-DE"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00" name="Freeform 103"/>
          <p:cNvSpPr/>
          <p:nvPr/>
        </p:nvSpPr>
        <p:spPr bwMode="auto">
          <a:xfrm>
            <a:off x="2579826" y="3172775"/>
            <a:ext cx="894961" cy="683871"/>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2875322"/>
              <a:gd name="connsiteY0" fmla="*/ 0 h 1850561"/>
              <a:gd name="connsiteX1" fmla="*/ 2875322 w 2875322"/>
              <a:gd name="connsiteY1" fmla="*/ 1850561 h 1850561"/>
              <a:gd name="connsiteX0" fmla="*/ 0 w 2875322"/>
              <a:gd name="connsiteY0" fmla="*/ 0 h 1850561"/>
              <a:gd name="connsiteX1" fmla="*/ 2875322 w 2875322"/>
              <a:gd name="connsiteY1" fmla="*/ 1850561 h 1850561"/>
              <a:gd name="connsiteX0" fmla="*/ 0 w 2894703"/>
              <a:gd name="connsiteY0" fmla="*/ 0 h 1850561"/>
              <a:gd name="connsiteX1" fmla="*/ 2894703 w 2894703"/>
              <a:gd name="connsiteY1" fmla="*/ 1850561 h 1850561"/>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0239"/>
              <a:gd name="connsiteY0" fmla="*/ 0 h 2300301"/>
              <a:gd name="connsiteX1" fmla="*/ 3480239 w 3480239"/>
              <a:gd name="connsiteY1" fmla="*/ 2300301 h 2300301"/>
              <a:gd name="connsiteX0" fmla="*/ 0 w 3480239"/>
              <a:gd name="connsiteY0" fmla="*/ 0 h 2300301"/>
              <a:gd name="connsiteX1" fmla="*/ 3480239 w 348023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521439"/>
              <a:gd name="connsiteY0" fmla="*/ 0 h 2232170"/>
              <a:gd name="connsiteX1" fmla="*/ 3521439 w 3521439"/>
              <a:gd name="connsiteY1" fmla="*/ 2232170 h 2232170"/>
              <a:gd name="connsiteX0" fmla="*/ 0 w 3521439"/>
              <a:gd name="connsiteY0" fmla="*/ 0 h 2232170"/>
              <a:gd name="connsiteX1" fmla="*/ 3521439 w 3521439"/>
              <a:gd name="connsiteY1" fmla="*/ 2232170 h 2232170"/>
              <a:gd name="connsiteX0" fmla="*/ 0 w 3521439"/>
              <a:gd name="connsiteY0" fmla="*/ 0 h 2209460"/>
              <a:gd name="connsiteX1" fmla="*/ 3521439 w 3521439"/>
              <a:gd name="connsiteY1" fmla="*/ 2209460 h 2209460"/>
              <a:gd name="connsiteX0" fmla="*/ 0 w 3521439"/>
              <a:gd name="connsiteY0" fmla="*/ 0 h 2209460"/>
              <a:gd name="connsiteX1" fmla="*/ 3521439 w 3521439"/>
              <a:gd name="connsiteY1" fmla="*/ 2209460 h 2209460"/>
              <a:gd name="connsiteX0" fmla="*/ 0 w 3166484"/>
              <a:gd name="connsiteY0" fmla="*/ 0 h 1509983"/>
              <a:gd name="connsiteX1" fmla="*/ 3166484 w 3166484"/>
              <a:gd name="connsiteY1" fmla="*/ 1509983 h 1509983"/>
              <a:gd name="connsiteX0" fmla="*/ 0 w 2028493"/>
              <a:gd name="connsiteY0" fmla="*/ 0 h 405367"/>
              <a:gd name="connsiteX1" fmla="*/ 2028493 w 2028493"/>
              <a:gd name="connsiteY1" fmla="*/ 62202 h 405367"/>
              <a:gd name="connsiteX0" fmla="*/ 0 w 2028493"/>
              <a:gd name="connsiteY0" fmla="*/ 0 h 410101"/>
              <a:gd name="connsiteX1" fmla="*/ 2028493 w 2028493"/>
              <a:gd name="connsiteY1" fmla="*/ 62202 h 410101"/>
              <a:gd name="connsiteX0" fmla="*/ 0 w 2049034"/>
              <a:gd name="connsiteY0" fmla="*/ 0 h 413154"/>
              <a:gd name="connsiteX1" fmla="*/ 2049034 w 2049034"/>
              <a:gd name="connsiteY1" fmla="*/ 76396 h 413154"/>
              <a:gd name="connsiteX0" fmla="*/ 0 w 2049034"/>
              <a:gd name="connsiteY0" fmla="*/ 143813 h 220209"/>
              <a:gd name="connsiteX1" fmla="*/ 2049034 w 2049034"/>
              <a:gd name="connsiteY1" fmla="*/ 220209 h 220209"/>
              <a:gd name="connsiteX0" fmla="*/ 0 w 2049034"/>
              <a:gd name="connsiteY0" fmla="*/ 154753 h 231149"/>
              <a:gd name="connsiteX1" fmla="*/ 2049034 w 2049034"/>
              <a:gd name="connsiteY1" fmla="*/ 231149 h 231149"/>
              <a:gd name="connsiteX0" fmla="*/ 0 w 2057250"/>
              <a:gd name="connsiteY0" fmla="*/ 145732 h 242000"/>
              <a:gd name="connsiteX1" fmla="*/ 2057250 w 2057250"/>
              <a:gd name="connsiteY1" fmla="*/ 242000 h 242000"/>
              <a:gd name="connsiteX0" fmla="*/ 0 w 2057250"/>
              <a:gd name="connsiteY0" fmla="*/ 155638 h 251906"/>
              <a:gd name="connsiteX1" fmla="*/ 2057250 w 2057250"/>
              <a:gd name="connsiteY1" fmla="*/ 251906 h 251906"/>
              <a:gd name="connsiteX0" fmla="*/ 0 w 2057250"/>
              <a:gd name="connsiteY0" fmla="*/ 154153 h 250421"/>
              <a:gd name="connsiteX1" fmla="*/ 2057250 w 2057250"/>
              <a:gd name="connsiteY1" fmla="*/ 250421 h 250421"/>
              <a:gd name="connsiteX0" fmla="*/ 0 w 2057250"/>
              <a:gd name="connsiteY0" fmla="*/ 175529 h 271797"/>
              <a:gd name="connsiteX1" fmla="*/ 2057250 w 2057250"/>
              <a:gd name="connsiteY1" fmla="*/ 271797 h 271797"/>
              <a:gd name="connsiteX0" fmla="*/ 0 w 1925785"/>
              <a:gd name="connsiteY0" fmla="*/ 146190 h 318159"/>
              <a:gd name="connsiteX1" fmla="*/ 1925785 w 1925785"/>
              <a:gd name="connsiteY1" fmla="*/ 318159 h 318159"/>
              <a:gd name="connsiteX0" fmla="*/ 0 w 1942218"/>
              <a:gd name="connsiteY0" fmla="*/ 143309 h 323795"/>
              <a:gd name="connsiteX1" fmla="*/ 1942218 w 1942218"/>
              <a:gd name="connsiteY1" fmla="*/ 323795 h 323795"/>
              <a:gd name="connsiteX0" fmla="*/ 0 w 1942218"/>
              <a:gd name="connsiteY0" fmla="*/ 1 h 180487"/>
              <a:gd name="connsiteX1" fmla="*/ 1942218 w 1942218"/>
              <a:gd name="connsiteY1" fmla="*/ 180487 h 180487"/>
              <a:gd name="connsiteX0" fmla="*/ 0 w 1966867"/>
              <a:gd name="connsiteY0" fmla="*/ 0 h 171970"/>
              <a:gd name="connsiteX1" fmla="*/ 1966867 w 1966867"/>
              <a:gd name="connsiteY1" fmla="*/ 171971 h 171970"/>
              <a:gd name="connsiteX0" fmla="*/ 0 w 1966867"/>
              <a:gd name="connsiteY0" fmla="*/ 0 h 171971"/>
              <a:gd name="connsiteX1" fmla="*/ 1966867 w 1966867"/>
              <a:gd name="connsiteY1" fmla="*/ 171971 h 171971"/>
              <a:gd name="connsiteX0" fmla="*/ 0 w 1958651"/>
              <a:gd name="connsiteY0" fmla="*/ 0 h 186165"/>
              <a:gd name="connsiteX1" fmla="*/ 1958651 w 1958651"/>
              <a:gd name="connsiteY1" fmla="*/ 186165 h 186165"/>
              <a:gd name="connsiteX0" fmla="*/ 0 w 1954543"/>
              <a:gd name="connsiteY0" fmla="*/ 0 h 203197"/>
              <a:gd name="connsiteX1" fmla="*/ 1954543 w 1954543"/>
              <a:gd name="connsiteY1" fmla="*/ 203197 h 203197"/>
              <a:gd name="connsiteX0" fmla="*/ 0 w 2324286"/>
              <a:gd name="connsiteY0" fmla="*/ 0 h 475721"/>
              <a:gd name="connsiteX1" fmla="*/ 2324286 w 2324286"/>
              <a:gd name="connsiteY1" fmla="*/ 475721 h 475721"/>
              <a:gd name="connsiteX0" fmla="*/ 0 w 2324286"/>
              <a:gd name="connsiteY0" fmla="*/ 0 h 479624"/>
              <a:gd name="connsiteX1" fmla="*/ 2324286 w 2324286"/>
              <a:gd name="connsiteY1" fmla="*/ 475721 h 479624"/>
              <a:gd name="connsiteX0" fmla="*/ 0 w 2324286"/>
              <a:gd name="connsiteY0" fmla="*/ 0 h 480172"/>
              <a:gd name="connsiteX1" fmla="*/ 2324286 w 2324286"/>
              <a:gd name="connsiteY1" fmla="*/ 475721 h 480172"/>
              <a:gd name="connsiteX0" fmla="*/ 0 w 2324286"/>
              <a:gd name="connsiteY0" fmla="*/ 0 h 475721"/>
              <a:gd name="connsiteX1" fmla="*/ 2324286 w 2324286"/>
              <a:gd name="connsiteY1" fmla="*/ 475721 h 475721"/>
              <a:gd name="connsiteX0" fmla="*/ 0 w 2316069"/>
              <a:gd name="connsiteY0" fmla="*/ 0 h 498431"/>
              <a:gd name="connsiteX1" fmla="*/ 2316069 w 2316069"/>
              <a:gd name="connsiteY1" fmla="*/ 498431 h 498431"/>
              <a:gd name="connsiteX0" fmla="*/ 0 w 2316069"/>
              <a:gd name="connsiteY0" fmla="*/ 0 h 498431"/>
              <a:gd name="connsiteX1" fmla="*/ 2316069 w 2316069"/>
              <a:gd name="connsiteY1" fmla="*/ 498431 h 49843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04754"/>
              <a:gd name="connsiteY0" fmla="*/ 0 h 1015091"/>
              <a:gd name="connsiteX1" fmla="*/ 4604754 w 4604754"/>
              <a:gd name="connsiteY1" fmla="*/ 1015091 h 1015091"/>
              <a:gd name="connsiteX0" fmla="*/ 0 w 4604754"/>
              <a:gd name="connsiteY0" fmla="*/ 0 h 1015091"/>
              <a:gd name="connsiteX1" fmla="*/ 4604754 w 4604754"/>
              <a:gd name="connsiteY1" fmla="*/ 1015091 h 1015091"/>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23432 h 1021455"/>
              <a:gd name="connsiteX1" fmla="*/ 4604754 w 4604754"/>
              <a:gd name="connsiteY1" fmla="*/ 1021455 h 1021455"/>
              <a:gd name="connsiteX0" fmla="*/ 0 w 4621488"/>
              <a:gd name="connsiteY0" fmla="*/ 28563 h 866964"/>
              <a:gd name="connsiteX1" fmla="*/ 4621488 w 4621488"/>
              <a:gd name="connsiteY1" fmla="*/ 866966 h 866964"/>
              <a:gd name="connsiteX0" fmla="*/ 0 w 4621488"/>
              <a:gd name="connsiteY0" fmla="*/ 35875 h 874276"/>
              <a:gd name="connsiteX1" fmla="*/ 4621488 w 4621488"/>
              <a:gd name="connsiteY1" fmla="*/ 874278 h 874276"/>
              <a:gd name="connsiteX0" fmla="*/ 2 w 4634037"/>
              <a:gd name="connsiteY0" fmla="*/ 44537 h 763234"/>
              <a:gd name="connsiteX1" fmla="*/ 4634037 w 4634037"/>
              <a:gd name="connsiteY1" fmla="*/ 763236 h 763234"/>
              <a:gd name="connsiteX0" fmla="*/ 2 w 4634037"/>
              <a:gd name="connsiteY0" fmla="*/ -3 h 718694"/>
              <a:gd name="connsiteX1" fmla="*/ 4634037 w 4634037"/>
              <a:gd name="connsiteY1" fmla="*/ 718696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1413475"/>
              <a:gd name="connsiteY0" fmla="*/ 606407 h 728390"/>
              <a:gd name="connsiteX1" fmla="*/ 1413474 w 1413475"/>
              <a:gd name="connsiteY1" fmla="*/ 126977 h 728390"/>
              <a:gd name="connsiteX0" fmla="*/ 2 w 1413475"/>
              <a:gd name="connsiteY0" fmla="*/ 479431 h 721543"/>
              <a:gd name="connsiteX1" fmla="*/ 1413474 w 1413475"/>
              <a:gd name="connsiteY1" fmla="*/ 1 h 721543"/>
              <a:gd name="connsiteX0" fmla="*/ 3 w 1605506"/>
              <a:gd name="connsiteY0" fmla="*/ 487353 h 727739"/>
              <a:gd name="connsiteX1" fmla="*/ 1605505 w 1605506"/>
              <a:gd name="connsiteY1" fmla="*/ 1 h 727739"/>
              <a:gd name="connsiteX0" fmla="*/ 3 w 1605506"/>
              <a:gd name="connsiteY0" fmla="*/ 487353 h 595674"/>
              <a:gd name="connsiteX1" fmla="*/ 1605505 w 1605506"/>
              <a:gd name="connsiteY1" fmla="*/ 1 h 595674"/>
              <a:gd name="connsiteX0" fmla="*/ 3 w 1573179"/>
              <a:gd name="connsiteY0" fmla="*/ 635014 h 720486"/>
              <a:gd name="connsiteX1" fmla="*/ 1573180 w 1573179"/>
              <a:gd name="connsiteY1" fmla="*/ 1 h 720486"/>
              <a:gd name="connsiteX0" fmla="*/ 3 w 1573179"/>
              <a:gd name="connsiteY0" fmla="*/ 635014 h 727984"/>
              <a:gd name="connsiteX1" fmla="*/ 1573180 w 1573179"/>
              <a:gd name="connsiteY1" fmla="*/ 1 h 727984"/>
              <a:gd name="connsiteX0" fmla="*/ 3 w 1619069"/>
              <a:gd name="connsiteY0" fmla="*/ 464741 h 589089"/>
              <a:gd name="connsiteX1" fmla="*/ 1619069 w 1619069"/>
              <a:gd name="connsiteY1" fmla="*/ 1 h 589089"/>
              <a:gd name="connsiteX0" fmla="*/ 3 w 1619069"/>
              <a:gd name="connsiteY0" fmla="*/ 464741 h 644508"/>
              <a:gd name="connsiteX1" fmla="*/ 1619069 w 1619069"/>
              <a:gd name="connsiteY1" fmla="*/ 1 h 644508"/>
              <a:gd name="connsiteX0" fmla="*/ 3 w 1619069"/>
              <a:gd name="connsiteY0" fmla="*/ 464741 h 573752"/>
              <a:gd name="connsiteX1" fmla="*/ 1619069 w 1619069"/>
              <a:gd name="connsiteY1" fmla="*/ 1 h 573752"/>
              <a:gd name="connsiteX0" fmla="*/ 3 w 1619069"/>
              <a:gd name="connsiteY0" fmla="*/ 496657 h 598698"/>
              <a:gd name="connsiteX1" fmla="*/ 1619069 w 1619069"/>
              <a:gd name="connsiteY1" fmla="*/ 0 h 598698"/>
              <a:gd name="connsiteX0" fmla="*/ 3 w 7916977"/>
              <a:gd name="connsiteY0" fmla="*/ 2826772 h 2841912"/>
              <a:gd name="connsiteX1" fmla="*/ 7916977 w 7916977"/>
              <a:gd name="connsiteY1" fmla="*/ 0 h 2841912"/>
              <a:gd name="connsiteX0" fmla="*/ 3 w 7916977"/>
              <a:gd name="connsiteY0" fmla="*/ 2826772 h 2846255"/>
              <a:gd name="connsiteX1" fmla="*/ 7916977 w 7916977"/>
              <a:gd name="connsiteY1" fmla="*/ 0 h 2846255"/>
              <a:gd name="connsiteX0" fmla="*/ 3 w 7916977"/>
              <a:gd name="connsiteY0" fmla="*/ 2826772 h 3052074"/>
              <a:gd name="connsiteX1" fmla="*/ 7916977 w 7916977"/>
              <a:gd name="connsiteY1" fmla="*/ 0 h 3052074"/>
              <a:gd name="connsiteX0" fmla="*/ 3 w 7916977"/>
              <a:gd name="connsiteY0" fmla="*/ 2826772 h 3005674"/>
              <a:gd name="connsiteX1" fmla="*/ 7916977 w 7916977"/>
              <a:gd name="connsiteY1" fmla="*/ 0 h 3005674"/>
              <a:gd name="connsiteX0" fmla="*/ 0 w 7916977"/>
              <a:gd name="connsiteY0" fmla="*/ 2778890 h 2960467"/>
              <a:gd name="connsiteX1" fmla="*/ 7916977 w 7916977"/>
              <a:gd name="connsiteY1" fmla="*/ 0 h 2960467"/>
              <a:gd name="connsiteX0" fmla="*/ 0 w 7933419"/>
              <a:gd name="connsiteY0" fmla="*/ 2794848 h 2975527"/>
              <a:gd name="connsiteX1" fmla="*/ 7933419 w 7933419"/>
              <a:gd name="connsiteY1" fmla="*/ 0 h 2975527"/>
              <a:gd name="connsiteX0" fmla="*/ 0 w 7933419"/>
              <a:gd name="connsiteY0" fmla="*/ 2794848 h 3006384"/>
              <a:gd name="connsiteX1" fmla="*/ 7933419 w 7933419"/>
              <a:gd name="connsiteY1" fmla="*/ 0 h 3006384"/>
              <a:gd name="connsiteX0" fmla="*/ 0 w 7867644"/>
              <a:gd name="connsiteY0" fmla="*/ 2794848 h 3006384"/>
              <a:gd name="connsiteX1" fmla="*/ 7867644 w 7867644"/>
              <a:gd name="connsiteY1" fmla="*/ 0 h 3006384"/>
              <a:gd name="connsiteX0" fmla="*/ 0 w 3197651"/>
              <a:gd name="connsiteY0" fmla="*/ 0 h 1011361"/>
              <a:gd name="connsiteX1" fmla="*/ 3197651 w 3197651"/>
              <a:gd name="connsiteY1" fmla="*/ 349213 h 1011361"/>
              <a:gd name="connsiteX0" fmla="*/ 0 w 3197651"/>
              <a:gd name="connsiteY0" fmla="*/ 0 h 551058"/>
              <a:gd name="connsiteX1" fmla="*/ 3197651 w 3197651"/>
              <a:gd name="connsiteY1" fmla="*/ 349213 h 551058"/>
              <a:gd name="connsiteX0" fmla="*/ 0 w 3197651"/>
              <a:gd name="connsiteY0" fmla="*/ 0 h 499390"/>
              <a:gd name="connsiteX1" fmla="*/ 3197651 w 3197651"/>
              <a:gd name="connsiteY1" fmla="*/ 349213 h 499390"/>
              <a:gd name="connsiteX0" fmla="*/ 0 w 3197651"/>
              <a:gd name="connsiteY0" fmla="*/ 0 h 421477"/>
              <a:gd name="connsiteX1" fmla="*/ 3197651 w 3197651"/>
              <a:gd name="connsiteY1" fmla="*/ 349213 h 421477"/>
              <a:gd name="connsiteX0" fmla="*/ 0 w 3197651"/>
              <a:gd name="connsiteY0" fmla="*/ 0 h 480912"/>
              <a:gd name="connsiteX1" fmla="*/ 3197651 w 3197651"/>
              <a:gd name="connsiteY1" fmla="*/ 349213 h 480912"/>
              <a:gd name="connsiteX0" fmla="*/ 0 w 3181202"/>
              <a:gd name="connsiteY0" fmla="*/ 0 h 617329"/>
              <a:gd name="connsiteX1" fmla="*/ 3181202 w 3181202"/>
              <a:gd name="connsiteY1" fmla="*/ 540729 h 617329"/>
              <a:gd name="connsiteX0" fmla="*/ 0 w 3181202"/>
              <a:gd name="connsiteY0" fmla="*/ 0 h 589454"/>
              <a:gd name="connsiteX1" fmla="*/ 3181202 w 3181202"/>
              <a:gd name="connsiteY1" fmla="*/ 540729 h 589454"/>
              <a:gd name="connsiteX0" fmla="*/ 0 w 3164753"/>
              <a:gd name="connsiteY0" fmla="*/ 0 h 602523"/>
              <a:gd name="connsiteX1" fmla="*/ 3164753 w 3164753"/>
              <a:gd name="connsiteY1" fmla="*/ 556687 h 602523"/>
              <a:gd name="connsiteX0" fmla="*/ 0 w 3164753"/>
              <a:gd name="connsiteY0" fmla="*/ 0 h 585741"/>
              <a:gd name="connsiteX1" fmla="*/ 3164753 w 3164753"/>
              <a:gd name="connsiteY1" fmla="*/ 556687 h 585741"/>
              <a:gd name="connsiteX0" fmla="*/ 0 w 3164753"/>
              <a:gd name="connsiteY0" fmla="*/ 0 h 588616"/>
              <a:gd name="connsiteX1" fmla="*/ 3164753 w 3164753"/>
              <a:gd name="connsiteY1" fmla="*/ 556687 h 588616"/>
              <a:gd name="connsiteX0" fmla="*/ 0 w 4184262"/>
              <a:gd name="connsiteY0" fmla="*/ 0 h 1346832"/>
              <a:gd name="connsiteX1" fmla="*/ 4184262 w 4184262"/>
              <a:gd name="connsiteY1" fmla="*/ 1338715 h 1346832"/>
              <a:gd name="connsiteX0" fmla="*/ 0 w 4184262"/>
              <a:gd name="connsiteY0" fmla="*/ 0 h 1338716"/>
              <a:gd name="connsiteX1" fmla="*/ 4184262 w 4184262"/>
              <a:gd name="connsiteY1" fmla="*/ 1338715 h 1338716"/>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7922444"/>
              <a:gd name="connsiteY0" fmla="*/ 0 h 1354674"/>
              <a:gd name="connsiteX1" fmla="*/ 7922444 w 7922444"/>
              <a:gd name="connsiteY1" fmla="*/ 1354674 h 1354674"/>
              <a:gd name="connsiteX0" fmla="*/ 0 w 7922444"/>
              <a:gd name="connsiteY0" fmla="*/ 0 h 1354674"/>
              <a:gd name="connsiteX1" fmla="*/ 7922444 w 7922444"/>
              <a:gd name="connsiteY1" fmla="*/ 1354674 h 1354674"/>
              <a:gd name="connsiteX0" fmla="*/ 0 w 7922444"/>
              <a:gd name="connsiteY0" fmla="*/ 0 h 1967324"/>
              <a:gd name="connsiteX1" fmla="*/ 7922444 w 7922444"/>
              <a:gd name="connsiteY1" fmla="*/ 1354674 h 1967324"/>
              <a:gd name="connsiteX0" fmla="*/ 0 w 7856669"/>
              <a:gd name="connsiteY0" fmla="*/ 0 h 1882889"/>
              <a:gd name="connsiteX1" fmla="*/ 7856669 w 7856669"/>
              <a:gd name="connsiteY1" fmla="*/ 1120598 h 1882889"/>
              <a:gd name="connsiteX0" fmla="*/ 0 w 7856669"/>
              <a:gd name="connsiteY0" fmla="*/ 0 h 1907225"/>
              <a:gd name="connsiteX1" fmla="*/ 7856669 w 7856669"/>
              <a:gd name="connsiteY1" fmla="*/ 1120598 h 1907225"/>
              <a:gd name="connsiteX0" fmla="*/ 0 w 7856669"/>
              <a:gd name="connsiteY0" fmla="*/ 0 h 1953216"/>
              <a:gd name="connsiteX1" fmla="*/ 7856669 w 7856669"/>
              <a:gd name="connsiteY1" fmla="*/ 1120598 h 1953216"/>
              <a:gd name="connsiteX0" fmla="*/ 0 w 6146531"/>
              <a:gd name="connsiteY0" fmla="*/ 0 h 2377876"/>
              <a:gd name="connsiteX1" fmla="*/ 6146531 w 6146531"/>
              <a:gd name="connsiteY1" fmla="*/ 2120738 h 2377876"/>
              <a:gd name="connsiteX0" fmla="*/ 0 w 6146531"/>
              <a:gd name="connsiteY0" fmla="*/ 0 h 2353527"/>
              <a:gd name="connsiteX1" fmla="*/ 6146531 w 6146531"/>
              <a:gd name="connsiteY1" fmla="*/ 2120738 h 2353527"/>
              <a:gd name="connsiteX0" fmla="*/ 0 w 6146531"/>
              <a:gd name="connsiteY0" fmla="*/ 0 h 2120739"/>
              <a:gd name="connsiteX1" fmla="*/ 6146531 w 6146531"/>
              <a:gd name="connsiteY1" fmla="*/ 2120738 h 2120739"/>
              <a:gd name="connsiteX0" fmla="*/ 0 w 6124606"/>
              <a:gd name="connsiteY0" fmla="*/ 0 h 2227137"/>
              <a:gd name="connsiteX1" fmla="*/ 6124606 w 6124606"/>
              <a:gd name="connsiteY1" fmla="*/ 2227137 h 2227137"/>
              <a:gd name="connsiteX0" fmla="*/ 0 w 6124606"/>
              <a:gd name="connsiteY0" fmla="*/ 0 h 2227137"/>
              <a:gd name="connsiteX1" fmla="*/ 6124606 w 6124606"/>
              <a:gd name="connsiteY1" fmla="*/ 2227137 h 2227137"/>
              <a:gd name="connsiteX0" fmla="*/ 0 w 6080756"/>
              <a:gd name="connsiteY0" fmla="*/ 0 h 1993062"/>
              <a:gd name="connsiteX1" fmla="*/ 6080756 w 6080756"/>
              <a:gd name="connsiteY1" fmla="*/ 1993062 h 1993062"/>
              <a:gd name="connsiteX0" fmla="*/ 0 w 6080756"/>
              <a:gd name="connsiteY0" fmla="*/ 0 h 2056901"/>
              <a:gd name="connsiteX1" fmla="*/ 6080756 w 6080756"/>
              <a:gd name="connsiteY1" fmla="*/ 2056901 h 2056901"/>
              <a:gd name="connsiteX0" fmla="*/ 0 w 6080756"/>
              <a:gd name="connsiteY0" fmla="*/ 0 h 2056901"/>
              <a:gd name="connsiteX1" fmla="*/ 6080756 w 6080756"/>
              <a:gd name="connsiteY1" fmla="*/ 2056901 h 2056901"/>
              <a:gd name="connsiteX0" fmla="*/ 0 w 6080756"/>
              <a:gd name="connsiteY0" fmla="*/ 0 h 2056901"/>
              <a:gd name="connsiteX1" fmla="*/ 6080756 w 6080756"/>
              <a:gd name="connsiteY1" fmla="*/ 2056901 h 2056901"/>
              <a:gd name="connsiteX0" fmla="*/ 0 w 6064314"/>
              <a:gd name="connsiteY0" fmla="*/ 0 h 2072866"/>
              <a:gd name="connsiteX1" fmla="*/ 6064314 w 6064314"/>
              <a:gd name="connsiteY1" fmla="*/ 2072866 h 2072866"/>
              <a:gd name="connsiteX0" fmla="*/ 0 w 7215365"/>
              <a:gd name="connsiteY0" fmla="*/ 0 h 3493277"/>
              <a:gd name="connsiteX1" fmla="*/ 7215365 w 7215365"/>
              <a:gd name="connsiteY1" fmla="*/ 3493277 h 3493277"/>
              <a:gd name="connsiteX0" fmla="*/ 0 w 7215365"/>
              <a:gd name="connsiteY0" fmla="*/ 0 h 3493277"/>
              <a:gd name="connsiteX1" fmla="*/ 7215365 w 7215365"/>
              <a:gd name="connsiteY1" fmla="*/ 3493277 h 3493277"/>
              <a:gd name="connsiteX0" fmla="*/ 0 w 7182481"/>
              <a:gd name="connsiteY0" fmla="*/ 0 h 3493277"/>
              <a:gd name="connsiteX1" fmla="*/ 7182481 w 7182481"/>
              <a:gd name="connsiteY1" fmla="*/ 3493277 h 3493277"/>
              <a:gd name="connsiteX0" fmla="*/ 0 w 7182481"/>
              <a:gd name="connsiteY0" fmla="*/ 0 h 3493277"/>
              <a:gd name="connsiteX1" fmla="*/ 7182481 w 7182481"/>
              <a:gd name="connsiteY1" fmla="*/ 3493277 h 3493277"/>
              <a:gd name="connsiteX0" fmla="*/ 0 w 7264704"/>
              <a:gd name="connsiteY0" fmla="*/ 0 h 3397516"/>
              <a:gd name="connsiteX1" fmla="*/ 7264704 w 7264704"/>
              <a:gd name="connsiteY1" fmla="*/ 3397516 h 3397516"/>
              <a:gd name="connsiteX0" fmla="*/ 0 w 7346927"/>
              <a:gd name="connsiteY0" fmla="*/ 0 h 3237916"/>
              <a:gd name="connsiteX1" fmla="*/ 7346927 w 7346927"/>
              <a:gd name="connsiteY1" fmla="*/ 3237916 h 3237916"/>
              <a:gd name="connsiteX0" fmla="*/ 0 w 7346927"/>
              <a:gd name="connsiteY0" fmla="*/ 0 h 3237916"/>
              <a:gd name="connsiteX1" fmla="*/ 7346927 w 7346927"/>
              <a:gd name="connsiteY1" fmla="*/ 3237916 h 3237916"/>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7286628"/>
              <a:gd name="connsiteY0" fmla="*/ 0 h 3934813"/>
              <a:gd name="connsiteX1" fmla="*/ 7286628 w 7286628"/>
              <a:gd name="connsiteY1" fmla="*/ 3934813 h 3934813"/>
              <a:gd name="connsiteX0" fmla="*/ 0 w 7286628"/>
              <a:gd name="connsiteY0" fmla="*/ 0 h 3934813"/>
              <a:gd name="connsiteX1" fmla="*/ 7286628 w 7286628"/>
              <a:gd name="connsiteY1" fmla="*/ 3934813 h 3934813"/>
              <a:gd name="connsiteX0" fmla="*/ 0 w 7286628"/>
              <a:gd name="connsiteY0" fmla="*/ 0 h 3934813"/>
              <a:gd name="connsiteX1" fmla="*/ 7286628 w 7286628"/>
              <a:gd name="connsiteY1" fmla="*/ 3934813 h 3934813"/>
              <a:gd name="connsiteX0" fmla="*/ 0 w 7286628"/>
              <a:gd name="connsiteY0" fmla="*/ 0 h 3934813"/>
              <a:gd name="connsiteX1" fmla="*/ 7286628 w 7286628"/>
              <a:gd name="connsiteY1" fmla="*/ 3934813 h 3934813"/>
              <a:gd name="connsiteX0" fmla="*/ 0 w 7286628"/>
              <a:gd name="connsiteY0" fmla="*/ 0 h 3934813"/>
              <a:gd name="connsiteX1" fmla="*/ 4676147 w 7286628"/>
              <a:gd name="connsiteY1" fmla="*/ 1319741 h 3934813"/>
              <a:gd name="connsiteX2" fmla="*/ 7286628 w 7286628"/>
              <a:gd name="connsiteY2" fmla="*/ 3934813 h 3934813"/>
              <a:gd name="connsiteX0" fmla="*/ 0 w 8568142"/>
              <a:gd name="connsiteY0" fmla="*/ 0 h 3934813"/>
              <a:gd name="connsiteX1" fmla="*/ 4676147 w 8568142"/>
              <a:gd name="connsiteY1" fmla="*/ 1319741 h 3934813"/>
              <a:gd name="connsiteX2" fmla="*/ 8498962 w 8568142"/>
              <a:gd name="connsiteY2" fmla="*/ 3370113 h 3934813"/>
              <a:gd name="connsiteX3" fmla="*/ 7286628 w 8568142"/>
              <a:gd name="connsiteY3" fmla="*/ 3934813 h 3934813"/>
              <a:gd name="connsiteX0" fmla="*/ -4 w 8390401"/>
              <a:gd name="connsiteY0" fmla="*/ 1 h 3952466"/>
              <a:gd name="connsiteX1" fmla="*/ 4498406 w 8390401"/>
              <a:gd name="connsiteY1" fmla="*/ 1337394 h 3952466"/>
              <a:gd name="connsiteX2" fmla="*/ 8321221 w 8390401"/>
              <a:gd name="connsiteY2" fmla="*/ 3387766 h 3952466"/>
              <a:gd name="connsiteX3" fmla="*/ 7108887 w 8390401"/>
              <a:gd name="connsiteY3" fmla="*/ 3952466 h 3952466"/>
              <a:gd name="connsiteX0" fmla="*/ -4 w 8390401"/>
              <a:gd name="connsiteY0" fmla="*/ 1 h 3952466"/>
              <a:gd name="connsiteX1" fmla="*/ 4106445 w 8390401"/>
              <a:gd name="connsiteY1" fmla="*/ 1387210 h 3952466"/>
              <a:gd name="connsiteX2" fmla="*/ 8321221 w 8390401"/>
              <a:gd name="connsiteY2" fmla="*/ 3387766 h 3952466"/>
              <a:gd name="connsiteX3" fmla="*/ 7108887 w 8390401"/>
              <a:gd name="connsiteY3" fmla="*/ 3952466 h 3952466"/>
              <a:gd name="connsiteX0" fmla="*/ -4 w 8413090"/>
              <a:gd name="connsiteY0" fmla="*/ 1 h 4075848"/>
              <a:gd name="connsiteX1" fmla="*/ 4106445 w 8413090"/>
              <a:gd name="connsiteY1" fmla="*/ 1387210 h 4075848"/>
              <a:gd name="connsiteX2" fmla="*/ 8321221 w 8413090"/>
              <a:gd name="connsiteY2" fmla="*/ 3387766 h 4075848"/>
              <a:gd name="connsiteX3" fmla="*/ 7615092 w 8413090"/>
              <a:gd name="connsiteY3" fmla="*/ 4075848 h 4075848"/>
              <a:gd name="connsiteX0" fmla="*/ 4 w 8142354"/>
              <a:gd name="connsiteY0" fmla="*/ 1 h 4075848"/>
              <a:gd name="connsiteX1" fmla="*/ 4106453 w 8142354"/>
              <a:gd name="connsiteY1" fmla="*/ 1387210 h 4075848"/>
              <a:gd name="connsiteX2" fmla="*/ 8028979 w 8142354"/>
              <a:gd name="connsiteY2" fmla="*/ 3387767 h 4075848"/>
              <a:gd name="connsiteX3" fmla="*/ 7615100 w 8142354"/>
              <a:gd name="connsiteY3" fmla="*/ 4075848 h 4075848"/>
              <a:gd name="connsiteX0" fmla="*/ -4 w 8156026"/>
              <a:gd name="connsiteY0" fmla="*/ 1 h 4075848"/>
              <a:gd name="connsiteX1" fmla="*/ 4106445 w 8156026"/>
              <a:gd name="connsiteY1" fmla="*/ 1387210 h 4075848"/>
              <a:gd name="connsiteX2" fmla="*/ 8028971 w 8156026"/>
              <a:gd name="connsiteY2" fmla="*/ 3387767 h 4075848"/>
              <a:gd name="connsiteX3" fmla="*/ 7615092 w 8156026"/>
              <a:gd name="connsiteY3" fmla="*/ 4075848 h 4075848"/>
              <a:gd name="connsiteX0" fmla="*/ 4 w 8205395"/>
              <a:gd name="connsiteY0" fmla="*/ 1 h 4082624"/>
              <a:gd name="connsiteX1" fmla="*/ 4106453 w 8205395"/>
              <a:gd name="connsiteY1" fmla="*/ 1387210 h 4082624"/>
              <a:gd name="connsiteX2" fmla="*/ 8028979 w 8205395"/>
              <a:gd name="connsiteY2" fmla="*/ 3387767 h 4082624"/>
              <a:gd name="connsiteX3" fmla="*/ 7931703 w 8205395"/>
              <a:gd name="connsiteY3" fmla="*/ 4082624 h 4082624"/>
              <a:gd name="connsiteX0" fmla="*/ -4 w 8205387"/>
              <a:gd name="connsiteY0" fmla="*/ 1 h 4082624"/>
              <a:gd name="connsiteX1" fmla="*/ 4106445 w 8205387"/>
              <a:gd name="connsiteY1" fmla="*/ 1387210 h 4082624"/>
              <a:gd name="connsiteX2" fmla="*/ 8028971 w 8205387"/>
              <a:gd name="connsiteY2" fmla="*/ 3387767 h 4082624"/>
              <a:gd name="connsiteX3" fmla="*/ 7931695 w 8205387"/>
              <a:gd name="connsiteY3" fmla="*/ 4082624 h 4082624"/>
              <a:gd name="connsiteX0" fmla="*/ -4 w 7932243"/>
              <a:gd name="connsiteY0" fmla="*/ 1 h 4082624"/>
              <a:gd name="connsiteX1" fmla="*/ 4106445 w 7932243"/>
              <a:gd name="connsiteY1" fmla="*/ 1387210 h 4082624"/>
              <a:gd name="connsiteX2" fmla="*/ 6361130 w 7932243"/>
              <a:gd name="connsiteY2" fmla="*/ 3414765 h 4082624"/>
              <a:gd name="connsiteX3" fmla="*/ 7931695 w 7932243"/>
              <a:gd name="connsiteY3" fmla="*/ 4082624 h 4082624"/>
              <a:gd name="connsiteX0" fmla="*/ -4 w 7932243"/>
              <a:gd name="connsiteY0" fmla="*/ 1 h 4082624"/>
              <a:gd name="connsiteX1" fmla="*/ 2834714 w 7932243"/>
              <a:gd name="connsiteY1" fmla="*/ 1873074 h 4082624"/>
              <a:gd name="connsiteX2" fmla="*/ 6361130 w 7932243"/>
              <a:gd name="connsiteY2" fmla="*/ 3414765 h 4082624"/>
              <a:gd name="connsiteX3" fmla="*/ 7931695 w 7932243"/>
              <a:gd name="connsiteY3" fmla="*/ 4082624 h 4082624"/>
              <a:gd name="connsiteX0" fmla="*/ -4 w 7931935"/>
              <a:gd name="connsiteY0" fmla="*/ 1 h 4082624"/>
              <a:gd name="connsiteX1" fmla="*/ 2834714 w 7931935"/>
              <a:gd name="connsiteY1" fmla="*/ 1873074 h 4082624"/>
              <a:gd name="connsiteX2" fmla="*/ 4839221 w 7931935"/>
              <a:gd name="connsiteY2" fmla="*/ 2969387 h 4082624"/>
              <a:gd name="connsiteX3" fmla="*/ 7931695 w 7931935"/>
              <a:gd name="connsiteY3" fmla="*/ 4082624 h 4082624"/>
              <a:gd name="connsiteX0" fmla="*/ -4 w 7931935"/>
              <a:gd name="connsiteY0" fmla="*/ 1 h 4082624"/>
              <a:gd name="connsiteX1" fmla="*/ 2834714 w 7931935"/>
              <a:gd name="connsiteY1" fmla="*/ 1873074 h 4082624"/>
              <a:gd name="connsiteX2" fmla="*/ 4839221 w 7931935"/>
              <a:gd name="connsiteY2" fmla="*/ 2969387 h 4082624"/>
              <a:gd name="connsiteX3" fmla="*/ 7931695 w 7931935"/>
              <a:gd name="connsiteY3" fmla="*/ 4082624 h 4082624"/>
              <a:gd name="connsiteX0" fmla="*/ -4 w 7931959"/>
              <a:gd name="connsiteY0" fmla="*/ 1 h 4082624"/>
              <a:gd name="connsiteX1" fmla="*/ 2834714 w 7931959"/>
              <a:gd name="connsiteY1" fmla="*/ 1873074 h 4082624"/>
              <a:gd name="connsiteX2" fmla="*/ 4839221 w 7931959"/>
              <a:gd name="connsiteY2" fmla="*/ 2969387 h 4082624"/>
              <a:gd name="connsiteX3" fmla="*/ 7931695 w 7931959"/>
              <a:gd name="connsiteY3" fmla="*/ 4082624 h 4082624"/>
              <a:gd name="connsiteX0" fmla="*/ -4 w 7244084"/>
              <a:gd name="connsiteY0" fmla="*/ 1 h 3583262"/>
              <a:gd name="connsiteX1" fmla="*/ 2834714 w 7244084"/>
              <a:gd name="connsiteY1" fmla="*/ 1873074 h 3583262"/>
              <a:gd name="connsiteX2" fmla="*/ 4839221 w 7244084"/>
              <a:gd name="connsiteY2" fmla="*/ 2969387 h 3583262"/>
              <a:gd name="connsiteX3" fmla="*/ 7243712 w 7244084"/>
              <a:gd name="connsiteY3" fmla="*/ 3583262 h 3583262"/>
              <a:gd name="connsiteX0" fmla="*/ -4 w 7243712"/>
              <a:gd name="connsiteY0" fmla="*/ 1 h 3583262"/>
              <a:gd name="connsiteX1" fmla="*/ 2834714 w 7243712"/>
              <a:gd name="connsiteY1" fmla="*/ 1873074 h 3583262"/>
              <a:gd name="connsiteX2" fmla="*/ 4839221 w 7243712"/>
              <a:gd name="connsiteY2" fmla="*/ 2969387 h 3583262"/>
              <a:gd name="connsiteX3" fmla="*/ 7243712 w 7243712"/>
              <a:gd name="connsiteY3" fmla="*/ 3583262 h 3583262"/>
              <a:gd name="connsiteX0" fmla="*/ -4 w 7243712"/>
              <a:gd name="connsiteY0" fmla="*/ 1 h 3583262"/>
              <a:gd name="connsiteX1" fmla="*/ 2834714 w 7243712"/>
              <a:gd name="connsiteY1" fmla="*/ 1873074 h 3583262"/>
              <a:gd name="connsiteX2" fmla="*/ 4839221 w 7243712"/>
              <a:gd name="connsiteY2" fmla="*/ 2969387 h 3583262"/>
              <a:gd name="connsiteX3" fmla="*/ 7243712 w 7243712"/>
              <a:gd name="connsiteY3" fmla="*/ 3583262 h 3583262"/>
            </a:gdLst>
            <a:ahLst/>
            <a:cxnLst>
              <a:cxn ang="0">
                <a:pos x="connsiteX0" y="connsiteY0"/>
              </a:cxn>
              <a:cxn ang="0">
                <a:pos x="connsiteX1" y="connsiteY1"/>
              </a:cxn>
              <a:cxn ang="0">
                <a:pos x="connsiteX2" y="connsiteY2"/>
              </a:cxn>
              <a:cxn ang="0">
                <a:pos x="connsiteX3" y="connsiteY3"/>
              </a:cxn>
            </a:cxnLst>
            <a:rect l="l" t="t" r="r" b="b"/>
            <a:pathLst>
              <a:path w="7243712" h="3583262">
                <a:moveTo>
                  <a:pt x="-4" y="1"/>
                </a:moveTo>
                <a:cubicBezTo>
                  <a:pt x="696657" y="370545"/>
                  <a:pt x="2028177" y="1378176"/>
                  <a:pt x="2834714" y="1873074"/>
                </a:cubicBezTo>
                <a:cubicBezTo>
                  <a:pt x="3641251" y="2367972"/>
                  <a:pt x="4133118" y="2695493"/>
                  <a:pt x="4839221" y="2969387"/>
                </a:cubicBezTo>
                <a:cubicBezTo>
                  <a:pt x="5545323" y="3256773"/>
                  <a:pt x="6439212" y="3480439"/>
                  <a:pt x="7243712" y="3583262"/>
                </a:cubicBezTo>
              </a:path>
            </a:pathLst>
          </a:custGeom>
          <a:noFill/>
          <a:ln w="12700" cap="flat" cmpd="sng" algn="ctr">
            <a:solidFill>
              <a:srgbClr val="13835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de-DE"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03" name="Freeform 103"/>
          <p:cNvSpPr/>
          <p:nvPr/>
        </p:nvSpPr>
        <p:spPr bwMode="auto">
          <a:xfrm rot="20955570" flipH="1">
            <a:off x="2475365" y="3246887"/>
            <a:ext cx="45719" cy="115030"/>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2875322"/>
              <a:gd name="connsiteY0" fmla="*/ 0 h 1850561"/>
              <a:gd name="connsiteX1" fmla="*/ 2875322 w 2875322"/>
              <a:gd name="connsiteY1" fmla="*/ 1850561 h 1850561"/>
              <a:gd name="connsiteX0" fmla="*/ 0 w 2875322"/>
              <a:gd name="connsiteY0" fmla="*/ 0 h 1850561"/>
              <a:gd name="connsiteX1" fmla="*/ 2875322 w 2875322"/>
              <a:gd name="connsiteY1" fmla="*/ 1850561 h 1850561"/>
              <a:gd name="connsiteX0" fmla="*/ 0 w 2894703"/>
              <a:gd name="connsiteY0" fmla="*/ 0 h 1850561"/>
              <a:gd name="connsiteX1" fmla="*/ 2894703 w 2894703"/>
              <a:gd name="connsiteY1" fmla="*/ 1850561 h 1850561"/>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0239"/>
              <a:gd name="connsiteY0" fmla="*/ 0 h 2300301"/>
              <a:gd name="connsiteX1" fmla="*/ 3480239 w 3480239"/>
              <a:gd name="connsiteY1" fmla="*/ 2300301 h 2300301"/>
              <a:gd name="connsiteX0" fmla="*/ 0 w 3480239"/>
              <a:gd name="connsiteY0" fmla="*/ 0 h 2300301"/>
              <a:gd name="connsiteX1" fmla="*/ 3480239 w 348023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521439"/>
              <a:gd name="connsiteY0" fmla="*/ 0 h 2232170"/>
              <a:gd name="connsiteX1" fmla="*/ 3521439 w 3521439"/>
              <a:gd name="connsiteY1" fmla="*/ 2232170 h 2232170"/>
              <a:gd name="connsiteX0" fmla="*/ 0 w 3521439"/>
              <a:gd name="connsiteY0" fmla="*/ 0 h 2232170"/>
              <a:gd name="connsiteX1" fmla="*/ 3521439 w 3521439"/>
              <a:gd name="connsiteY1" fmla="*/ 2232170 h 2232170"/>
              <a:gd name="connsiteX0" fmla="*/ 0 w 3521439"/>
              <a:gd name="connsiteY0" fmla="*/ 0 h 2209460"/>
              <a:gd name="connsiteX1" fmla="*/ 3521439 w 3521439"/>
              <a:gd name="connsiteY1" fmla="*/ 2209460 h 2209460"/>
              <a:gd name="connsiteX0" fmla="*/ 0 w 3521439"/>
              <a:gd name="connsiteY0" fmla="*/ 0 h 2209460"/>
              <a:gd name="connsiteX1" fmla="*/ 3521439 w 3521439"/>
              <a:gd name="connsiteY1" fmla="*/ 2209460 h 2209460"/>
              <a:gd name="connsiteX0" fmla="*/ 0 w 3166484"/>
              <a:gd name="connsiteY0" fmla="*/ 0 h 1509983"/>
              <a:gd name="connsiteX1" fmla="*/ 3166484 w 3166484"/>
              <a:gd name="connsiteY1" fmla="*/ 1509983 h 1509983"/>
              <a:gd name="connsiteX0" fmla="*/ 0 w 2028493"/>
              <a:gd name="connsiteY0" fmla="*/ 0 h 405367"/>
              <a:gd name="connsiteX1" fmla="*/ 2028493 w 2028493"/>
              <a:gd name="connsiteY1" fmla="*/ 62202 h 405367"/>
              <a:gd name="connsiteX0" fmla="*/ 0 w 2028493"/>
              <a:gd name="connsiteY0" fmla="*/ 0 h 410101"/>
              <a:gd name="connsiteX1" fmla="*/ 2028493 w 2028493"/>
              <a:gd name="connsiteY1" fmla="*/ 62202 h 410101"/>
              <a:gd name="connsiteX0" fmla="*/ 0 w 2049034"/>
              <a:gd name="connsiteY0" fmla="*/ 0 h 413154"/>
              <a:gd name="connsiteX1" fmla="*/ 2049034 w 2049034"/>
              <a:gd name="connsiteY1" fmla="*/ 76396 h 413154"/>
              <a:gd name="connsiteX0" fmla="*/ 0 w 2049034"/>
              <a:gd name="connsiteY0" fmla="*/ 143813 h 220209"/>
              <a:gd name="connsiteX1" fmla="*/ 2049034 w 2049034"/>
              <a:gd name="connsiteY1" fmla="*/ 220209 h 220209"/>
              <a:gd name="connsiteX0" fmla="*/ 0 w 2049034"/>
              <a:gd name="connsiteY0" fmla="*/ 154753 h 231149"/>
              <a:gd name="connsiteX1" fmla="*/ 2049034 w 2049034"/>
              <a:gd name="connsiteY1" fmla="*/ 231149 h 231149"/>
              <a:gd name="connsiteX0" fmla="*/ 0 w 2057250"/>
              <a:gd name="connsiteY0" fmla="*/ 145732 h 242000"/>
              <a:gd name="connsiteX1" fmla="*/ 2057250 w 2057250"/>
              <a:gd name="connsiteY1" fmla="*/ 242000 h 242000"/>
              <a:gd name="connsiteX0" fmla="*/ 0 w 2057250"/>
              <a:gd name="connsiteY0" fmla="*/ 155638 h 251906"/>
              <a:gd name="connsiteX1" fmla="*/ 2057250 w 2057250"/>
              <a:gd name="connsiteY1" fmla="*/ 251906 h 251906"/>
              <a:gd name="connsiteX0" fmla="*/ 0 w 2057250"/>
              <a:gd name="connsiteY0" fmla="*/ 154153 h 250421"/>
              <a:gd name="connsiteX1" fmla="*/ 2057250 w 2057250"/>
              <a:gd name="connsiteY1" fmla="*/ 250421 h 250421"/>
              <a:gd name="connsiteX0" fmla="*/ 0 w 2057250"/>
              <a:gd name="connsiteY0" fmla="*/ 175529 h 271797"/>
              <a:gd name="connsiteX1" fmla="*/ 2057250 w 2057250"/>
              <a:gd name="connsiteY1" fmla="*/ 271797 h 271797"/>
              <a:gd name="connsiteX0" fmla="*/ 0 w 1925785"/>
              <a:gd name="connsiteY0" fmla="*/ 146190 h 318159"/>
              <a:gd name="connsiteX1" fmla="*/ 1925785 w 1925785"/>
              <a:gd name="connsiteY1" fmla="*/ 318159 h 318159"/>
              <a:gd name="connsiteX0" fmla="*/ 0 w 1942218"/>
              <a:gd name="connsiteY0" fmla="*/ 143309 h 323795"/>
              <a:gd name="connsiteX1" fmla="*/ 1942218 w 1942218"/>
              <a:gd name="connsiteY1" fmla="*/ 323795 h 323795"/>
              <a:gd name="connsiteX0" fmla="*/ 0 w 1942218"/>
              <a:gd name="connsiteY0" fmla="*/ 1 h 180487"/>
              <a:gd name="connsiteX1" fmla="*/ 1942218 w 1942218"/>
              <a:gd name="connsiteY1" fmla="*/ 180487 h 180487"/>
              <a:gd name="connsiteX0" fmla="*/ 0 w 1966867"/>
              <a:gd name="connsiteY0" fmla="*/ 0 h 171970"/>
              <a:gd name="connsiteX1" fmla="*/ 1966867 w 1966867"/>
              <a:gd name="connsiteY1" fmla="*/ 171971 h 171970"/>
              <a:gd name="connsiteX0" fmla="*/ 0 w 1966867"/>
              <a:gd name="connsiteY0" fmla="*/ 0 h 171971"/>
              <a:gd name="connsiteX1" fmla="*/ 1966867 w 1966867"/>
              <a:gd name="connsiteY1" fmla="*/ 171971 h 171971"/>
              <a:gd name="connsiteX0" fmla="*/ 0 w 1958651"/>
              <a:gd name="connsiteY0" fmla="*/ 0 h 186165"/>
              <a:gd name="connsiteX1" fmla="*/ 1958651 w 1958651"/>
              <a:gd name="connsiteY1" fmla="*/ 186165 h 186165"/>
              <a:gd name="connsiteX0" fmla="*/ 0 w 1954543"/>
              <a:gd name="connsiteY0" fmla="*/ 0 h 203197"/>
              <a:gd name="connsiteX1" fmla="*/ 1954543 w 1954543"/>
              <a:gd name="connsiteY1" fmla="*/ 203197 h 203197"/>
              <a:gd name="connsiteX0" fmla="*/ 0 w 2324286"/>
              <a:gd name="connsiteY0" fmla="*/ 0 h 475721"/>
              <a:gd name="connsiteX1" fmla="*/ 2324286 w 2324286"/>
              <a:gd name="connsiteY1" fmla="*/ 475721 h 475721"/>
              <a:gd name="connsiteX0" fmla="*/ 0 w 2324286"/>
              <a:gd name="connsiteY0" fmla="*/ 0 h 479624"/>
              <a:gd name="connsiteX1" fmla="*/ 2324286 w 2324286"/>
              <a:gd name="connsiteY1" fmla="*/ 475721 h 479624"/>
              <a:gd name="connsiteX0" fmla="*/ 0 w 2324286"/>
              <a:gd name="connsiteY0" fmla="*/ 0 h 480172"/>
              <a:gd name="connsiteX1" fmla="*/ 2324286 w 2324286"/>
              <a:gd name="connsiteY1" fmla="*/ 475721 h 480172"/>
              <a:gd name="connsiteX0" fmla="*/ 0 w 2324286"/>
              <a:gd name="connsiteY0" fmla="*/ 0 h 475721"/>
              <a:gd name="connsiteX1" fmla="*/ 2324286 w 2324286"/>
              <a:gd name="connsiteY1" fmla="*/ 475721 h 475721"/>
              <a:gd name="connsiteX0" fmla="*/ 0 w 2316069"/>
              <a:gd name="connsiteY0" fmla="*/ 0 h 498431"/>
              <a:gd name="connsiteX1" fmla="*/ 2316069 w 2316069"/>
              <a:gd name="connsiteY1" fmla="*/ 498431 h 498431"/>
              <a:gd name="connsiteX0" fmla="*/ 0 w 2316069"/>
              <a:gd name="connsiteY0" fmla="*/ 0 h 498431"/>
              <a:gd name="connsiteX1" fmla="*/ 2316069 w 2316069"/>
              <a:gd name="connsiteY1" fmla="*/ 498431 h 49843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04754"/>
              <a:gd name="connsiteY0" fmla="*/ 0 h 1015091"/>
              <a:gd name="connsiteX1" fmla="*/ 4604754 w 4604754"/>
              <a:gd name="connsiteY1" fmla="*/ 1015091 h 1015091"/>
              <a:gd name="connsiteX0" fmla="*/ 0 w 4604754"/>
              <a:gd name="connsiteY0" fmla="*/ 0 h 1015091"/>
              <a:gd name="connsiteX1" fmla="*/ 4604754 w 4604754"/>
              <a:gd name="connsiteY1" fmla="*/ 1015091 h 1015091"/>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23432 h 1021455"/>
              <a:gd name="connsiteX1" fmla="*/ 4604754 w 4604754"/>
              <a:gd name="connsiteY1" fmla="*/ 1021455 h 1021455"/>
              <a:gd name="connsiteX0" fmla="*/ 0 w 4621488"/>
              <a:gd name="connsiteY0" fmla="*/ 28563 h 866964"/>
              <a:gd name="connsiteX1" fmla="*/ 4621488 w 4621488"/>
              <a:gd name="connsiteY1" fmla="*/ 866966 h 866964"/>
              <a:gd name="connsiteX0" fmla="*/ 0 w 4621488"/>
              <a:gd name="connsiteY0" fmla="*/ 35875 h 874276"/>
              <a:gd name="connsiteX1" fmla="*/ 4621488 w 4621488"/>
              <a:gd name="connsiteY1" fmla="*/ 874278 h 874276"/>
              <a:gd name="connsiteX0" fmla="*/ 2 w 4634037"/>
              <a:gd name="connsiteY0" fmla="*/ 44537 h 763234"/>
              <a:gd name="connsiteX1" fmla="*/ 4634037 w 4634037"/>
              <a:gd name="connsiteY1" fmla="*/ 763236 h 763234"/>
              <a:gd name="connsiteX0" fmla="*/ 2 w 4634037"/>
              <a:gd name="connsiteY0" fmla="*/ -3 h 718694"/>
              <a:gd name="connsiteX1" fmla="*/ 4634037 w 4634037"/>
              <a:gd name="connsiteY1" fmla="*/ 718696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1413475"/>
              <a:gd name="connsiteY0" fmla="*/ 606407 h 728390"/>
              <a:gd name="connsiteX1" fmla="*/ 1413474 w 1413475"/>
              <a:gd name="connsiteY1" fmla="*/ 126977 h 728390"/>
              <a:gd name="connsiteX0" fmla="*/ 2 w 1413475"/>
              <a:gd name="connsiteY0" fmla="*/ 479431 h 721543"/>
              <a:gd name="connsiteX1" fmla="*/ 1413474 w 1413475"/>
              <a:gd name="connsiteY1" fmla="*/ 1 h 721543"/>
              <a:gd name="connsiteX0" fmla="*/ 3 w 1605506"/>
              <a:gd name="connsiteY0" fmla="*/ 487353 h 727739"/>
              <a:gd name="connsiteX1" fmla="*/ 1605505 w 1605506"/>
              <a:gd name="connsiteY1" fmla="*/ 1 h 727739"/>
              <a:gd name="connsiteX0" fmla="*/ 3 w 1605506"/>
              <a:gd name="connsiteY0" fmla="*/ 487353 h 595674"/>
              <a:gd name="connsiteX1" fmla="*/ 1605505 w 1605506"/>
              <a:gd name="connsiteY1" fmla="*/ 1 h 595674"/>
              <a:gd name="connsiteX0" fmla="*/ 3 w 1573179"/>
              <a:gd name="connsiteY0" fmla="*/ 635014 h 720486"/>
              <a:gd name="connsiteX1" fmla="*/ 1573180 w 1573179"/>
              <a:gd name="connsiteY1" fmla="*/ 1 h 720486"/>
              <a:gd name="connsiteX0" fmla="*/ 3 w 1573179"/>
              <a:gd name="connsiteY0" fmla="*/ 635014 h 727984"/>
              <a:gd name="connsiteX1" fmla="*/ 1573180 w 1573179"/>
              <a:gd name="connsiteY1" fmla="*/ 1 h 727984"/>
              <a:gd name="connsiteX0" fmla="*/ 3 w 1619069"/>
              <a:gd name="connsiteY0" fmla="*/ 464741 h 589089"/>
              <a:gd name="connsiteX1" fmla="*/ 1619069 w 1619069"/>
              <a:gd name="connsiteY1" fmla="*/ 1 h 589089"/>
              <a:gd name="connsiteX0" fmla="*/ 3 w 1619069"/>
              <a:gd name="connsiteY0" fmla="*/ 464741 h 644508"/>
              <a:gd name="connsiteX1" fmla="*/ 1619069 w 1619069"/>
              <a:gd name="connsiteY1" fmla="*/ 1 h 644508"/>
              <a:gd name="connsiteX0" fmla="*/ 3 w 1619069"/>
              <a:gd name="connsiteY0" fmla="*/ 464741 h 573752"/>
              <a:gd name="connsiteX1" fmla="*/ 1619069 w 1619069"/>
              <a:gd name="connsiteY1" fmla="*/ 1 h 573752"/>
              <a:gd name="connsiteX0" fmla="*/ 3 w 1619069"/>
              <a:gd name="connsiteY0" fmla="*/ 496657 h 598698"/>
              <a:gd name="connsiteX1" fmla="*/ 1619069 w 1619069"/>
              <a:gd name="connsiteY1" fmla="*/ 0 h 598698"/>
              <a:gd name="connsiteX0" fmla="*/ 3 w 7916977"/>
              <a:gd name="connsiteY0" fmla="*/ 2826772 h 2841912"/>
              <a:gd name="connsiteX1" fmla="*/ 7916977 w 7916977"/>
              <a:gd name="connsiteY1" fmla="*/ 0 h 2841912"/>
              <a:gd name="connsiteX0" fmla="*/ 3 w 7916977"/>
              <a:gd name="connsiteY0" fmla="*/ 2826772 h 2846255"/>
              <a:gd name="connsiteX1" fmla="*/ 7916977 w 7916977"/>
              <a:gd name="connsiteY1" fmla="*/ 0 h 2846255"/>
              <a:gd name="connsiteX0" fmla="*/ 3 w 7916977"/>
              <a:gd name="connsiteY0" fmla="*/ 2826772 h 3052074"/>
              <a:gd name="connsiteX1" fmla="*/ 7916977 w 7916977"/>
              <a:gd name="connsiteY1" fmla="*/ 0 h 3052074"/>
              <a:gd name="connsiteX0" fmla="*/ 3 w 7916977"/>
              <a:gd name="connsiteY0" fmla="*/ 2826772 h 3005674"/>
              <a:gd name="connsiteX1" fmla="*/ 7916977 w 7916977"/>
              <a:gd name="connsiteY1" fmla="*/ 0 h 3005674"/>
              <a:gd name="connsiteX0" fmla="*/ 0 w 7916977"/>
              <a:gd name="connsiteY0" fmla="*/ 2778890 h 2960467"/>
              <a:gd name="connsiteX1" fmla="*/ 7916977 w 7916977"/>
              <a:gd name="connsiteY1" fmla="*/ 0 h 2960467"/>
              <a:gd name="connsiteX0" fmla="*/ 0 w 7933419"/>
              <a:gd name="connsiteY0" fmla="*/ 2794848 h 2975527"/>
              <a:gd name="connsiteX1" fmla="*/ 7933419 w 7933419"/>
              <a:gd name="connsiteY1" fmla="*/ 0 h 2975527"/>
              <a:gd name="connsiteX0" fmla="*/ 0 w 7933419"/>
              <a:gd name="connsiteY0" fmla="*/ 2794848 h 3006384"/>
              <a:gd name="connsiteX1" fmla="*/ 7933419 w 7933419"/>
              <a:gd name="connsiteY1" fmla="*/ 0 h 3006384"/>
              <a:gd name="connsiteX0" fmla="*/ 0 w 7867644"/>
              <a:gd name="connsiteY0" fmla="*/ 2794848 h 3006384"/>
              <a:gd name="connsiteX1" fmla="*/ 7867644 w 7867644"/>
              <a:gd name="connsiteY1" fmla="*/ 0 h 3006384"/>
              <a:gd name="connsiteX0" fmla="*/ 0 w 3197651"/>
              <a:gd name="connsiteY0" fmla="*/ 0 h 1011361"/>
              <a:gd name="connsiteX1" fmla="*/ 3197651 w 3197651"/>
              <a:gd name="connsiteY1" fmla="*/ 349213 h 1011361"/>
              <a:gd name="connsiteX0" fmla="*/ 0 w 3197651"/>
              <a:gd name="connsiteY0" fmla="*/ 0 h 551058"/>
              <a:gd name="connsiteX1" fmla="*/ 3197651 w 3197651"/>
              <a:gd name="connsiteY1" fmla="*/ 349213 h 551058"/>
              <a:gd name="connsiteX0" fmla="*/ 0 w 3197651"/>
              <a:gd name="connsiteY0" fmla="*/ 0 h 499390"/>
              <a:gd name="connsiteX1" fmla="*/ 3197651 w 3197651"/>
              <a:gd name="connsiteY1" fmla="*/ 349213 h 499390"/>
              <a:gd name="connsiteX0" fmla="*/ 0 w 3197651"/>
              <a:gd name="connsiteY0" fmla="*/ 0 h 421477"/>
              <a:gd name="connsiteX1" fmla="*/ 3197651 w 3197651"/>
              <a:gd name="connsiteY1" fmla="*/ 349213 h 421477"/>
              <a:gd name="connsiteX0" fmla="*/ 0 w 3197651"/>
              <a:gd name="connsiteY0" fmla="*/ 0 h 480912"/>
              <a:gd name="connsiteX1" fmla="*/ 3197651 w 3197651"/>
              <a:gd name="connsiteY1" fmla="*/ 349213 h 480912"/>
              <a:gd name="connsiteX0" fmla="*/ 0 w 3181202"/>
              <a:gd name="connsiteY0" fmla="*/ 0 h 617329"/>
              <a:gd name="connsiteX1" fmla="*/ 3181202 w 3181202"/>
              <a:gd name="connsiteY1" fmla="*/ 540729 h 617329"/>
              <a:gd name="connsiteX0" fmla="*/ 0 w 3181202"/>
              <a:gd name="connsiteY0" fmla="*/ 0 h 589454"/>
              <a:gd name="connsiteX1" fmla="*/ 3181202 w 3181202"/>
              <a:gd name="connsiteY1" fmla="*/ 540729 h 589454"/>
              <a:gd name="connsiteX0" fmla="*/ 0 w 3164753"/>
              <a:gd name="connsiteY0" fmla="*/ 0 h 602523"/>
              <a:gd name="connsiteX1" fmla="*/ 3164753 w 3164753"/>
              <a:gd name="connsiteY1" fmla="*/ 556687 h 602523"/>
              <a:gd name="connsiteX0" fmla="*/ 0 w 3164753"/>
              <a:gd name="connsiteY0" fmla="*/ 0 h 585741"/>
              <a:gd name="connsiteX1" fmla="*/ 3164753 w 3164753"/>
              <a:gd name="connsiteY1" fmla="*/ 556687 h 585741"/>
              <a:gd name="connsiteX0" fmla="*/ 0 w 3164753"/>
              <a:gd name="connsiteY0" fmla="*/ 0 h 588616"/>
              <a:gd name="connsiteX1" fmla="*/ 3164753 w 3164753"/>
              <a:gd name="connsiteY1" fmla="*/ 556687 h 588616"/>
              <a:gd name="connsiteX0" fmla="*/ 0 w 4184262"/>
              <a:gd name="connsiteY0" fmla="*/ 0 h 1346832"/>
              <a:gd name="connsiteX1" fmla="*/ 4184262 w 4184262"/>
              <a:gd name="connsiteY1" fmla="*/ 1338715 h 1346832"/>
              <a:gd name="connsiteX0" fmla="*/ 0 w 4184262"/>
              <a:gd name="connsiteY0" fmla="*/ 0 h 1338716"/>
              <a:gd name="connsiteX1" fmla="*/ 4184262 w 4184262"/>
              <a:gd name="connsiteY1" fmla="*/ 1338715 h 1338716"/>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7922444"/>
              <a:gd name="connsiteY0" fmla="*/ 0 h 1354674"/>
              <a:gd name="connsiteX1" fmla="*/ 7922444 w 7922444"/>
              <a:gd name="connsiteY1" fmla="*/ 1354674 h 1354674"/>
              <a:gd name="connsiteX0" fmla="*/ 0 w 7922444"/>
              <a:gd name="connsiteY0" fmla="*/ 0 h 1354674"/>
              <a:gd name="connsiteX1" fmla="*/ 7922444 w 7922444"/>
              <a:gd name="connsiteY1" fmla="*/ 1354674 h 1354674"/>
              <a:gd name="connsiteX0" fmla="*/ 0 w 7922444"/>
              <a:gd name="connsiteY0" fmla="*/ 0 h 1967324"/>
              <a:gd name="connsiteX1" fmla="*/ 7922444 w 7922444"/>
              <a:gd name="connsiteY1" fmla="*/ 1354674 h 1967324"/>
              <a:gd name="connsiteX0" fmla="*/ 0 w 7856669"/>
              <a:gd name="connsiteY0" fmla="*/ 0 h 1882889"/>
              <a:gd name="connsiteX1" fmla="*/ 7856669 w 7856669"/>
              <a:gd name="connsiteY1" fmla="*/ 1120598 h 1882889"/>
              <a:gd name="connsiteX0" fmla="*/ 0 w 7856669"/>
              <a:gd name="connsiteY0" fmla="*/ 0 h 1907225"/>
              <a:gd name="connsiteX1" fmla="*/ 7856669 w 7856669"/>
              <a:gd name="connsiteY1" fmla="*/ 1120598 h 1907225"/>
              <a:gd name="connsiteX0" fmla="*/ 0 w 7856669"/>
              <a:gd name="connsiteY0" fmla="*/ 0 h 1953216"/>
              <a:gd name="connsiteX1" fmla="*/ 7856669 w 7856669"/>
              <a:gd name="connsiteY1" fmla="*/ 1120598 h 1953216"/>
              <a:gd name="connsiteX0" fmla="*/ 0 w 6146531"/>
              <a:gd name="connsiteY0" fmla="*/ 0 h 2377876"/>
              <a:gd name="connsiteX1" fmla="*/ 6146531 w 6146531"/>
              <a:gd name="connsiteY1" fmla="*/ 2120738 h 2377876"/>
              <a:gd name="connsiteX0" fmla="*/ 0 w 6146531"/>
              <a:gd name="connsiteY0" fmla="*/ 0 h 2353527"/>
              <a:gd name="connsiteX1" fmla="*/ 6146531 w 6146531"/>
              <a:gd name="connsiteY1" fmla="*/ 2120738 h 2353527"/>
              <a:gd name="connsiteX0" fmla="*/ 0 w 6146531"/>
              <a:gd name="connsiteY0" fmla="*/ 0 h 2120739"/>
              <a:gd name="connsiteX1" fmla="*/ 6146531 w 6146531"/>
              <a:gd name="connsiteY1" fmla="*/ 2120738 h 2120739"/>
              <a:gd name="connsiteX0" fmla="*/ 0 w 6124606"/>
              <a:gd name="connsiteY0" fmla="*/ 0 h 2227137"/>
              <a:gd name="connsiteX1" fmla="*/ 6124606 w 6124606"/>
              <a:gd name="connsiteY1" fmla="*/ 2227137 h 2227137"/>
              <a:gd name="connsiteX0" fmla="*/ 0 w 6124606"/>
              <a:gd name="connsiteY0" fmla="*/ 0 h 2227137"/>
              <a:gd name="connsiteX1" fmla="*/ 6124606 w 6124606"/>
              <a:gd name="connsiteY1" fmla="*/ 2227137 h 2227137"/>
              <a:gd name="connsiteX0" fmla="*/ 0 w 6080756"/>
              <a:gd name="connsiteY0" fmla="*/ 0 h 1993062"/>
              <a:gd name="connsiteX1" fmla="*/ 6080756 w 6080756"/>
              <a:gd name="connsiteY1" fmla="*/ 1993062 h 1993062"/>
              <a:gd name="connsiteX0" fmla="*/ 0 w 6080756"/>
              <a:gd name="connsiteY0" fmla="*/ 0 h 2056901"/>
              <a:gd name="connsiteX1" fmla="*/ 6080756 w 6080756"/>
              <a:gd name="connsiteY1" fmla="*/ 2056901 h 2056901"/>
              <a:gd name="connsiteX0" fmla="*/ 0 w 6080756"/>
              <a:gd name="connsiteY0" fmla="*/ 0 h 2056901"/>
              <a:gd name="connsiteX1" fmla="*/ 6080756 w 6080756"/>
              <a:gd name="connsiteY1" fmla="*/ 2056901 h 2056901"/>
              <a:gd name="connsiteX0" fmla="*/ 0 w 6080756"/>
              <a:gd name="connsiteY0" fmla="*/ 0 h 2056901"/>
              <a:gd name="connsiteX1" fmla="*/ 6080756 w 6080756"/>
              <a:gd name="connsiteY1" fmla="*/ 2056901 h 2056901"/>
              <a:gd name="connsiteX0" fmla="*/ 0 w 6064314"/>
              <a:gd name="connsiteY0" fmla="*/ 0 h 2072866"/>
              <a:gd name="connsiteX1" fmla="*/ 6064314 w 6064314"/>
              <a:gd name="connsiteY1" fmla="*/ 2072866 h 2072866"/>
              <a:gd name="connsiteX0" fmla="*/ 0 w 7215365"/>
              <a:gd name="connsiteY0" fmla="*/ 0 h 3493277"/>
              <a:gd name="connsiteX1" fmla="*/ 7215365 w 7215365"/>
              <a:gd name="connsiteY1" fmla="*/ 3493277 h 3493277"/>
              <a:gd name="connsiteX0" fmla="*/ 0 w 7215365"/>
              <a:gd name="connsiteY0" fmla="*/ 0 h 3493277"/>
              <a:gd name="connsiteX1" fmla="*/ 7215365 w 7215365"/>
              <a:gd name="connsiteY1" fmla="*/ 3493277 h 3493277"/>
              <a:gd name="connsiteX0" fmla="*/ 0 w 7182481"/>
              <a:gd name="connsiteY0" fmla="*/ 0 h 3493277"/>
              <a:gd name="connsiteX1" fmla="*/ 7182481 w 7182481"/>
              <a:gd name="connsiteY1" fmla="*/ 3493277 h 3493277"/>
              <a:gd name="connsiteX0" fmla="*/ 0 w 7182481"/>
              <a:gd name="connsiteY0" fmla="*/ 0 h 3493277"/>
              <a:gd name="connsiteX1" fmla="*/ 7182481 w 7182481"/>
              <a:gd name="connsiteY1" fmla="*/ 3493277 h 3493277"/>
              <a:gd name="connsiteX0" fmla="*/ 0 w 7264704"/>
              <a:gd name="connsiteY0" fmla="*/ 0 h 3397516"/>
              <a:gd name="connsiteX1" fmla="*/ 7264704 w 7264704"/>
              <a:gd name="connsiteY1" fmla="*/ 3397516 h 3397516"/>
              <a:gd name="connsiteX0" fmla="*/ 0 w 7346927"/>
              <a:gd name="connsiteY0" fmla="*/ 0 h 3237916"/>
              <a:gd name="connsiteX1" fmla="*/ 7346927 w 7346927"/>
              <a:gd name="connsiteY1" fmla="*/ 3237916 h 3237916"/>
              <a:gd name="connsiteX0" fmla="*/ 0 w 7346927"/>
              <a:gd name="connsiteY0" fmla="*/ 0 h 3237916"/>
              <a:gd name="connsiteX1" fmla="*/ 7346927 w 7346927"/>
              <a:gd name="connsiteY1" fmla="*/ 3237916 h 3237916"/>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3625180"/>
              <a:gd name="connsiteY0" fmla="*/ 0 h 2062210"/>
              <a:gd name="connsiteX1" fmla="*/ 3625180 w 3625180"/>
              <a:gd name="connsiteY1" fmla="*/ 2062210 h 2062210"/>
              <a:gd name="connsiteX0" fmla="*/ 0 w 3625180"/>
              <a:gd name="connsiteY0" fmla="*/ 0 h 2062210"/>
              <a:gd name="connsiteX1" fmla="*/ 3625180 w 3625180"/>
              <a:gd name="connsiteY1" fmla="*/ 2062210 h 2062210"/>
              <a:gd name="connsiteX0" fmla="*/ 87306 w 3712486"/>
              <a:gd name="connsiteY0" fmla="*/ 0 h 2062210"/>
              <a:gd name="connsiteX1" fmla="*/ 151122 w 3712486"/>
              <a:gd name="connsiteY1" fmla="*/ 1226222 h 2062210"/>
              <a:gd name="connsiteX2" fmla="*/ 3712486 w 3712486"/>
              <a:gd name="connsiteY2" fmla="*/ 2062210 h 2062210"/>
              <a:gd name="connsiteX0" fmla="*/ 87306 w 3712486"/>
              <a:gd name="connsiteY0" fmla="*/ 0 h 2062210"/>
              <a:gd name="connsiteX1" fmla="*/ 151122 w 3712486"/>
              <a:gd name="connsiteY1" fmla="*/ 1226222 h 2062210"/>
              <a:gd name="connsiteX2" fmla="*/ 1503770 w 3712486"/>
              <a:gd name="connsiteY2" fmla="*/ 1628500 h 2062210"/>
              <a:gd name="connsiteX3" fmla="*/ 3712486 w 3712486"/>
              <a:gd name="connsiteY3" fmla="*/ 2062210 h 2062210"/>
              <a:gd name="connsiteX0" fmla="*/ 0 w 3625180"/>
              <a:gd name="connsiteY0" fmla="*/ 0 h 2062210"/>
              <a:gd name="connsiteX1" fmla="*/ 506978 w 3625180"/>
              <a:gd name="connsiteY1" fmla="*/ 1218834 h 2062210"/>
              <a:gd name="connsiteX2" fmla="*/ 1416464 w 3625180"/>
              <a:gd name="connsiteY2" fmla="*/ 1628500 h 2062210"/>
              <a:gd name="connsiteX3" fmla="*/ 3625180 w 3625180"/>
              <a:gd name="connsiteY3" fmla="*/ 2062210 h 2062210"/>
              <a:gd name="connsiteX0" fmla="*/ 0 w 3625180"/>
              <a:gd name="connsiteY0" fmla="*/ 0 h 2062210"/>
              <a:gd name="connsiteX1" fmla="*/ 506978 w 3625180"/>
              <a:gd name="connsiteY1" fmla="*/ 1218834 h 2062210"/>
              <a:gd name="connsiteX2" fmla="*/ 1930792 w 3625180"/>
              <a:gd name="connsiteY2" fmla="*/ 1613466 h 2062210"/>
              <a:gd name="connsiteX3" fmla="*/ 3625180 w 3625180"/>
              <a:gd name="connsiteY3" fmla="*/ 2062210 h 2062210"/>
              <a:gd name="connsiteX0" fmla="*/ 2734062 w 6359242"/>
              <a:gd name="connsiteY0" fmla="*/ 0 h 2062210"/>
              <a:gd name="connsiteX1" fmla="*/ 40937 w 6359242"/>
              <a:gd name="connsiteY1" fmla="*/ 1203033 h 2062210"/>
              <a:gd name="connsiteX2" fmla="*/ 4664854 w 6359242"/>
              <a:gd name="connsiteY2" fmla="*/ 1613466 h 2062210"/>
              <a:gd name="connsiteX3" fmla="*/ 6359242 w 6359242"/>
              <a:gd name="connsiteY3" fmla="*/ 2062210 h 2062210"/>
              <a:gd name="connsiteX0" fmla="*/ 2734062 w 6359242"/>
              <a:gd name="connsiteY0" fmla="*/ 0 h 2062210"/>
              <a:gd name="connsiteX1" fmla="*/ 40937 w 6359242"/>
              <a:gd name="connsiteY1" fmla="*/ 1203033 h 2062210"/>
              <a:gd name="connsiteX2" fmla="*/ 2536656 w 6359242"/>
              <a:gd name="connsiteY2" fmla="*/ 1673459 h 2062210"/>
              <a:gd name="connsiteX3" fmla="*/ 6359242 w 6359242"/>
              <a:gd name="connsiteY3" fmla="*/ 2062210 h 2062210"/>
              <a:gd name="connsiteX0" fmla="*/ 2734062 w 5523134"/>
              <a:gd name="connsiteY0" fmla="*/ 0 h 2096896"/>
              <a:gd name="connsiteX1" fmla="*/ 40937 w 5523134"/>
              <a:gd name="connsiteY1" fmla="*/ 1203033 h 2096896"/>
              <a:gd name="connsiteX2" fmla="*/ 2536656 w 5523134"/>
              <a:gd name="connsiteY2" fmla="*/ 1673459 h 2096896"/>
              <a:gd name="connsiteX3" fmla="*/ 5523124 w 5523134"/>
              <a:gd name="connsiteY3" fmla="*/ 2096896 h 2096896"/>
              <a:gd name="connsiteX0" fmla="*/ 2734062 w 5523134"/>
              <a:gd name="connsiteY0" fmla="*/ 0 h 2096896"/>
              <a:gd name="connsiteX1" fmla="*/ 40937 w 5523134"/>
              <a:gd name="connsiteY1" fmla="*/ 1203033 h 2096896"/>
              <a:gd name="connsiteX2" fmla="*/ 2536656 w 5523134"/>
              <a:gd name="connsiteY2" fmla="*/ 1673459 h 2096896"/>
              <a:gd name="connsiteX3" fmla="*/ 5523124 w 5523134"/>
              <a:gd name="connsiteY3" fmla="*/ 2096896 h 2096896"/>
              <a:gd name="connsiteX0" fmla="*/ 2734062 w 5523134"/>
              <a:gd name="connsiteY0" fmla="*/ 0 h 2096896"/>
              <a:gd name="connsiteX1" fmla="*/ 40937 w 5523134"/>
              <a:gd name="connsiteY1" fmla="*/ 1203033 h 2096896"/>
              <a:gd name="connsiteX2" fmla="*/ 1988245 w 5523134"/>
              <a:gd name="connsiteY2" fmla="*/ 1710357 h 2096896"/>
              <a:gd name="connsiteX3" fmla="*/ 5523124 w 5523134"/>
              <a:gd name="connsiteY3" fmla="*/ 2096896 h 2096896"/>
              <a:gd name="connsiteX0" fmla="*/ 1923461 w 5534396"/>
              <a:gd name="connsiteY0" fmla="*/ 1 h 2072705"/>
              <a:gd name="connsiteX1" fmla="*/ 52218 w 5534396"/>
              <a:gd name="connsiteY1" fmla="*/ 1178842 h 2072705"/>
              <a:gd name="connsiteX2" fmla="*/ 1999526 w 5534396"/>
              <a:gd name="connsiteY2" fmla="*/ 1686166 h 2072705"/>
              <a:gd name="connsiteX3" fmla="*/ 5534405 w 5534396"/>
              <a:gd name="connsiteY3" fmla="*/ 2072705 h 2072705"/>
              <a:gd name="connsiteX0" fmla="*/ 1944274 w 5555209"/>
              <a:gd name="connsiteY0" fmla="*/ 1 h 2072705"/>
              <a:gd name="connsiteX1" fmla="*/ 73031 w 5555209"/>
              <a:gd name="connsiteY1" fmla="*/ 1178842 h 2072705"/>
              <a:gd name="connsiteX2" fmla="*/ 2020339 w 5555209"/>
              <a:gd name="connsiteY2" fmla="*/ 1686166 h 2072705"/>
              <a:gd name="connsiteX3" fmla="*/ 5555218 w 5555209"/>
              <a:gd name="connsiteY3" fmla="*/ 2072705 h 2072705"/>
              <a:gd name="connsiteX0" fmla="*/ 2083042 w 5550659"/>
              <a:gd name="connsiteY0" fmla="*/ -1 h 2053995"/>
              <a:gd name="connsiteX1" fmla="*/ 68481 w 5550659"/>
              <a:gd name="connsiteY1" fmla="*/ 1160132 h 2053995"/>
              <a:gd name="connsiteX2" fmla="*/ 2015789 w 5550659"/>
              <a:gd name="connsiteY2" fmla="*/ 1667456 h 2053995"/>
              <a:gd name="connsiteX3" fmla="*/ 5550668 w 5550659"/>
              <a:gd name="connsiteY3" fmla="*/ 2053995 h 2053995"/>
              <a:gd name="connsiteX0" fmla="*/ 2092292 w 5559909"/>
              <a:gd name="connsiteY0" fmla="*/ -1 h 2053995"/>
              <a:gd name="connsiteX1" fmla="*/ 77731 w 5559909"/>
              <a:gd name="connsiteY1" fmla="*/ 1160132 h 2053995"/>
              <a:gd name="connsiteX2" fmla="*/ 2025039 w 5559909"/>
              <a:gd name="connsiteY2" fmla="*/ 1667456 h 2053995"/>
              <a:gd name="connsiteX3" fmla="*/ 5559918 w 5559909"/>
              <a:gd name="connsiteY3" fmla="*/ 2053995 h 2053995"/>
            </a:gdLst>
            <a:ahLst/>
            <a:cxnLst>
              <a:cxn ang="0">
                <a:pos x="connsiteX0" y="connsiteY0"/>
              </a:cxn>
              <a:cxn ang="0">
                <a:pos x="connsiteX1" y="connsiteY1"/>
              </a:cxn>
              <a:cxn ang="0">
                <a:pos x="connsiteX2" y="connsiteY2"/>
              </a:cxn>
              <a:cxn ang="0">
                <a:pos x="connsiteX3" y="connsiteY3"/>
              </a:cxn>
            </a:cxnLst>
            <a:rect l="l" t="t" r="r" b="b"/>
            <a:pathLst>
              <a:path w="5559909" h="2053995">
                <a:moveTo>
                  <a:pt x="2092292" y="-1"/>
                </a:moveTo>
                <a:cubicBezTo>
                  <a:pt x="1287616" y="164444"/>
                  <a:pt x="-378417" y="911639"/>
                  <a:pt x="77731" y="1160132"/>
                </a:cubicBezTo>
                <a:cubicBezTo>
                  <a:pt x="240633" y="1345567"/>
                  <a:pt x="1431478" y="1528125"/>
                  <a:pt x="2025039" y="1667456"/>
                </a:cubicBezTo>
                <a:cubicBezTo>
                  <a:pt x="2618600" y="1806787"/>
                  <a:pt x="4198386" y="1926832"/>
                  <a:pt x="5559918" y="2053995"/>
                </a:cubicBezTo>
              </a:path>
            </a:pathLst>
          </a:custGeom>
          <a:noFill/>
          <a:ln w="12700" cap="flat" cmpd="sng" algn="ctr">
            <a:solidFill>
              <a:srgbClr val="13835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de-DE"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04" name="Freeform 103"/>
          <p:cNvSpPr/>
          <p:nvPr/>
        </p:nvSpPr>
        <p:spPr bwMode="auto">
          <a:xfrm rot="272527" flipH="1">
            <a:off x="2287606" y="3226599"/>
            <a:ext cx="259890" cy="785414"/>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2875322"/>
              <a:gd name="connsiteY0" fmla="*/ 0 h 1850561"/>
              <a:gd name="connsiteX1" fmla="*/ 2875322 w 2875322"/>
              <a:gd name="connsiteY1" fmla="*/ 1850561 h 1850561"/>
              <a:gd name="connsiteX0" fmla="*/ 0 w 2875322"/>
              <a:gd name="connsiteY0" fmla="*/ 0 h 1850561"/>
              <a:gd name="connsiteX1" fmla="*/ 2875322 w 2875322"/>
              <a:gd name="connsiteY1" fmla="*/ 1850561 h 1850561"/>
              <a:gd name="connsiteX0" fmla="*/ 0 w 2894703"/>
              <a:gd name="connsiteY0" fmla="*/ 0 h 1850561"/>
              <a:gd name="connsiteX1" fmla="*/ 2894703 w 2894703"/>
              <a:gd name="connsiteY1" fmla="*/ 1850561 h 1850561"/>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0239"/>
              <a:gd name="connsiteY0" fmla="*/ 0 h 2300301"/>
              <a:gd name="connsiteX1" fmla="*/ 3480239 w 3480239"/>
              <a:gd name="connsiteY1" fmla="*/ 2300301 h 2300301"/>
              <a:gd name="connsiteX0" fmla="*/ 0 w 3480239"/>
              <a:gd name="connsiteY0" fmla="*/ 0 h 2300301"/>
              <a:gd name="connsiteX1" fmla="*/ 3480239 w 348023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521439"/>
              <a:gd name="connsiteY0" fmla="*/ 0 h 2232170"/>
              <a:gd name="connsiteX1" fmla="*/ 3521439 w 3521439"/>
              <a:gd name="connsiteY1" fmla="*/ 2232170 h 2232170"/>
              <a:gd name="connsiteX0" fmla="*/ 0 w 3521439"/>
              <a:gd name="connsiteY0" fmla="*/ 0 h 2232170"/>
              <a:gd name="connsiteX1" fmla="*/ 3521439 w 3521439"/>
              <a:gd name="connsiteY1" fmla="*/ 2232170 h 2232170"/>
              <a:gd name="connsiteX0" fmla="*/ 0 w 3521439"/>
              <a:gd name="connsiteY0" fmla="*/ 0 h 2209460"/>
              <a:gd name="connsiteX1" fmla="*/ 3521439 w 3521439"/>
              <a:gd name="connsiteY1" fmla="*/ 2209460 h 2209460"/>
              <a:gd name="connsiteX0" fmla="*/ 0 w 3521439"/>
              <a:gd name="connsiteY0" fmla="*/ 0 h 2209460"/>
              <a:gd name="connsiteX1" fmla="*/ 3521439 w 3521439"/>
              <a:gd name="connsiteY1" fmla="*/ 2209460 h 2209460"/>
              <a:gd name="connsiteX0" fmla="*/ 0 w 3166484"/>
              <a:gd name="connsiteY0" fmla="*/ 0 h 1509983"/>
              <a:gd name="connsiteX1" fmla="*/ 3166484 w 3166484"/>
              <a:gd name="connsiteY1" fmla="*/ 1509983 h 1509983"/>
              <a:gd name="connsiteX0" fmla="*/ 0 w 2028493"/>
              <a:gd name="connsiteY0" fmla="*/ 0 h 405367"/>
              <a:gd name="connsiteX1" fmla="*/ 2028493 w 2028493"/>
              <a:gd name="connsiteY1" fmla="*/ 62202 h 405367"/>
              <a:gd name="connsiteX0" fmla="*/ 0 w 2028493"/>
              <a:gd name="connsiteY0" fmla="*/ 0 h 410101"/>
              <a:gd name="connsiteX1" fmla="*/ 2028493 w 2028493"/>
              <a:gd name="connsiteY1" fmla="*/ 62202 h 410101"/>
              <a:gd name="connsiteX0" fmla="*/ 0 w 2049034"/>
              <a:gd name="connsiteY0" fmla="*/ 0 h 413154"/>
              <a:gd name="connsiteX1" fmla="*/ 2049034 w 2049034"/>
              <a:gd name="connsiteY1" fmla="*/ 76396 h 413154"/>
              <a:gd name="connsiteX0" fmla="*/ 0 w 2049034"/>
              <a:gd name="connsiteY0" fmla="*/ 143813 h 220209"/>
              <a:gd name="connsiteX1" fmla="*/ 2049034 w 2049034"/>
              <a:gd name="connsiteY1" fmla="*/ 220209 h 220209"/>
              <a:gd name="connsiteX0" fmla="*/ 0 w 2049034"/>
              <a:gd name="connsiteY0" fmla="*/ 154753 h 231149"/>
              <a:gd name="connsiteX1" fmla="*/ 2049034 w 2049034"/>
              <a:gd name="connsiteY1" fmla="*/ 231149 h 231149"/>
              <a:gd name="connsiteX0" fmla="*/ 0 w 2057250"/>
              <a:gd name="connsiteY0" fmla="*/ 145732 h 242000"/>
              <a:gd name="connsiteX1" fmla="*/ 2057250 w 2057250"/>
              <a:gd name="connsiteY1" fmla="*/ 242000 h 242000"/>
              <a:gd name="connsiteX0" fmla="*/ 0 w 2057250"/>
              <a:gd name="connsiteY0" fmla="*/ 155638 h 251906"/>
              <a:gd name="connsiteX1" fmla="*/ 2057250 w 2057250"/>
              <a:gd name="connsiteY1" fmla="*/ 251906 h 251906"/>
              <a:gd name="connsiteX0" fmla="*/ 0 w 2057250"/>
              <a:gd name="connsiteY0" fmla="*/ 154153 h 250421"/>
              <a:gd name="connsiteX1" fmla="*/ 2057250 w 2057250"/>
              <a:gd name="connsiteY1" fmla="*/ 250421 h 250421"/>
              <a:gd name="connsiteX0" fmla="*/ 0 w 2057250"/>
              <a:gd name="connsiteY0" fmla="*/ 175529 h 271797"/>
              <a:gd name="connsiteX1" fmla="*/ 2057250 w 2057250"/>
              <a:gd name="connsiteY1" fmla="*/ 271797 h 271797"/>
              <a:gd name="connsiteX0" fmla="*/ 0 w 1925785"/>
              <a:gd name="connsiteY0" fmla="*/ 146190 h 318159"/>
              <a:gd name="connsiteX1" fmla="*/ 1925785 w 1925785"/>
              <a:gd name="connsiteY1" fmla="*/ 318159 h 318159"/>
              <a:gd name="connsiteX0" fmla="*/ 0 w 1942218"/>
              <a:gd name="connsiteY0" fmla="*/ 143309 h 323795"/>
              <a:gd name="connsiteX1" fmla="*/ 1942218 w 1942218"/>
              <a:gd name="connsiteY1" fmla="*/ 323795 h 323795"/>
              <a:gd name="connsiteX0" fmla="*/ 0 w 1942218"/>
              <a:gd name="connsiteY0" fmla="*/ 1 h 180487"/>
              <a:gd name="connsiteX1" fmla="*/ 1942218 w 1942218"/>
              <a:gd name="connsiteY1" fmla="*/ 180487 h 180487"/>
              <a:gd name="connsiteX0" fmla="*/ 0 w 1966867"/>
              <a:gd name="connsiteY0" fmla="*/ 0 h 171970"/>
              <a:gd name="connsiteX1" fmla="*/ 1966867 w 1966867"/>
              <a:gd name="connsiteY1" fmla="*/ 171971 h 171970"/>
              <a:gd name="connsiteX0" fmla="*/ 0 w 1966867"/>
              <a:gd name="connsiteY0" fmla="*/ 0 h 171971"/>
              <a:gd name="connsiteX1" fmla="*/ 1966867 w 1966867"/>
              <a:gd name="connsiteY1" fmla="*/ 171971 h 171971"/>
              <a:gd name="connsiteX0" fmla="*/ 0 w 1958651"/>
              <a:gd name="connsiteY0" fmla="*/ 0 h 186165"/>
              <a:gd name="connsiteX1" fmla="*/ 1958651 w 1958651"/>
              <a:gd name="connsiteY1" fmla="*/ 186165 h 186165"/>
              <a:gd name="connsiteX0" fmla="*/ 0 w 1954543"/>
              <a:gd name="connsiteY0" fmla="*/ 0 h 203197"/>
              <a:gd name="connsiteX1" fmla="*/ 1954543 w 1954543"/>
              <a:gd name="connsiteY1" fmla="*/ 203197 h 203197"/>
              <a:gd name="connsiteX0" fmla="*/ 0 w 2324286"/>
              <a:gd name="connsiteY0" fmla="*/ 0 h 475721"/>
              <a:gd name="connsiteX1" fmla="*/ 2324286 w 2324286"/>
              <a:gd name="connsiteY1" fmla="*/ 475721 h 475721"/>
              <a:gd name="connsiteX0" fmla="*/ 0 w 2324286"/>
              <a:gd name="connsiteY0" fmla="*/ 0 h 479624"/>
              <a:gd name="connsiteX1" fmla="*/ 2324286 w 2324286"/>
              <a:gd name="connsiteY1" fmla="*/ 475721 h 479624"/>
              <a:gd name="connsiteX0" fmla="*/ 0 w 2324286"/>
              <a:gd name="connsiteY0" fmla="*/ 0 h 480172"/>
              <a:gd name="connsiteX1" fmla="*/ 2324286 w 2324286"/>
              <a:gd name="connsiteY1" fmla="*/ 475721 h 480172"/>
              <a:gd name="connsiteX0" fmla="*/ 0 w 2324286"/>
              <a:gd name="connsiteY0" fmla="*/ 0 h 475721"/>
              <a:gd name="connsiteX1" fmla="*/ 2324286 w 2324286"/>
              <a:gd name="connsiteY1" fmla="*/ 475721 h 475721"/>
              <a:gd name="connsiteX0" fmla="*/ 0 w 2316069"/>
              <a:gd name="connsiteY0" fmla="*/ 0 h 498431"/>
              <a:gd name="connsiteX1" fmla="*/ 2316069 w 2316069"/>
              <a:gd name="connsiteY1" fmla="*/ 498431 h 498431"/>
              <a:gd name="connsiteX0" fmla="*/ 0 w 2316069"/>
              <a:gd name="connsiteY0" fmla="*/ 0 h 498431"/>
              <a:gd name="connsiteX1" fmla="*/ 2316069 w 2316069"/>
              <a:gd name="connsiteY1" fmla="*/ 498431 h 49843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04754"/>
              <a:gd name="connsiteY0" fmla="*/ 0 h 1015091"/>
              <a:gd name="connsiteX1" fmla="*/ 4604754 w 4604754"/>
              <a:gd name="connsiteY1" fmla="*/ 1015091 h 1015091"/>
              <a:gd name="connsiteX0" fmla="*/ 0 w 4604754"/>
              <a:gd name="connsiteY0" fmla="*/ 0 h 1015091"/>
              <a:gd name="connsiteX1" fmla="*/ 4604754 w 4604754"/>
              <a:gd name="connsiteY1" fmla="*/ 1015091 h 1015091"/>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23432 h 1021455"/>
              <a:gd name="connsiteX1" fmla="*/ 4604754 w 4604754"/>
              <a:gd name="connsiteY1" fmla="*/ 1021455 h 1021455"/>
              <a:gd name="connsiteX0" fmla="*/ 0 w 4621488"/>
              <a:gd name="connsiteY0" fmla="*/ 28563 h 866964"/>
              <a:gd name="connsiteX1" fmla="*/ 4621488 w 4621488"/>
              <a:gd name="connsiteY1" fmla="*/ 866966 h 866964"/>
              <a:gd name="connsiteX0" fmla="*/ 0 w 4621488"/>
              <a:gd name="connsiteY0" fmla="*/ 35875 h 874276"/>
              <a:gd name="connsiteX1" fmla="*/ 4621488 w 4621488"/>
              <a:gd name="connsiteY1" fmla="*/ 874278 h 874276"/>
              <a:gd name="connsiteX0" fmla="*/ 2 w 4634037"/>
              <a:gd name="connsiteY0" fmla="*/ 44537 h 763234"/>
              <a:gd name="connsiteX1" fmla="*/ 4634037 w 4634037"/>
              <a:gd name="connsiteY1" fmla="*/ 763236 h 763234"/>
              <a:gd name="connsiteX0" fmla="*/ 2 w 4634037"/>
              <a:gd name="connsiteY0" fmla="*/ -3 h 718694"/>
              <a:gd name="connsiteX1" fmla="*/ 4634037 w 4634037"/>
              <a:gd name="connsiteY1" fmla="*/ 718696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1413475"/>
              <a:gd name="connsiteY0" fmla="*/ 606407 h 728390"/>
              <a:gd name="connsiteX1" fmla="*/ 1413474 w 1413475"/>
              <a:gd name="connsiteY1" fmla="*/ 126977 h 728390"/>
              <a:gd name="connsiteX0" fmla="*/ 2 w 1413475"/>
              <a:gd name="connsiteY0" fmla="*/ 479431 h 721543"/>
              <a:gd name="connsiteX1" fmla="*/ 1413474 w 1413475"/>
              <a:gd name="connsiteY1" fmla="*/ 1 h 721543"/>
              <a:gd name="connsiteX0" fmla="*/ 3 w 1605506"/>
              <a:gd name="connsiteY0" fmla="*/ 487353 h 727739"/>
              <a:gd name="connsiteX1" fmla="*/ 1605505 w 1605506"/>
              <a:gd name="connsiteY1" fmla="*/ 1 h 727739"/>
              <a:gd name="connsiteX0" fmla="*/ 3 w 1605506"/>
              <a:gd name="connsiteY0" fmla="*/ 487353 h 595674"/>
              <a:gd name="connsiteX1" fmla="*/ 1605505 w 1605506"/>
              <a:gd name="connsiteY1" fmla="*/ 1 h 595674"/>
              <a:gd name="connsiteX0" fmla="*/ 3 w 1573179"/>
              <a:gd name="connsiteY0" fmla="*/ 635014 h 720486"/>
              <a:gd name="connsiteX1" fmla="*/ 1573180 w 1573179"/>
              <a:gd name="connsiteY1" fmla="*/ 1 h 720486"/>
              <a:gd name="connsiteX0" fmla="*/ 3 w 1573179"/>
              <a:gd name="connsiteY0" fmla="*/ 635014 h 727984"/>
              <a:gd name="connsiteX1" fmla="*/ 1573180 w 1573179"/>
              <a:gd name="connsiteY1" fmla="*/ 1 h 727984"/>
              <a:gd name="connsiteX0" fmla="*/ 3 w 1619069"/>
              <a:gd name="connsiteY0" fmla="*/ 464741 h 589089"/>
              <a:gd name="connsiteX1" fmla="*/ 1619069 w 1619069"/>
              <a:gd name="connsiteY1" fmla="*/ 1 h 589089"/>
              <a:gd name="connsiteX0" fmla="*/ 3 w 1619069"/>
              <a:gd name="connsiteY0" fmla="*/ 464741 h 644508"/>
              <a:gd name="connsiteX1" fmla="*/ 1619069 w 1619069"/>
              <a:gd name="connsiteY1" fmla="*/ 1 h 644508"/>
              <a:gd name="connsiteX0" fmla="*/ 3 w 1619069"/>
              <a:gd name="connsiteY0" fmla="*/ 464741 h 573752"/>
              <a:gd name="connsiteX1" fmla="*/ 1619069 w 1619069"/>
              <a:gd name="connsiteY1" fmla="*/ 1 h 573752"/>
              <a:gd name="connsiteX0" fmla="*/ 3 w 1619069"/>
              <a:gd name="connsiteY0" fmla="*/ 496657 h 598698"/>
              <a:gd name="connsiteX1" fmla="*/ 1619069 w 1619069"/>
              <a:gd name="connsiteY1" fmla="*/ 0 h 598698"/>
              <a:gd name="connsiteX0" fmla="*/ 3 w 7916977"/>
              <a:gd name="connsiteY0" fmla="*/ 2826772 h 2841912"/>
              <a:gd name="connsiteX1" fmla="*/ 7916977 w 7916977"/>
              <a:gd name="connsiteY1" fmla="*/ 0 h 2841912"/>
              <a:gd name="connsiteX0" fmla="*/ 3 w 7916977"/>
              <a:gd name="connsiteY0" fmla="*/ 2826772 h 2846255"/>
              <a:gd name="connsiteX1" fmla="*/ 7916977 w 7916977"/>
              <a:gd name="connsiteY1" fmla="*/ 0 h 2846255"/>
              <a:gd name="connsiteX0" fmla="*/ 3 w 7916977"/>
              <a:gd name="connsiteY0" fmla="*/ 2826772 h 3052074"/>
              <a:gd name="connsiteX1" fmla="*/ 7916977 w 7916977"/>
              <a:gd name="connsiteY1" fmla="*/ 0 h 3052074"/>
              <a:gd name="connsiteX0" fmla="*/ 3 w 7916977"/>
              <a:gd name="connsiteY0" fmla="*/ 2826772 h 3005674"/>
              <a:gd name="connsiteX1" fmla="*/ 7916977 w 7916977"/>
              <a:gd name="connsiteY1" fmla="*/ 0 h 3005674"/>
              <a:gd name="connsiteX0" fmla="*/ 0 w 7916977"/>
              <a:gd name="connsiteY0" fmla="*/ 2778890 h 2960467"/>
              <a:gd name="connsiteX1" fmla="*/ 7916977 w 7916977"/>
              <a:gd name="connsiteY1" fmla="*/ 0 h 2960467"/>
              <a:gd name="connsiteX0" fmla="*/ 0 w 7933419"/>
              <a:gd name="connsiteY0" fmla="*/ 2794848 h 2975527"/>
              <a:gd name="connsiteX1" fmla="*/ 7933419 w 7933419"/>
              <a:gd name="connsiteY1" fmla="*/ 0 h 2975527"/>
              <a:gd name="connsiteX0" fmla="*/ 0 w 7933419"/>
              <a:gd name="connsiteY0" fmla="*/ 2794848 h 3006384"/>
              <a:gd name="connsiteX1" fmla="*/ 7933419 w 7933419"/>
              <a:gd name="connsiteY1" fmla="*/ 0 h 3006384"/>
              <a:gd name="connsiteX0" fmla="*/ 0 w 7867644"/>
              <a:gd name="connsiteY0" fmla="*/ 2794848 h 3006384"/>
              <a:gd name="connsiteX1" fmla="*/ 7867644 w 7867644"/>
              <a:gd name="connsiteY1" fmla="*/ 0 h 3006384"/>
              <a:gd name="connsiteX0" fmla="*/ 0 w 3197651"/>
              <a:gd name="connsiteY0" fmla="*/ 0 h 1011361"/>
              <a:gd name="connsiteX1" fmla="*/ 3197651 w 3197651"/>
              <a:gd name="connsiteY1" fmla="*/ 349213 h 1011361"/>
              <a:gd name="connsiteX0" fmla="*/ 0 w 3197651"/>
              <a:gd name="connsiteY0" fmla="*/ 0 h 551058"/>
              <a:gd name="connsiteX1" fmla="*/ 3197651 w 3197651"/>
              <a:gd name="connsiteY1" fmla="*/ 349213 h 551058"/>
              <a:gd name="connsiteX0" fmla="*/ 0 w 3197651"/>
              <a:gd name="connsiteY0" fmla="*/ 0 h 499390"/>
              <a:gd name="connsiteX1" fmla="*/ 3197651 w 3197651"/>
              <a:gd name="connsiteY1" fmla="*/ 349213 h 499390"/>
              <a:gd name="connsiteX0" fmla="*/ 0 w 3197651"/>
              <a:gd name="connsiteY0" fmla="*/ 0 h 421477"/>
              <a:gd name="connsiteX1" fmla="*/ 3197651 w 3197651"/>
              <a:gd name="connsiteY1" fmla="*/ 349213 h 421477"/>
              <a:gd name="connsiteX0" fmla="*/ 0 w 3197651"/>
              <a:gd name="connsiteY0" fmla="*/ 0 h 480912"/>
              <a:gd name="connsiteX1" fmla="*/ 3197651 w 3197651"/>
              <a:gd name="connsiteY1" fmla="*/ 349213 h 480912"/>
              <a:gd name="connsiteX0" fmla="*/ 0 w 3181202"/>
              <a:gd name="connsiteY0" fmla="*/ 0 h 617329"/>
              <a:gd name="connsiteX1" fmla="*/ 3181202 w 3181202"/>
              <a:gd name="connsiteY1" fmla="*/ 540729 h 617329"/>
              <a:gd name="connsiteX0" fmla="*/ 0 w 3181202"/>
              <a:gd name="connsiteY0" fmla="*/ 0 h 589454"/>
              <a:gd name="connsiteX1" fmla="*/ 3181202 w 3181202"/>
              <a:gd name="connsiteY1" fmla="*/ 540729 h 589454"/>
              <a:gd name="connsiteX0" fmla="*/ 0 w 3164753"/>
              <a:gd name="connsiteY0" fmla="*/ 0 h 602523"/>
              <a:gd name="connsiteX1" fmla="*/ 3164753 w 3164753"/>
              <a:gd name="connsiteY1" fmla="*/ 556687 h 602523"/>
              <a:gd name="connsiteX0" fmla="*/ 0 w 3164753"/>
              <a:gd name="connsiteY0" fmla="*/ 0 h 585741"/>
              <a:gd name="connsiteX1" fmla="*/ 3164753 w 3164753"/>
              <a:gd name="connsiteY1" fmla="*/ 556687 h 585741"/>
              <a:gd name="connsiteX0" fmla="*/ 0 w 3164753"/>
              <a:gd name="connsiteY0" fmla="*/ 0 h 588616"/>
              <a:gd name="connsiteX1" fmla="*/ 3164753 w 3164753"/>
              <a:gd name="connsiteY1" fmla="*/ 556687 h 588616"/>
              <a:gd name="connsiteX0" fmla="*/ 0 w 4184262"/>
              <a:gd name="connsiteY0" fmla="*/ 0 h 1346832"/>
              <a:gd name="connsiteX1" fmla="*/ 4184262 w 4184262"/>
              <a:gd name="connsiteY1" fmla="*/ 1338715 h 1346832"/>
              <a:gd name="connsiteX0" fmla="*/ 0 w 4184262"/>
              <a:gd name="connsiteY0" fmla="*/ 0 h 1338716"/>
              <a:gd name="connsiteX1" fmla="*/ 4184262 w 4184262"/>
              <a:gd name="connsiteY1" fmla="*/ 1338715 h 1338716"/>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7922444"/>
              <a:gd name="connsiteY0" fmla="*/ 0 h 1354674"/>
              <a:gd name="connsiteX1" fmla="*/ 7922444 w 7922444"/>
              <a:gd name="connsiteY1" fmla="*/ 1354674 h 1354674"/>
              <a:gd name="connsiteX0" fmla="*/ 0 w 7922444"/>
              <a:gd name="connsiteY0" fmla="*/ 0 h 1354674"/>
              <a:gd name="connsiteX1" fmla="*/ 7922444 w 7922444"/>
              <a:gd name="connsiteY1" fmla="*/ 1354674 h 1354674"/>
              <a:gd name="connsiteX0" fmla="*/ 0 w 7922444"/>
              <a:gd name="connsiteY0" fmla="*/ 0 h 1967324"/>
              <a:gd name="connsiteX1" fmla="*/ 7922444 w 7922444"/>
              <a:gd name="connsiteY1" fmla="*/ 1354674 h 1967324"/>
              <a:gd name="connsiteX0" fmla="*/ 0 w 7856669"/>
              <a:gd name="connsiteY0" fmla="*/ 0 h 1882889"/>
              <a:gd name="connsiteX1" fmla="*/ 7856669 w 7856669"/>
              <a:gd name="connsiteY1" fmla="*/ 1120598 h 1882889"/>
              <a:gd name="connsiteX0" fmla="*/ 0 w 7856669"/>
              <a:gd name="connsiteY0" fmla="*/ 0 h 1907225"/>
              <a:gd name="connsiteX1" fmla="*/ 7856669 w 7856669"/>
              <a:gd name="connsiteY1" fmla="*/ 1120598 h 1907225"/>
              <a:gd name="connsiteX0" fmla="*/ 0 w 7856669"/>
              <a:gd name="connsiteY0" fmla="*/ 0 h 1953216"/>
              <a:gd name="connsiteX1" fmla="*/ 7856669 w 7856669"/>
              <a:gd name="connsiteY1" fmla="*/ 1120598 h 1953216"/>
              <a:gd name="connsiteX0" fmla="*/ 0 w 6146531"/>
              <a:gd name="connsiteY0" fmla="*/ 0 h 2377876"/>
              <a:gd name="connsiteX1" fmla="*/ 6146531 w 6146531"/>
              <a:gd name="connsiteY1" fmla="*/ 2120738 h 2377876"/>
              <a:gd name="connsiteX0" fmla="*/ 0 w 6146531"/>
              <a:gd name="connsiteY0" fmla="*/ 0 h 2353527"/>
              <a:gd name="connsiteX1" fmla="*/ 6146531 w 6146531"/>
              <a:gd name="connsiteY1" fmla="*/ 2120738 h 2353527"/>
              <a:gd name="connsiteX0" fmla="*/ 0 w 6146531"/>
              <a:gd name="connsiteY0" fmla="*/ 0 h 2120739"/>
              <a:gd name="connsiteX1" fmla="*/ 6146531 w 6146531"/>
              <a:gd name="connsiteY1" fmla="*/ 2120738 h 2120739"/>
              <a:gd name="connsiteX0" fmla="*/ 0 w 6124606"/>
              <a:gd name="connsiteY0" fmla="*/ 0 h 2227137"/>
              <a:gd name="connsiteX1" fmla="*/ 6124606 w 6124606"/>
              <a:gd name="connsiteY1" fmla="*/ 2227137 h 2227137"/>
              <a:gd name="connsiteX0" fmla="*/ 0 w 6124606"/>
              <a:gd name="connsiteY0" fmla="*/ 0 h 2227137"/>
              <a:gd name="connsiteX1" fmla="*/ 6124606 w 6124606"/>
              <a:gd name="connsiteY1" fmla="*/ 2227137 h 2227137"/>
              <a:gd name="connsiteX0" fmla="*/ 0 w 6080756"/>
              <a:gd name="connsiteY0" fmla="*/ 0 h 1993062"/>
              <a:gd name="connsiteX1" fmla="*/ 6080756 w 6080756"/>
              <a:gd name="connsiteY1" fmla="*/ 1993062 h 1993062"/>
              <a:gd name="connsiteX0" fmla="*/ 0 w 6080756"/>
              <a:gd name="connsiteY0" fmla="*/ 0 h 2056901"/>
              <a:gd name="connsiteX1" fmla="*/ 6080756 w 6080756"/>
              <a:gd name="connsiteY1" fmla="*/ 2056901 h 2056901"/>
              <a:gd name="connsiteX0" fmla="*/ 0 w 6080756"/>
              <a:gd name="connsiteY0" fmla="*/ 0 h 2056901"/>
              <a:gd name="connsiteX1" fmla="*/ 6080756 w 6080756"/>
              <a:gd name="connsiteY1" fmla="*/ 2056901 h 2056901"/>
              <a:gd name="connsiteX0" fmla="*/ 0 w 6080756"/>
              <a:gd name="connsiteY0" fmla="*/ 0 h 2056901"/>
              <a:gd name="connsiteX1" fmla="*/ 6080756 w 6080756"/>
              <a:gd name="connsiteY1" fmla="*/ 2056901 h 2056901"/>
              <a:gd name="connsiteX0" fmla="*/ 0 w 6064314"/>
              <a:gd name="connsiteY0" fmla="*/ 0 h 2072866"/>
              <a:gd name="connsiteX1" fmla="*/ 6064314 w 6064314"/>
              <a:gd name="connsiteY1" fmla="*/ 2072866 h 2072866"/>
              <a:gd name="connsiteX0" fmla="*/ 0 w 7215365"/>
              <a:gd name="connsiteY0" fmla="*/ 0 h 3493277"/>
              <a:gd name="connsiteX1" fmla="*/ 7215365 w 7215365"/>
              <a:gd name="connsiteY1" fmla="*/ 3493277 h 3493277"/>
              <a:gd name="connsiteX0" fmla="*/ 0 w 7215365"/>
              <a:gd name="connsiteY0" fmla="*/ 0 h 3493277"/>
              <a:gd name="connsiteX1" fmla="*/ 7215365 w 7215365"/>
              <a:gd name="connsiteY1" fmla="*/ 3493277 h 3493277"/>
              <a:gd name="connsiteX0" fmla="*/ 0 w 7182481"/>
              <a:gd name="connsiteY0" fmla="*/ 0 h 3493277"/>
              <a:gd name="connsiteX1" fmla="*/ 7182481 w 7182481"/>
              <a:gd name="connsiteY1" fmla="*/ 3493277 h 3493277"/>
              <a:gd name="connsiteX0" fmla="*/ 0 w 7182481"/>
              <a:gd name="connsiteY0" fmla="*/ 0 h 3493277"/>
              <a:gd name="connsiteX1" fmla="*/ 7182481 w 7182481"/>
              <a:gd name="connsiteY1" fmla="*/ 3493277 h 3493277"/>
              <a:gd name="connsiteX0" fmla="*/ 0 w 7264704"/>
              <a:gd name="connsiteY0" fmla="*/ 0 h 3397516"/>
              <a:gd name="connsiteX1" fmla="*/ 7264704 w 7264704"/>
              <a:gd name="connsiteY1" fmla="*/ 3397516 h 3397516"/>
              <a:gd name="connsiteX0" fmla="*/ 0 w 7346927"/>
              <a:gd name="connsiteY0" fmla="*/ 0 h 3237916"/>
              <a:gd name="connsiteX1" fmla="*/ 7346927 w 7346927"/>
              <a:gd name="connsiteY1" fmla="*/ 3237916 h 3237916"/>
              <a:gd name="connsiteX0" fmla="*/ 0 w 7346927"/>
              <a:gd name="connsiteY0" fmla="*/ 0 h 3237916"/>
              <a:gd name="connsiteX1" fmla="*/ 7346927 w 7346927"/>
              <a:gd name="connsiteY1" fmla="*/ 3237916 h 3237916"/>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3625180"/>
              <a:gd name="connsiteY0" fmla="*/ 0 h 2062210"/>
              <a:gd name="connsiteX1" fmla="*/ 3625180 w 3625180"/>
              <a:gd name="connsiteY1" fmla="*/ 2062210 h 2062210"/>
              <a:gd name="connsiteX0" fmla="*/ 0 w 3625180"/>
              <a:gd name="connsiteY0" fmla="*/ 0 h 2062210"/>
              <a:gd name="connsiteX1" fmla="*/ 3625180 w 3625180"/>
              <a:gd name="connsiteY1" fmla="*/ 2062210 h 2062210"/>
              <a:gd name="connsiteX0" fmla="*/ 0 w 3625180"/>
              <a:gd name="connsiteY0" fmla="*/ 0 h 2062210"/>
              <a:gd name="connsiteX1" fmla="*/ 1840245 w 3625180"/>
              <a:gd name="connsiteY1" fmla="*/ 619379 h 2062210"/>
              <a:gd name="connsiteX2" fmla="*/ 3625180 w 3625180"/>
              <a:gd name="connsiteY2" fmla="*/ 2062210 h 2062210"/>
              <a:gd name="connsiteX0" fmla="*/ 0 w 3625180"/>
              <a:gd name="connsiteY0" fmla="*/ 0 h 2062210"/>
              <a:gd name="connsiteX1" fmla="*/ 1840245 w 3625180"/>
              <a:gd name="connsiteY1" fmla="*/ 619379 h 2062210"/>
              <a:gd name="connsiteX2" fmla="*/ 2876172 w 3625180"/>
              <a:gd name="connsiteY2" fmla="*/ 1112954 h 2062210"/>
              <a:gd name="connsiteX3" fmla="*/ 3625180 w 3625180"/>
              <a:gd name="connsiteY3" fmla="*/ 2062210 h 2062210"/>
              <a:gd name="connsiteX0" fmla="*/ 0 w 3625180"/>
              <a:gd name="connsiteY0" fmla="*/ 0 h 2062210"/>
              <a:gd name="connsiteX1" fmla="*/ 2030676 w 3625180"/>
              <a:gd name="connsiteY1" fmla="*/ 614343 h 2062210"/>
              <a:gd name="connsiteX2" fmla="*/ 2876172 w 3625180"/>
              <a:gd name="connsiteY2" fmla="*/ 1112954 h 2062210"/>
              <a:gd name="connsiteX3" fmla="*/ 3625180 w 3625180"/>
              <a:gd name="connsiteY3" fmla="*/ 2062210 h 2062210"/>
              <a:gd name="connsiteX0" fmla="*/ 0 w 4106980"/>
              <a:gd name="connsiteY0" fmla="*/ 0 h 2062210"/>
              <a:gd name="connsiteX1" fmla="*/ 4055100 w 4106980"/>
              <a:gd name="connsiteY1" fmla="*/ 782942 h 2062210"/>
              <a:gd name="connsiteX2" fmla="*/ 2876172 w 4106980"/>
              <a:gd name="connsiteY2" fmla="*/ 1112954 h 2062210"/>
              <a:gd name="connsiteX3" fmla="*/ 3625180 w 4106980"/>
              <a:gd name="connsiteY3" fmla="*/ 2062210 h 2062210"/>
              <a:gd name="connsiteX0" fmla="*/ 0 w 4145975"/>
              <a:gd name="connsiteY0" fmla="*/ 0 h 2062210"/>
              <a:gd name="connsiteX1" fmla="*/ 4055100 w 4145975"/>
              <a:gd name="connsiteY1" fmla="*/ 782942 h 2062210"/>
              <a:gd name="connsiteX2" fmla="*/ 2693510 w 4145975"/>
              <a:gd name="connsiteY2" fmla="*/ 1086801 h 2062210"/>
              <a:gd name="connsiteX3" fmla="*/ 2876172 w 4145975"/>
              <a:gd name="connsiteY3" fmla="*/ 1112954 h 2062210"/>
              <a:gd name="connsiteX4" fmla="*/ 3625180 w 4145975"/>
              <a:gd name="connsiteY4" fmla="*/ 2062210 h 2062210"/>
              <a:gd name="connsiteX0" fmla="*/ 0 w 5060100"/>
              <a:gd name="connsiteY0" fmla="*/ 0 h 2062210"/>
              <a:gd name="connsiteX1" fmla="*/ 4055100 w 5060100"/>
              <a:gd name="connsiteY1" fmla="*/ 782942 h 2062210"/>
              <a:gd name="connsiteX2" fmla="*/ 2693510 w 5060100"/>
              <a:gd name="connsiteY2" fmla="*/ 1086801 h 2062210"/>
              <a:gd name="connsiteX3" fmla="*/ 2876172 w 5060100"/>
              <a:gd name="connsiteY3" fmla="*/ 1112954 h 2062210"/>
              <a:gd name="connsiteX4" fmla="*/ 5053184 w 5060100"/>
              <a:gd name="connsiteY4" fmla="*/ 1706495 h 2062210"/>
              <a:gd name="connsiteX5" fmla="*/ 3625180 w 5060100"/>
              <a:gd name="connsiteY5" fmla="*/ 2062210 h 2062210"/>
              <a:gd name="connsiteX0" fmla="*/ 0 w 5060100"/>
              <a:gd name="connsiteY0" fmla="*/ 0 h 2062210"/>
              <a:gd name="connsiteX1" fmla="*/ 4055100 w 5060100"/>
              <a:gd name="connsiteY1" fmla="*/ 782942 h 2062210"/>
              <a:gd name="connsiteX2" fmla="*/ 2693510 w 5060100"/>
              <a:gd name="connsiteY2" fmla="*/ 1086801 h 2062210"/>
              <a:gd name="connsiteX3" fmla="*/ 4591007 w 5060100"/>
              <a:gd name="connsiteY3" fmla="*/ 1112361 h 2062210"/>
              <a:gd name="connsiteX4" fmla="*/ 5053184 w 5060100"/>
              <a:gd name="connsiteY4" fmla="*/ 1706495 h 2062210"/>
              <a:gd name="connsiteX5" fmla="*/ 3625180 w 5060100"/>
              <a:gd name="connsiteY5" fmla="*/ 2062210 h 2062210"/>
              <a:gd name="connsiteX0" fmla="*/ 0 w 5060100"/>
              <a:gd name="connsiteY0" fmla="*/ 0 h 2062210"/>
              <a:gd name="connsiteX1" fmla="*/ 4055100 w 5060100"/>
              <a:gd name="connsiteY1" fmla="*/ 782942 h 2062210"/>
              <a:gd name="connsiteX2" fmla="*/ 4404343 w 5060100"/>
              <a:gd name="connsiteY2" fmla="*/ 1017055 h 2062210"/>
              <a:gd name="connsiteX3" fmla="*/ 4591007 w 5060100"/>
              <a:gd name="connsiteY3" fmla="*/ 1112361 h 2062210"/>
              <a:gd name="connsiteX4" fmla="*/ 5053184 w 5060100"/>
              <a:gd name="connsiteY4" fmla="*/ 1706495 h 2062210"/>
              <a:gd name="connsiteX5" fmla="*/ 3625180 w 5060100"/>
              <a:gd name="connsiteY5" fmla="*/ 2062210 h 2062210"/>
              <a:gd name="connsiteX0" fmla="*/ 0 w 5060100"/>
              <a:gd name="connsiteY0" fmla="*/ 0 h 2062210"/>
              <a:gd name="connsiteX1" fmla="*/ 4055100 w 5060100"/>
              <a:gd name="connsiteY1" fmla="*/ 782942 h 2062210"/>
              <a:gd name="connsiteX2" fmla="*/ 4516482 w 5060100"/>
              <a:gd name="connsiteY2" fmla="*/ 1011349 h 2062210"/>
              <a:gd name="connsiteX3" fmla="*/ 4591007 w 5060100"/>
              <a:gd name="connsiteY3" fmla="*/ 1112361 h 2062210"/>
              <a:gd name="connsiteX4" fmla="*/ 5053184 w 5060100"/>
              <a:gd name="connsiteY4" fmla="*/ 1706495 h 2062210"/>
              <a:gd name="connsiteX5" fmla="*/ 3625180 w 5060100"/>
              <a:gd name="connsiteY5" fmla="*/ 2062210 h 2062210"/>
              <a:gd name="connsiteX0" fmla="*/ 0 w 5060100"/>
              <a:gd name="connsiteY0" fmla="*/ 0 h 2062210"/>
              <a:gd name="connsiteX1" fmla="*/ 4055100 w 5060100"/>
              <a:gd name="connsiteY1" fmla="*/ 782942 h 2062210"/>
              <a:gd name="connsiteX2" fmla="*/ 4985833 w 5060100"/>
              <a:gd name="connsiteY2" fmla="*/ 1009730 h 2062210"/>
              <a:gd name="connsiteX3" fmla="*/ 4591007 w 5060100"/>
              <a:gd name="connsiteY3" fmla="*/ 1112361 h 2062210"/>
              <a:gd name="connsiteX4" fmla="*/ 5053184 w 5060100"/>
              <a:gd name="connsiteY4" fmla="*/ 1706495 h 2062210"/>
              <a:gd name="connsiteX5" fmla="*/ 3625180 w 5060100"/>
              <a:gd name="connsiteY5" fmla="*/ 2062210 h 2062210"/>
              <a:gd name="connsiteX0" fmla="*/ 0 w 5060100"/>
              <a:gd name="connsiteY0" fmla="*/ 0 h 2062210"/>
              <a:gd name="connsiteX1" fmla="*/ 4055100 w 5060100"/>
              <a:gd name="connsiteY1" fmla="*/ 782942 h 2062210"/>
              <a:gd name="connsiteX2" fmla="*/ 4985833 w 5060100"/>
              <a:gd name="connsiteY2" fmla="*/ 1009730 h 2062210"/>
              <a:gd name="connsiteX3" fmla="*/ 4994562 w 5060100"/>
              <a:gd name="connsiteY3" fmla="*/ 1117805 h 2062210"/>
              <a:gd name="connsiteX4" fmla="*/ 5053184 w 5060100"/>
              <a:gd name="connsiteY4" fmla="*/ 1706495 h 2062210"/>
              <a:gd name="connsiteX5" fmla="*/ 3625180 w 5060100"/>
              <a:gd name="connsiteY5" fmla="*/ 2062210 h 2062210"/>
              <a:gd name="connsiteX0" fmla="*/ 0 w 5060100"/>
              <a:gd name="connsiteY0" fmla="*/ 0 h 2062210"/>
              <a:gd name="connsiteX1" fmla="*/ 4055100 w 5060100"/>
              <a:gd name="connsiteY1" fmla="*/ 782942 h 2062210"/>
              <a:gd name="connsiteX2" fmla="*/ 4985833 w 5060100"/>
              <a:gd name="connsiteY2" fmla="*/ 1009730 h 2062210"/>
              <a:gd name="connsiteX3" fmla="*/ 4994562 w 5060100"/>
              <a:gd name="connsiteY3" fmla="*/ 1117805 h 2062210"/>
              <a:gd name="connsiteX4" fmla="*/ 5053184 w 5060100"/>
              <a:gd name="connsiteY4" fmla="*/ 1706495 h 2062210"/>
              <a:gd name="connsiteX5" fmla="*/ 3625180 w 5060100"/>
              <a:gd name="connsiteY5" fmla="*/ 2062210 h 2062210"/>
              <a:gd name="connsiteX0" fmla="*/ 0 w 5060100"/>
              <a:gd name="connsiteY0" fmla="*/ 0 h 2062210"/>
              <a:gd name="connsiteX1" fmla="*/ 4055100 w 5060100"/>
              <a:gd name="connsiteY1" fmla="*/ 782942 h 2062210"/>
              <a:gd name="connsiteX2" fmla="*/ 4913819 w 5060100"/>
              <a:gd name="connsiteY2" fmla="*/ 1013397 h 2062210"/>
              <a:gd name="connsiteX3" fmla="*/ 4994562 w 5060100"/>
              <a:gd name="connsiteY3" fmla="*/ 1117805 h 2062210"/>
              <a:gd name="connsiteX4" fmla="*/ 5053184 w 5060100"/>
              <a:gd name="connsiteY4" fmla="*/ 1706495 h 2062210"/>
              <a:gd name="connsiteX5" fmla="*/ 3625180 w 5060100"/>
              <a:gd name="connsiteY5" fmla="*/ 2062210 h 2062210"/>
              <a:gd name="connsiteX0" fmla="*/ 0 w 5060100"/>
              <a:gd name="connsiteY0" fmla="*/ 0 h 2062210"/>
              <a:gd name="connsiteX1" fmla="*/ 4055100 w 5060100"/>
              <a:gd name="connsiteY1" fmla="*/ 782942 h 2062210"/>
              <a:gd name="connsiteX2" fmla="*/ 4679130 w 5060100"/>
              <a:gd name="connsiteY2" fmla="*/ 1014207 h 2062210"/>
              <a:gd name="connsiteX3" fmla="*/ 4994562 w 5060100"/>
              <a:gd name="connsiteY3" fmla="*/ 1117805 h 2062210"/>
              <a:gd name="connsiteX4" fmla="*/ 5053184 w 5060100"/>
              <a:gd name="connsiteY4" fmla="*/ 1706495 h 2062210"/>
              <a:gd name="connsiteX5" fmla="*/ 3625180 w 5060100"/>
              <a:gd name="connsiteY5" fmla="*/ 2062210 h 2062210"/>
              <a:gd name="connsiteX0" fmla="*/ 0 w 5060100"/>
              <a:gd name="connsiteY0" fmla="*/ 0 h 2062210"/>
              <a:gd name="connsiteX1" fmla="*/ 4055100 w 5060100"/>
              <a:gd name="connsiteY1" fmla="*/ 782942 h 2062210"/>
              <a:gd name="connsiteX2" fmla="*/ 4907637 w 5060100"/>
              <a:gd name="connsiteY2" fmla="*/ 1010002 h 2062210"/>
              <a:gd name="connsiteX3" fmla="*/ 4994562 w 5060100"/>
              <a:gd name="connsiteY3" fmla="*/ 1117805 h 2062210"/>
              <a:gd name="connsiteX4" fmla="*/ 5053184 w 5060100"/>
              <a:gd name="connsiteY4" fmla="*/ 1706495 h 2062210"/>
              <a:gd name="connsiteX5" fmla="*/ 3625180 w 5060100"/>
              <a:gd name="connsiteY5" fmla="*/ 2062210 h 2062210"/>
              <a:gd name="connsiteX0" fmla="*/ 0 w 5060100"/>
              <a:gd name="connsiteY0" fmla="*/ 0 h 2062210"/>
              <a:gd name="connsiteX1" fmla="*/ 4055100 w 5060100"/>
              <a:gd name="connsiteY1" fmla="*/ 782942 h 2062210"/>
              <a:gd name="connsiteX2" fmla="*/ 4994562 w 5060100"/>
              <a:gd name="connsiteY2" fmla="*/ 1117805 h 2062210"/>
              <a:gd name="connsiteX3" fmla="*/ 5053184 w 5060100"/>
              <a:gd name="connsiteY3" fmla="*/ 1706495 h 2062210"/>
              <a:gd name="connsiteX4" fmla="*/ 3625180 w 5060100"/>
              <a:gd name="connsiteY4" fmla="*/ 2062210 h 2062210"/>
              <a:gd name="connsiteX0" fmla="*/ 0 w 5060100"/>
              <a:gd name="connsiteY0" fmla="*/ 0 h 2062210"/>
              <a:gd name="connsiteX1" fmla="*/ 3064693 w 5060100"/>
              <a:gd name="connsiteY1" fmla="*/ 793665 h 2062210"/>
              <a:gd name="connsiteX2" fmla="*/ 4994562 w 5060100"/>
              <a:gd name="connsiteY2" fmla="*/ 1117805 h 2062210"/>
              <a:gd name="connsiteX3" fmla="*/ 5053184 w 5060100"/>
              <a:gd name="connsiteY3" fmla="*/ 1706495 h 2062210"/>
              <a:gd name="connsiteX4" fmla="*/ 3625180 w 5060100"/>
              <a:gd name="connsiteY4" fmla="*/ 2062210 h 2062210"/>
              <a:gd name="connsiteX0" fmla="*/ 0 w 8454480"/>
              <a:gd name="connsiteY0" fmla="*/ 0 h 2062210"/>
              <a:gd name="connsiteX1" fmla="*/ 3064693 w 8454480"/>
              <a:gd name="connsiteY1" fmla="*/ 793665 h 2062210"/>
              <a:gd name="connsiteX2" fmla="*/ 8452468 w 8454480"/>
              <a:gd name="connsiteY2" fmla="*/ 1489541 h 2062210"/>
              <a:gd name="connsiteX3" fmla="*/ 5053184 w 8454480"/>
              <a:gd name="connsiteY3" fmla="*/ 1706495 h 2062210"/>
              <a:gd name="connsiteX4" fmla="*/ 3625180 w 8454480"/>
              <a:gd name="connsiteY4" fmla="*/ 2062210 h 2062210"/>
              <a:gd name="connsiteX0" fmla="*/ 0 w 8475958"/>
              <a:gd name="connsiteY0" fmla="*/ 0 h 2062210"/>
              <a:gd name="connsiteX1" fmla="*/ 3064693 w 8475958"/>
              <a:gd name="connsiteY1" fmla="*/ 793665 h 2062210"/>
              <a:gd name="connsiteX2" fmla="*/ 8452468 w 8475958"/>
              <a:gd name="connsiteY2" fmla="*/ 1489541 h 2062210"/>
              <a:gd name="connsiteX3" fmla="*/ 8420404 w 8475958"/>
              <a:gd name="connsiteY3" fmla="*/ 1844694 h 2062210"/>
              <a:gd name="connsiteX4" fmla="*/ 3625180 w 8475958"/>
              <a:gd name="connsiteY4" fmla="*/ 2062210 h 2062210"/>
              <a:gd name="connsiteX0" fmla="*/ 0 w 8475958"/>
              <a:gd name="connsiteY0" fmla="*/ 0 h 2181388"/>
              <a:gd name="connsiteX1" fmla="*/ 3064693 w 8475958"/>
              <a:gd name="connsiteY1" fmla="*/ 793665 h 2181388"/>
              <a:gd name="connsiteX2" fmla="*/ 8452468 w 8475958"/>
              <a:gd name="connsiteY2" fmla="*/ 1489541 h 2181388"/>
              <a:gd name="connsiteX3" fmla="*/ 8420404 w 8475958"/>
              <a:gd name="connsiteY3" fmla="*/ 1844694 h 2181388"/>
              <a:gd name="connsiteX4" fmla="*/ 7210118 w 8475958"/>
              <a:gd name="connsiteY4" fmla="*/ 2181388 h 2181388"/>
              <a:gd name="connsiteX0" fmla="*/ 0 w 8475958"/>
              <a:gd name="connsiteY0" fmla="*/ 0 h 2181388"/>
              <a:gd name="connsiteX1" fmla="*/ 4035153 w 8475958"/>
              <a:gd name="connsiteY1" fmla="*/ 772046 h 2181388"/>
              <a:gd name="connsiteX2" fmla="*/ 8452468 w 8475958"/>
              <a:gd name="connsiteY2" fmla="*/ 1489541 h 2181388"/>
              <a:gd name="connsiteX3" fmla="*/ 8420404 w 8475958"/>
              <a:gd name="connsiteY3" fmla="*/ 1844694 h 2181388"/>
              <a:gd name="connsiteX4" fmla="*/ 7210118 w 8475958"/>
              <a:gd name="connsiteY4" fmla="*/ 2181388 h 2181388"/>
              <a:gd name="connsiteX0" fmla="*/ 0 w 8475958"/>
              <a:gd name="connsiteY0" fmla="*/ 0 h 2181388"/>
              <a:gd name="connsiteX1" fmla="*/ 3476245 w 8475958"/>
              <a:gd name="connsiteY1" fmla="*/ 788588 h 2181388"/>
              <a:gd name="connsiteX2" fmla="*/ 8452468 w 8475958"/>
              <a:gd name="connsiteY2" fmla="*/ 1489541 h 2181388"/>
              <a:gd name="connsiteX3" fmla="*/ 8420404 w 8475958"/>
              <a:gd name="connsiteY3" fmla="*/ 1844694 h 2181388"/>
              <a:gd name="connsiteX4" fmla="*/ 7210118 w 8475958"/>
              <a:gd name="connsiteY4" fmla="*/ 2181388 h 2181388"/>
              <a:gd name="connsiteX0" fmla="*/ 0 w 8475958"/>
              <a:gd name="connsiteY0" fmla="*/ 0 h 2181388"/>
              <a:gd name="connsiteX1" fmla="*/ 3908453 w 8475958"/>
              <a:gd name="connsiteY1" fmla="*/ 787095 h 2181388"/>
              <a:gd name="connsiteX2" fmla="*/ 8452468 w 8475958"/>
              <a:gd name="connsiteY2" fmla="*/ 1489541 h 2181388"/>
              <a:gd name="connsiteX3" fmla="*/ 8420404 w 8475958"/>
              <a:gd name="connsiteY3" fmla="*/ 1844694 h 2181388"/>
              <a:gd name="connsiteX4" fmla="*/ 7210118 w 8475958"/>
              <a:gd name="connsiteY4" fmla="*/ 2181388 h 2181388"/>
              <a:gd name="connsiteX0" fmla="*/ 0 w 8475958"/>
              <a:gd name="connsiteY0" fmla="*/ 0 h 2181388"/>
              <a:gd name="connsiteX1" fmla="*/ 3908453 w 8475958"/>
              <a:gd name="connsiteY1" fmla="*/ 787095 h 2181388"/>
              <a:gd name="connsiteX2" fmla="*/ 8452468 w 8475958"/>
              <a:gd name="connsiteY2" fmla="*/ 1489541 h 2181388"/>
              <a:gd name="connsiteX3" fmla="*/ 8420404 w 8475958"/>
              <a:gd name="connsiteY3" fmla="*/ 1844694 h 2181388"/>
              <a:gd name="connsiteX4" fmla="*/ 7210118 w 8475958"/>
              <a:gd name="connsiteY4" fmla="*/ 2181388 h 2181388"/>
              <a:gd name="connsiteX0" fmla="*/ 0 w 8475958"/>
              <a:gd name="connsiteY0" fmla="*/ 0 h 2181388"/>
              <a:gd name="connsiteX1" fmla="*/ 3908453 w 8475958"/>
              <a:gd name="connsiteY1" fmla="*/ 787095 h 2181388"/>
              <a:gd name="connsiteX2" fmla="*/ 8452468 w 8475958"/>
              <a:gd name="connsiteY2" fmla="*/ 1489541 h 2181388"/>
              <a:gd name="connsiteX3" fmla="*/ 8420404 w 8475958"/>
              <a:gd name="connsiteY3" fmla="*/ 1844694 h 2181388"/>
              <a:gd name="connsiteX4" fmla="*/ 7210118 w 8475958"/>
              <a:gd name="connsiteY4" fmla="*/ 2181388 h 2181388"/>
              <a:gd name="connsiteX0" fmla="*/ 0 w 8475958"/>
              <a:gd name="connsiteY0" fmla="*/ 0 h 2181388"/>
              <a:gd name="connsiteX1" fmla="*/ 3908453 w 8475958"/>
              <a:gd name="connsiteY1" fmla="*/ 787095 h 2181388"/>
              <a:gd name="connsiteX2" fmla="*/ 8452468 w 8475958"/>
              <a:gd name="connsiteY2" fmla="*/ 1489541 h 2181388"/>
              <a:gd name="connsiteX3" fmla="*/ 8420404 w 8475958"/>
              <a:gd name="connsiteY3" fmla="*/ 1844694 h 2181388"/>
              <a:gd name="connsiteX4" fmla="*/ 7210118 w 8475958"/>
              <a:gd name="connsiteY4" fmla="*/ 2181388 h 2181388"/>
              <a:gd name="connsiteX0" fmla="*/ 0 w 8593430"/>
              <a:gd name="connsiteY0" fmla="*/ 0 h 2181388"/>
              <a:gd name="connsiteX1" fmla="*/ 3908453 w 8593430"/>
              <a:gd name="connsiteY1" fmla="*/ 787095 h 2181388"/>
              <a:gd name="connsiteX2" fmla="*/ 8452468 w 8593430"/>
              <a:gd name="connsiteY2" fmla="*/ 1489541 h 2181388"/>
              <a:gd name="connsiteX3" fmla="*/ 8420404 w 8593430"/>
              <a:gd name="connsiteY3" fmla="*/ 1844694 h 2181388"/>
              <a:gd name="connsiteX4" fmla="*/ 7210118 w 8593430"/>
              <a:gd name="connsiteY4" fmla="*/ 2181388 h 2181388"/>
              <a:gd name="connsiteX0" fmla="*/ 165383 w 8758813"/>
              <a:gd name="connsiteY0" fmla="*/ 0 h 2181388"/>
              <a:gd name="connsiteX1" fmla="*/ 4073836 w 8758813"/>
              <a:gd name="connsiteY1" fmla="*/ 787095 h 2181388"/>
              <a:gd name="connsiteX2" fmla="*/ 8617851 w 8758813"/>
              <a:gd name="connsiteY2" fmla="*/ 1489541 h 2181388"/>
              <a:gd name="connsiteX3" fmla="*/ 8585787 w 8758813"/>
              <a:gd name="connsiteY3" fmla="*/ 1844694 h 2181388"/>
              <a:gd name="connsiteX4" fmla="*/ 7375501 w 8758813"/>
              <a:gd name="connsiteY4" fmla="*/ 2181388 h 2181388"/>
              <a:gd name="connsiteX0" fmla="*/ 176331 w 8577293"/>
              <a:gd name="connsiteY0" fmla="*/ 1 h 2122450"/>
              <a:gd name="connsiteX1" fmla="*/ 3892316 w 8577293"/>
              <a:gd name="connsiteY1" fmla="*/ 728157 h 2122450"/>
              <a:gd name="connsiteX2" fmla="*/ 8436331 w 8577293"/>
              <a:gd name="connsiteY2" fmla="*/ 1430603 h 2122450"/>
              <a:gd name="connsiteX3" fmla="*/ 8404267 w 8577293"/>
              <a:gd name="connsiteY3" fmla="*/ 1785756 h 2122450"/>
              <a:gd name="connsiteX4" fmla="*/ 7193981 w 8577293"/>
              <a:gd name="connsiteY4" fmla="*/ 2122450 h 2122450"/>
              <a:gd name="connsiteX0" fmla="*/ 1109033 w 9509995"/>
              <a:gd name="connsiteY0" fmla="*/ 1 h 2122450"/>
              <a:gd name="connsiteX1" fmla="*/ 748642 w 9509995"/>
              <a:gd name="connsiteY1" fmla="*/ 873847 h 2122450"/>
              <a:gd name="connsiteX2" fmla="*/ 9369033 w 9509995"/>
              <a:gd name="connsiteY2" fmla="*/ 1430603 h 2122450"/>
              <a:gd name="connsiteX3" fmla="*/ 9336969 w 9509995"/>
              <a:gd name="connsiteY3" fmla="*/ 1785756 h 2122450"/>
              <a:gd name="connsiteX4" fmla="*/ 8126683 w 9509995"/>
              <a:gd name="connsiteY4" fmla="*/ 2122450 h 2122450"/>
              <a:gd name="connsiteX0" fmla="*/ 589489 w 8826306"/>
              <a:gd name="connsiteY0" fmla="*/ 1 h 2122450"/>
              <a:gd name="connsiteX1" fmla="*/ 229098 w 8826306"/>
              <a:gd name="connsiteY1" fmla="*/ 873847 h 2122450"/>
              <a:gd name="connsiteX2" fmla="*/ 1270154 w 8826306"/>
              <a:gd name="connsiteY2" fmla="*/ 1484541 h 2122450"/>
              <a:gd name="connsiteX3" fmla="*/ 8817425 w 8826306"/>
              <a:gd name="connsiteY3" fmla="*/ 1785756 h 2122450"/>
              <a:gd name="connsiteX4" fmla="*/ 7607139 w 8826306"/>
              <a:gd name="connsiteY4" fmla="*/ 2122450 h 2122450"/>
              <a:gd name="connsiteX0" fmla="*/ 589489 w 8826306"/>
              <a:gd name="connsiteY0" fmla="*/ 1 h 2122450"/>
              <a:gd name="connsiteX1" fmla="*/ 229098 w 8826306"/>
              <a:gd name="connsiteY1" fmla="*/ 873847 h 2122450"/>
              <a:gd name="connsiteX2" fmla="*/ 1270154 w 8826306"/>
              <a:gd name="connsiteY2" fmla="*/ 1484541 h 2122450"/>
              <a:gd name="connsiteX3" fmla="*/ 8817425 w 8826306"/>
              <a:gd name="connsiteY3" fmla="*/ 1785756 h 2122450"/>
              <a:gd name="connsiteX4" fmla="*/ 7607139 w 8826306"/>
              <a:gd name="connsiteY4" fmla="*/ 2122450 h 2122450"/>
              <a:gd name="connsiteX0" fmla="*/ 938825 w 9175642"/>
              <a:gd name="connsiteY0" fmla="*/ 1 h 2122450"/>
              <a:gd name="connsiteX1" fmla="*/ 45382 w 9175642"/>
              <a:gd name="connsiteY1" fmla="*/ 871232 h 2122450"/>
              <a:gd name="connsiteX2" fmla="*/ 1619490 w 9175642"/>
              <a:gd name="connsiteY2" fmla="*/ 1484541 h 2122450"/>
              <a:gd name="connsiteX3" fmla="*/ 9166761 w 9175642"/>
              <a:gd name="connsiteY3" fmla="*/ 1785756 h 2122450"/>
              <a:gd name="connsiteX4" fmla="*/ 7956475 w 9175642"/>
              <a:gd name="connsiteY4" fmla="*/ 2122450 h 2122450"/>
              <a:gd name="connsiteX0" fmla="*/ 938825 w 9175642"/>
              <a:gd name="connsiteY0" fmla="*/ 1 h 2122450"/>
              <a:gd name="connsiteX1" fmla="*/ 45382 w 9175642"/>
              <a:gd name="connsiteY1" fmla="*/ 871232 h 2122450"/>
              <a:gd name="connsiteX2" fmla="*/ 1619490 w 9175642"/>
              <a:gd name="connsiteY2" fmla="*/ 1484541 h 2122450"/>
              <a:gd name="connsiteX3" fmla="*/ 9166761 w 9175642"/>
              <a:gd name="connsiteY3" fmla="*/ 1785756 h 2122450"/>
              <a:gd name="connsiteX4" fmla="*/ 7956470 w 9175642"/>
              <a:gd name="connsiteY4" fmla="*/ 2122449 h 2122450"/>
              <a:gd name="connsiteX0" fmla="*/ 938825 w 9175642"/>
              <a:gd name="connsiteY0" fmla="*/ 1 h 2122450"/>
              <a:gd name="connsiteX1" fmla="*/ 45382 w 9175642"/>
              <a:gd name="connsiteY1" fmla="*/ 871232 h 2122450"/>
              <a:gd name="connsiteX2" fmla="*/ 1619490 w 9175642"/>
              <a:gd name="connsiteY2" fmla="*/ 1484541 h 2122450"/>
              <a:gd name="connsiteX3" fmla="*/ 9166761 w 9175642"/>
              <a:gd name="connsiteY3" fmla="*/ 1785756 h 2122450"/>
              <a:gd name="connsiteX4" fmla="*/ 7956470 w 9175642"/>
              <a:gd name="connsiteY4" fmla="*/ 2122449 h 2122450"/>
              <a:gd name="connsiteX0" fmla="*/ 938825 w 7956486"/>
              <a:gd name="connsiteY0" fmla="*/ 1 h 2122450"/>
              <a:gd name="connsiteX1" fmla="*/ 45382 w 7956486"/>
              <a:gd name="connsiteY1" fmla="*/ 871232 h 2122450"/>
              <a:gd name="connsiteX2" fmla="*/ 1619490 w 7956486"/>
              <a:gd name="connsiteY2" fmla="*/ 1484541 h 2122450"/>
              <a:gd name="connsiteX3" fmla="*/ 3159235 w 7956486"/>
              <a:gd name="connsiteY3" fmla="*/ 1764563 h 2122450"/>
              <a:gd name="connsiteX4" fmla="*/ 7956470 w 7956486"/>
              <a:gd name="connsiteY4" fmla="*/ 2122449 h 2122450"/>
              <a:gd name="connsiteX0" fmla="*/ 938825 w 9363224"/>
              <a:gd name="connsiteY0" fmla="*/ 1 h 2071363"/>
              <a:gd name="connsiteX1" fmla="*/ 45382 w 9363224"/>
              <a:gd name="connsiteY1" fmla="*/ 871232 h 2071363"/>
              <a:gd name="connsiteX2" fmla="*/ 1619490 w 9363224"/>
              <a:gd name="connsiteY2" fmla="*/ 1484541 h 2071363"/>
              <a:gd name="connsiteX3" fmla="*/ 3159235 w 9363224"/>
              <a:gd name="connsiteY3" fmla="*/ 1764563 h 2071363"/>
              <a:gd name="connsiteX4" fmla="*/ 9363221 w 9363224"/>
              <a:gd name="connsiteY4" fmla="*/ 2071364 h 2071363"/>
              <a:gd name="connsiteX0" fmla="*/ 938825 w 9363224"/>
              <a:gd name="connsiteY0" fmla="*/ 1 h 2071363"/>
              <a:gd name="connsiteX1" fmla="*/ 45382 w 9363224"/>
              <a:gd name="connsiteY1" fmla="*/ 871232 h 2071363"/>
              <a:gd name="connsiteX2" fmla="*/ 1619490 w 9363224"/>
              <a:gd name="connsiteY2" fmla="*/ 1484541 h 2071363"/>
              <a:gd name="connsiteX3" fmla="*/ 3159235 w 9363224"/>
              <a:gd name="connsiteY3" fmla="*/ 1764563 h 2071363"/>
              <a:gd name="connsiteX4" fmla="*/ 9363221 w 9363224"/>
              <a:gd name="connsiteY4" fmla="*/ 2071364 h 2071363"/>
              <a:gd name="connsiteX0" fmla="*/ 938825 w 9363224"/>
              <a:gd name="connsiteY0" fmla="*/ 1 h 2071363"/>
              <a:gd name="connsiteX1" fmla="*/ 45382 w 9363224"/>
              <a:gd name="connsiteY1" fmla="*/ 871232 h 2071363"/>
              <a:gd name="connsiteX2" fmla="*/ 1619490 w 9363224"/>
              <a:gd name="connsiteY2" fmla="*/ 1484541 h 2071363"/>
              <a:gd name="connsiteX3" fmla="*/ 9363221 w 9363224"/>
              <a:gd name="connsiteY3" fmla="*/ 2071364 h 2071363"/>
              <a:gd name="connsiteX0" fmla="*/ 1997507 w 10421906"/>
              <a:gd name="connsiteY0" fmla="*/ 1 h 2071363"/>
              <a:gd name="connsiteX1" fmla="*/ 7895 w 10421906"/>
              <a:gd name="connsiteY1" fmla="*/ 865851 h 2071363"/>
              <a:gd name="connsiteX2" fmla="*/ 2678172 w 10421906"/>
              <a:gd name="connsiteY2" fmla="*/ 1484541 h 2071363"/>
              <a:gd name="connsiteX3" fmla="*/ 10421903 w 10421906"/>
              <a:gd name="connsiteY3" fmla="*/ 2071364 h 2071363"/>
              <a:gd name="connsiteX0" fmla="*/ 2670438 w 11094837"/>
              <a:gd name="connsiteY0" fmla="*/ 1 h 2071363"/>
              <a:gd name="connsiteX1" fmla="*/ 680826 w 11094837"/>
              <a:gd name="connsiteY1" fmla="*/ 865851 h 2071363"/>
              <a:gd name="connsiteX2" fmla="*/ 3351103 w 11094837"/>
              <a:gd name="connsiteY2" fmla="*/ 1484541 h 2071363"/>
              <a:gd name="connsiteX3" fmla="*/ 11094834 w 11094837"/>
              <a:gd name="connsiteY3" fmla="*/ 2071364 h 2071363"/>
              <a:gd name="connsiteX0" fmla="*/ 2670438 w 11094837"/>
              <a:gd name="connsiteY0" fmla="*/ 1 h 2071363"/>
              <a:gd name="connsiteX1" fmla="*/ 680826 w 11094837"/>
              <a:gd name="connsiteY1" fmla="*/ 865851 h 2071363"/>
              <a:gd name="connsiteX2" fmla="*/ 3351103 w 11094837"/>
              <a:gd name="connsiteY2" fmla="*/ 1484541 h 2071363"/>
              <a:gd name="connsiteX3" fmla="*/ 11094834 w 11094837"/>
              <a:gd name="connsiteY3" fmla="*/ 2071364 h 2071363"/>
            </a:gdLst>
            <a:ahLst/>
            <a:cxnLst>
              <a:cxn ang="0">
                <a:pos x="connsiteX0" y="connsiteY0"/>
              </a:cxn>
              <a:cxn ang="0">
                <a:pos x="connsiteX1" y="connsiteY1"/>
              </a:cxn>
              <a:cxn ang="0">
                <a:pos x="connsiteX2" y="connsiteY2"/>
              </a:cxn>
              <a:cxn ang="0">
                <a:pos x="connsiteX3" y="connsiteY3"/>
              </a:cxn>
            </a:cxnLst>
            <a:rect l="l" t="t" r="r" b="b"/>
            <a:pathLst>
              <a:path w="11094837" h="2071363">
                <a:moveTo>
                  <a:pt x="2670438" y="1"/>
                </a:moveTo>
                <a:cubicBezTo>
                  <a:pt x="-1680817" y="475189"/>
                  <a:pt x="567382" y="618428"/>
                  <a:pt x="680826" y="865851"/>
                </a:cubicBezTo>
                <a:cubicBezTo>
                  <a:pt x="794270" y="1113274"/>
                  <a:pt x="2284981" y="1293598"/>
                  <a:pt x="3351103" y="1484541"/>
                </a:cubicBezTo>
                <a:cubicBezTo>
                  <a:pt x="4904076" y="1684563"/>
                  <a:pt x="9481557" y="1949109"/>
                  <a:pt x="11094834" y="2071364"/>
                </a:cubicBezTo>
              </a:path>
            </a:pathLst>
          </a:custGeom>
          <a:noFill/>
          <a:ln w="12700" cap="flat" cmpd="sng" algn="ctr">
            <a:solidFill>
              <a:srgbClr val="13835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de-DE"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05" name="Freeform 103"/>
          <p:cNvSpPr/>
          <p:nvPr/>
        </p:nvSpPr>
        <p:spPr bwMode="auto">
          <a:xfrm rot="20462716" flipH="1">
            <a:off x="2583055" y="3218197"/>
            <a:ext cx="8904" cy="292748"/>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2875322"/>
              <a:gd name="connsiteY0" fmla="*/ 0 h 1850561"/>
              <a:gd name="connsiteX1" fmla="*/ 2875322 w 2875322"/>
              <a:gd name="connsiteY1" fmla="*/ 1850561 h 1850561"/>
              <a:gd name="connsiteX0" fmla="*/ 0 w 2875322"/>
              <a:gd name="connsiteY0" fmla="*/ 0 h 1850561"/>
              <a:gd name="connsiteX1" fmla="*/ 2875322 w 2875322"/>
              <a:gd name="connsiteY1" fmla="*/ 1850561 h 1850561"/>
              <a:gd name="connsiteX0" fmla="*/ 0 w 2894703"/>
              <a:gd name="connsiteY0" fmla="*/ 0 h 1850561"/>
              <a:gd name="connsiteX1" fmla="*/ 2894703 w 2894703"/>
              <a:gd name="connsiteY1" fmla="*/ 1850561 h 1850561"/>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0239"/>
              <a:gd name="connsiteY0" fmla="*/ 0 h 2300301"/>
              <a:gd name="connsiteX1" fmla="*/ 3480239 w 3480239"/>
              <a:gd name="connsiteY1" fmla="*/ 2300301 h 2300301"/>
              <a:gd name="connsiteX0" fmla="*/ 0 w 3480239"/>
              <a:gd name="connsiteY0" fmla="*/ 0 h 2300301"/>
              <a:gd name="connsiteX1" fmla="*/ 3480239 w 348023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521439"/>
              <a:gd name="connsiteY0" fmla="*/ 0 h 2232170"/>
              <a:gd name="connsiteX1" fmla="*/ 3521439 w 3521439"/>
              <a:gd name="connsiteY1" fmla="*/ 2232170 h 2232170"/>
              <a:gd name="connsiteX0" fmla="*/ 0 w 3521439"/>
              <a:gd name="connsiteY0" fmla="*/ 0 h 2232170"/>
              <a:gd name="connsiteX1" fmla="*/ 3521439 w 3521439"/>
              <a:gd name="connsiteY1" fmla="*/ 2232170 h 2232170"/>
              <a:gd name="connsiteX0" fmla="*/ 0 w 3521439"/>
              <a:gd name="connsiteY0" fmla="*/ 0 h 2209460"/>
              <a:gd name="connsiteX1" fmla="*/ 3521439 w 3521439"/>
              <a:gd name="connsiteY1" fmla="*/ 2209460 h 2209460"/>
              <a:gd name="connsiteX0" fmla="*/ 0 w 3521439"/>
              <a:gd name="connsiteY0" fmla="*/ 0 h 2209460"/>
              <a:gd name="connsiteX1" fmla="*/ 3521439 w 3521439"/>
              <a:gd name="connsiteY1" fmla="*/ 2209460 h 2209460"/>
              <a:gd name="connsiteX0" fmla="*/ 0 w 3166484"/>
              <a:gd name="connsiteY0" fmla="*/ 0 h 1509983"/>
              <a:gd name="connsiteX1" fmla="*/ 3166484 w 3166484"/>
              <a:gd name="connsiteY1" fmla="*/ 1509983 h 1509983"/>
              <a:gd name="connsiteX0" fmla="*/ 0 w 2028493"/>
              <a:gd name="connsiteY0" fmla="*/ 0 h 405367"/>
              <a:gd name="connsiteX1" fmla="*/ 2028493 w 2028493"/>
              <a:gd name="connsiteY1" fmla="*/ 62202 h 405367"/>
              <a:gd name="connsiteX0" fmla="*/ 0 w 2028493"/>
              <a:gd name="connsiteY0" fmla="*/ 0 h 410101"/>
              <a:gd name="connsiteX1" fmla="*/ 2028493 w 2028493"/>
              <a:gd name="connsiteY1" fmla="*/ 62202 h 410101"/>
              <a:gd name="connsiteX0" fmla="*/ 0 w 2049034"/>
              <a:gd name="connsiteY0" fmla="*/ 0 h 413154"/>
              <a:gd name="connsiteX1" fmla="*/ 2049034 w 2049034"/>
              <a:gd name="connsiteY1" fmla="*/ 76396 h 413154"/>
              <a:gd name="connsiteX0" fmla="*/ 0 w 2049034"/>
              <a:gd name="connsiteY0" fmla="*/ 143813 h 220209"/>
              <a:gd name="connsiteX1" fmla="*/ 2049034 w 2049034"/>
              <a:gd name="connsiteY1" fmla="*/ 220209 h 220209"/>
              <a:gd name="connsiteX0" fmla="*/ 0 w 2049034"/>
              <a:gd name="connsiteY0" fmla="*/ 154753 h 231149"/>
              <a:gd name="connsiteX1" fmla="*/ 2049034 w 2049034"/>
              <a:gd name="connsiteY1" fmla="*/ 231149 h 231149"/>
              <a:gd name="connsiteX0" fmla="*/ 0 w 2057250"/>
              <a:gd name="connsiteY0" fmla="*/ 145732 h 242000"/>
              <a:gd name="connsiteX1" fmla="*/ 2057250 w 2057250"/>
              <a:gd name="connsiteY1" fmla="*/ 242000 h 242000"/>
              <a:gd name="connsiteX0" fmla="*/ 0 w 2057250"/>
              <a:gd name="connsiteY0" fmla="*/ 155638 h 251906"/>
              <a:gd name="connsiteX1" fmla="*/ 2057250 w 2057250"/>
              <a:gd name="connsiteY1" fmla="*/ 251906 h 251906"/>
              <a:gd name="connsiteX0" fmla="*/ 0 w 2057250"/>
              <a:gd name="connsiteY0" fmla="*/ 154153 h 250421"/>
              <a:gd name="connsiteX1" fmla="*/ 2057250 w 2057250"/>
              <a:gd name="connsiteY1" fmla="*/ 250421 h 250421"/>
              <a:gd name="connsiteX0" fmla="*/ 0 w 2057250"/>
              <a:gd name="connsiteY0" fmla="*/ 175529 h 271797"/>
              <a:gd name="connsiteX1" fmla="*/ 2057250 w 2057250"/>
              <a:gd name="connsiteY1" fmla="*/ 271797 h 271797"/>
              <a:gd name="connsiteX0" fmla="*/ 0 w 1925785"/>
              <a:gd name="connsiteY0" fmla="*/ 146190 h 318159"/>
              <a:gd name="connsiteX1" fmla="*/ 1925785 w 1925785"/>
              <a:gd name="connsiteY1" fmla="*/ 318159 h 318159"/>
              <a:gd name="connsiteX0" fmla="*/ 0 w 1942218"/>
              <a:gd name="connsiteY0" fmla="*/ 143309 h 323795"/>
              <a:gd name="connsiteX1" fmla="*/ 1942218 w 1942218"/>
              <a:gd name="connsiteY1" fmla="*/ 323795 h 323795"/>
              <a:gd name="connsiteX0" fmla="*/ 0 w 1942218"/>
              <a:gd name="connsiteY0" fmla="*/ 1 h 180487"/>
              <a:gd name="connsiteX1" fmla="*/ 1942218 w 1942218"/>
              <a:gd name="connsiteY1" fmla="*/ 180487 h 180487"/>
              <a:gd name="connsiteX0" fmla="*/ 0 w 1966867"/>
              <a:gd name="connsiteY0" fmla="*/ 0 h 171970"/>
              <a:gd name="connsiteX1" fmla="*/ 1966867 w 1966867"/>
              <a:gd name="connsiteY1" fmla="*/ 171971 h 171970"/>
              <a:gd name="connsiteX0" fmla="*/ 0 w 1966867"/>
              <a:gd name="connsiteY0" fmla="*/ 0 h 171971"/>
              <a:gd name="connsiteX1" fmla="*/ 1966867 w 1966867"/>
              <a:gd name="connsiteY1" fmla="*/ 171971 h 171971"/>
              <a:gd name="connsiteX0" fmla="*/ 0 w 1958651"/>
              <a:gd name="connsiteY0" fmla="*/ 0 h 186165"/>
              <a:gd name="connsiteX1" fmla="*/ 1958651 w 1958651"/>
              <a:gd name="connsiteY1" fmla="*/ 186165 h 186165"/>
              <a:gd name="connsiteX0" fmla="*/ 0 w 1954543"/>
              <a:gd name="connsiteY0" fmla="*/ 0 h 203197"/>
              <a:gd name="connsiteX1" fmla="*/ 1954543 w 1954543"/>
              <a:gd name="connsiteY1" fmla="*/ 203197 h 203197"/>
              <a:gd name="connsiteX0" fmla="*/ 0 w 2324286"/>
              <a:gd name="connsiteY0" fmla="*/ 0 h 475721"/>
              <a:gd name="connsiteX1" fmla="*/ 2324286 w 2324286"/>
              <a:gd name="connsiteY1" fmla="*/ 475721 h 475721"/>
              <a:gd name="connsiteX0" fmla="*/ 0 w 2324286"/>
              <a:gd name="connsiteY0" fmla="*/ 0 h 479624"/>
              <a:gd name="connsiteX1" fmla="*/ 2324286 w 2324286"/>
              <a:gd name="connsiteY1" fmla="*/ 475721 h 479624"/>
              <a:gd name="connsiteX0" fmla="*/ 0 w 2324286"/>
              <a:gd name="connsiteY0" fmla="*/ 0 h 480172"/>
              <a:gd name="connsiteX1" fmla="*/ 2324286 w 2324286"/>
              <a:gd name="connsiteY1" fmla="*/ 475721 h 480172"/>
              <a:gd name="connsiteX0" fmla="*/ 0 w 2324286"/>
              <a:gd name="connsiteY0" fmla="*/ 0 h 475721"/>
              <a:gd name="connsiteX1" fmla="*/ 2324286 w 2324286"/>
              <a:gd name="connsiteY1" fmla="*/ 475721 h 475721"/>
              <a:gd name="connsiteX0" fmla="*/ 0 w 2316069"/>
              <a:gd name="connsiteY0" fmla="*/ 0 h 498431"/>
              <a:gd name="connsiteX1" fmla="*/ 2316069 w 2316069"/>
              <a:gd name="connsiteY1" fmla="*/ 498431 h 498431"/>
              <a:gd name="connsiteX0" fmla="*/ 0 w 2316069"/>
              <a:gd name="connsiteY0" fmla="*/ 0 h 498431"/>
              <a:gd name="connsiteX1" fmla="*/ 2316069 w 2316069"/>
              <a:gd name="connsiteY1" fmla="*/ 498431 h 49843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04754"/>
              <a:gd name="connsiteY0" fmla="*/ 0 h 1015091"/>
              <a:gd name="connsiteX1" fmla="*/ 4604754 w 4604754"/>
              <a:gd name="connsiteY1" fmla="*/ 1015091 h 1015091"/>
              <a:gd name="connsiteX0" fmla="*/ 0 w 4604754"/>
              <a:gd name="connsiteY0" fmla="*/ 0 h 1015091"/>
              <a:gd name="connsiteX1" fmla="*/ 4604754 w 4604754"/>
              <a:gd name="connsiteY1" fmla="*/ 1015091 h 1015091"/>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23432 h 1021455"/>
              <a:gd name="connsiteX1" fmla="*/ 4604754 w 4604754"/>
              <a:gd name="connsiteY1" fmla="*/ 1021455 h 1021455"/>
              <a:gd name="connsiteX0" fmla="*/ 0 w 4621488"/>
              <a:gd name="connsiteY0" fmla="*/ 28563 h 866964"/>
              <a:gd name="connsiteX1" fmla="*/ 4621488 w 4621488"/>
              <a:gd name="connsiteY1" fmla="*/ 866966 h 866964"/>
              <a:gd name="connsiteX0" fmla="*/ 0 w 4621488"/>
              <a:gd name="connsiteY0" fmla="*/ 35875 h 874276"/>
              <a:gd name="connsiteX1" fmla="*/ 4621488 w 4621488"/>
              <a:gd name="connsiteY1" fmla="*/ 874278 h 874276"/>
              <a:gd name="connsiteX0" fmla="*/ 2 w 4634037"/>
              <a:gd name="connsiteY0" fmla="*/ 44537 h 763234"/>
              <a:gd name="connsiteX1" fmla="*/ 4634037 w 4634037"/>
              <a:gd name="connsiteY1" fmla="*/ 763236 h 763234"/>
              <a:gd name="connsiteX0" fmla="*/ 2 w 4634037"/>
              <a:gd name="connsiteY0" fmla="*/ -3 h 718694"/>
              <a:gd name="connsiteX1" fmla="*/ 4634037 w 4634037"/>
              <a:gd name="connsiteY1" fmla="*/ 718696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1413475"/>
              <a:gd name="connsiteY0" fmla="*/ 606407 h 728390"/>
              <a:gd name="connsiteX1" fmla="*/ 1413474 w 1413475"/>
              <a:gd name="connsiteY1" fmla="*/ 126977 h 728390"/>
              <a:gd name="connsiteX0" fmla="*/ 2 w 1413475"/>
              <a:gd name="connsiteY0" fmla="*/ 479431 h 721543"/>
              <a:gd name="connsiteX1" fmla="*/ 1413474 w 1413475"/>
              <a:gd name="connsiteY1" fmla="*/ 1 h 721543"/>
              <a:gd name="connsiteX0" fmla="*/ 3 w 1605506"/>
              <a:gd name="connsiteY0" fmla="*/ 487353 h 727739"/>
              <a:gd name="connsiteX1" fmla="*/ 1605505 w 1605506"/>
              <a:gd name="connsiteY1" fmla="*/ 1 h 727739"/>
              <a:gd name="connsiteX0" fmla="*/ 3 w 1605506"/>
              <a:gd name="connsiteY0" fmla="*/ 487353 h 595674"/>
              <a:gd name="connsiteX1" fmla="*/ 1605505 w 1605506"/>
              <a:gd name="connsiteY1" fmla="*/ 1 h 595674"/>
              <a:gd name="connsiteX0" fmla="*/ 3 w 1573179"/>
              <a:gd name="connsiteY0" fmla="*/ 635014 h 720486"/>
              <a:gd name="connsiteX1" fmla="*/ 1573180 w 1573179"/>
              <a:gd name="connsiteY1" fmla="*/ 1 h 720486"/>
              <a:gd name="connsiteX0" fmla="*/ 3 w 1573179"/>
              <a:gd name="connsiteY0" fmla="*/ 635014 h 727984"/>
              <a:gd name="connsiteX1" fmla="*/ 1573180 w 1573179"/>
              <a:gd name="connsiteY1" fmla="*/ 1 h 727984"/>
              <a:gd name="connsiteX0" fmla="*/ 3 w 1619069"/>
              <a:gd name="connsiteY0" fmla="*/ 464741 h 589089"/>
              <a:gd name="connsiteX1" fmla="*/ 1619069 w 1619069"/>
              <a:gd name="connsiteY1" fmla="*/ 1 h 589089"/>
              <a:gd name="connsiteX0" fmla="*/ 3 w 1619069"/>
              <a:gd name="connsiteY0" fmla="*/ 464741 h 644508"/>
              <a:gd name="connsiteX1" fmla="*/ 1619069 w 1619069"/>
              <a:gd name="connsiteY1" fmla="*/ 1 h 644508"/>
              <a:gd name="connsiteX0" fmla="*/ 3 w 1619069"/>
              <a:gd name="connsiteY0" fmla="*/ 464741 h 573752"/>
              <a:gd name="connsiteX1" fmla="*/ 1619069 w 1619069"/>
              <a:gd name="connsiteY1" fmla="*/ 1 h 573752"/>
              <a:gd name="connsiteX0" fmla="*/ 3 w 1619069"/>
              <a:gd name="connsiteY0" fmla="*/ 496657 h 598698"/>
              <a:gd name="connsiteX1" fmla="*/ 1619069 w 1619069"/>
              <a:gd name="connsiteY1" fmla="*/ 0 h 598698"/>
              <a:gd name="connsiteX0" fmla="*/ 3 w 7916977"/>
              <a:gd name="connsiteY0" fmla="*/ 2826772 h 2841912"/>
              <a:gd name="connsiteX1" fmla="*/ 7916977 w 7916977"/>
              <a:gd name="connsiteY1" fmla="*/ 0 h 2841912"/>
              <a:gd name="connsiteX0" fmla="*/ 3 w 7916977"/>
              <a:gd name="connsiteY0" fmla="*/ 2826772 h 2846255"/>
              <a:gd name="connsiteX1" fmla="*/ 7916977 w 7916977"/>
              <a:gd name="connsiteY1" fmla="*/ 0 h 2846255"/>
              <a:gd name="connsiteX0" fmla="*/ 3 w 7916977"/>
              <a:gd name="connsiteY0" fmla="*/ 2826772 h 3052074"/>
              <a:gd name="connsiteX1" fmla="*/ 7916977 w 7916977"/>
              <a:gd name="connsiteY1" fmla="*/ 0 h 3052074"/>
              <a:gd name="connsiteX0" fmla="*/ 3 w 7916977"/>
              <a:gd name="connsiteY0" fmla="*/ 2826772 h 3005674"/>
              <a:gd name="connsiteX1" fmla="*/ 7916977 w 7916977"/>
              <a:gd name="connsiteY1" fmla="*/ 0 h 3005674"/>
              <a:gd name="connsiteX0" fmla="*/ 0 w 7916977"/>
              <a:gd name="connsiteY0" fmla="*/ 2778890 h 2960467"/>
              <a:gd name="connsiteX1" fmla="*/ 7916977 w 7916977"/>
              <a:gd name="connsiteY1" fmla="*/ 0 h 2960467"/>
              <a:gd name="connsiteX0" fmla="*/ 0 w 7933419"/>
              <a:gd name="connsiteY0" fmla="*/ 2794848 h 2975527"/>
              <a:gd name="connsiteX1" fmla="*/ 7933419 w 7933419"/>
              <a:gd name="connsiteY1" fmla="*/ 0 h 2975527"/>
              <a:gd name="connsiteX0" fmla="*/ 0 w 7933419"/>
              <a:gd name="connsiteY0" fmla="*/ 2794848 h 3006384"/>
              <a:gd name="connsiteX1" fmla="*/ 7933419 w 7933419"/>
              <a:gd name="connsiteY1" fmla="*/ 0 h 3006384"/>
              <a:gd name="connsiteX0" fmla="*/ 0 w 7867644"/>
              <a:gd name="connsiteY0" fmla="*/ 2794848 h 3006384"/>
              <a:gd name="connsiteX1" fmla="*/ 7867644 w 7867644"/>
              <a:gd name="connsiteY1" fmla="*/ 0 h 3006384"/>
              <a:gd name="connsiteX0" fmla="*/ 0 w 3197651"/>
              <a:gd name="connsiteY0" fmla="*/ 0 h 1011361"/>
              <a:gd name="connsiteX1" fmla="*/ 3197651 w 3197651"/>
              <a:gd name="connsiteY1" fmla="*/ 349213 h 1011361"/>
              <a:gd name="connsiteX0" fmla="*/ 0 w 3197651"/>
              <a:gd name="connsiteY0" fmla="*/ 0 h 551058"/>
              <a:gd name="connsiteX1" fmla="*/ 3197651 w 3197651"/>
              <a:gd name="connsiteY1" fmla="*/ 349213 h 551058"/>
              <a:gd name="connsiteX0" fmla="*/ 0 w 3197651"/>
              <a:gd name="connsiteY0" fmla="*/ 0 h 499390"/>
              <a:gd name="connsiteX1" fmla="*/ 3197651 w 3197651"/>
              <a:gd name="connsiteY1" fmla="*/ 349213 h 499390"/>
              <a:gd name="connsiteX0" fmla="*/ 0 w 3197651"/>
              <a:gd name="connsiteY0" fmla="*/ 0 h 421477"/>
              <a:gd name="connsiteX1" fmla="*/ 3197651 w 3197651"/>
              <a:gd name="connsiteY1" fmla="*/ 349213 h 421477"/>
              <a:gd name="connsiteX0" fmla="*/ 0 w 3197651"/>
              <a:gd name="connsiteY0" fmla="*/ 0 h 480912"/>
              <a:gd name="connsiteX1" fmla="*/ 3197651 w 3197651"/>
              <a:gd name="connsiteY1" fmla="*/ 349213 h 480912"/>
              <a:gd name="connsiteX0" fmla="*/ 0 w 3181202"/>
              <a:gd name="connsiteY0" fmla="*/ 0 h 617329"/>
              <a:gd name="connsiteX1" fmla="*/ 3181202 w 3181202"/>
              <a:gd name="connsiteY1" fmla="*/ 540729 h 617329"/>
              <a:gd name="connsiteX0" fmla="*/ 0 w 3181202"/>
              <a:gd name="connsiteY0" fmla="*/ 0 h 589454"/>
              <a:gd name="connsiteX1" fmla="*/ 3181202 w 3181202"/>
              <a:gd name="connsiteY1" fmla="*/ 540729 h 589454"/>
              <a:gd name="connsiteX0" fmla="*/ 0 w 3164753"/>
              <a:gd name="connsiteY0" fmla="*/ 0 h 602523"/>
              <a:gd name="connsiteX1" fmla="*/ 3164753 w 3164753"/>
              <a:gd name="connsiteY1" fmla="*/ 556687 h 602523"/>
              <a:gd name="connsiteX0" fmla="*/ 0 w 3164753"/>
              <a:gd name="connsiteY0" fmla="*/ 0 h 585741"/>
              <a:gd name="connsiteX1" fmla="*/ 3164753 w 3164753"/>
              <a:gd name="connsiteY1" fmla="*/ 556687 h 585741"/>
              <a:gd name="connsiteX0" fmla="*/ 0 w 3164753"/>
              <a:gd name="connsiteY0" fmla="*/ 0 h 588616"/>
              <a:gd name="connsiteX1" fmla="*/ 3164753 w 3164753"/>
              <a:gd name="connsiteY1" fmla="*/ 556687 h 588616"/>
              <a:gd name="connsiteX0" fmla="*/ 0 w 4184262"/>
              <a:gd name="connsiteY0" fmla="*/ 0 h 1346832"/>
              <a:gd name="connsiteX1" fmla="*/ 4184262 w 4184262"/>
              <a:gd name="connsiteY1" fmla="*/ 1338715 h 1346832"/>
              <a:gd name="connsiteX0" fmla="*/ 0 w 4184262"/>
              <a:gd name="connsiteY0" fmla="*/ 0 h 1338716"/>
              <a:gd name="connsiteX1" fmla="*/ 4184262 w 4184262"/>
              <a:gd name="connsiteY1" fmla="*/ 1338715 h 1338716"/>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7922444"/>
              <a:gd name="connsiteY0" fmla="*/ 0 h 1354674"/>
              <a:gd name="connsiteX1" fmla="*/ 7922444 w 7922444"/>
              <a:gd name="connsiteY1" fmla="*/ 1354674 h 1354674"/>
              <a:gd name="connsiteX0" fmla="*/ 0 w 7922444"/>
              <a:gd name="connsiteY0" fmla="*/ 0 h 1354674"/>
              <a:gd name="connsiteX1" fmla="*/ 7922444 w 7922444"/>
              <a:gd name="connsiteY1" fmla="*/ 1354674 h 1354674"/>
              <a:gd name="connsiteX0" fmla="*/ 0 w 7922444"/>
              <a:gd name="connsiteY0" fmla="*/ 0 h 1967324"/>
              <a:gd name="connsiteX1" fmla="*/ 7922444 w 7922444"/>
              <a:gd name="connsiteY1" fmla="*/ 1354674 h 1967324"/>
              <a:gd name="connsiteX0" fmla="*/ 0 w 7856669"/>
              <a:gd name="connsiteY0" fmla="*/ 0 h 1882889"/>
              <a:gd name="connsiteX1" fmla="*/ 7856669 w 7856669"/>
              <a:gd name="connsiteY1" fmla="*/ 1120598 h 1882889"/>
              <a:gd name="connsiteX0" fmla="*/ 0 w 7856669"/>
              <a:gd name="connsiteY0" fmla="*/ 0 h 1907225"/>
              <a:gd name="connsiteX1" fmla="*/ 7856669 w 7856669"/>
              <a:gd name="connsiteY1" fmla="*/ 1120598 h 1907225"/>
              <a:gd name="connsiteX0" fmla="*/ 0 w 7856669"/>
              <a:gd name="connsiteY0" fmla="*/ 0 h 1953216"/>
              <a:gd name="connsiteX1" fmla="*/ 7856669 w 7856669"/>
              <a:gd name="connsiteY1" fmla="*/ 1120598 h 1953216"/>
              <a:gd name="connsiteX0" fmla="*/ 0 w 6146531"/>
              <a:gd name="connsiteY0" fmla="*/ 0 h 2377876"/>
              <a:gd name="connsiteX1" fmla="*/ 6146531 w 6146531"/>
              <a:gd name="connsiteY1" fmla="*/ 2120738 h 2377876"/>
              <a:gd name="connsiteX0" fmla="*/ 0 w 6146531"/>
              <a:gd name="connsiteY0" fmla="*/ 0 h 2353527"/>
              <a:gd name="connsiteX1" fmla="*/ 6146531 w 6146531"/>
              <a:gd name="connsiteY1" fmla="*/ 2120738 h 2353527"/>
              <a:gd name="connsiteX0" fmla="*/ 0 w 6146531"/>
              <a:gd name="connsiteY0" fmla="*/ 0 h 2120739"/>
              <a:gd name="connsiteX1" fmla="*/ 6146531 w 6146531"/>
              <a:gd name="connsiteY1" fmla="*/ 2120738 h 2120739"/>
              <a:gd name="connsiteX0" fmla="*/ 0 w 6124606"/>
              <a:gd name="connsiteY0" fmla="*/ 0 h 2227137"/>
              <a:gd name="connsiteX1" fmla="*/ 6124606 w 6124606"/>
              <a:gd name="connsiteY1" fmla="*/ 2227137 h 2227137"/>
              <a:gd name="connsiteX0" fmla="*/ 0 w 6124606"/>
              <a:gd name="connsiteY0" fmla="*/ 0 h 2227137"/>
              <a:gd name="connsiteX1" fmla="*/ 6124606 w 6124606"/>
              <a:gd name="connsiteY1" fmla="*/ 2227137 h 2227137"/>
              <a:gd name="connsiteX0" fmla="*/ 0 w 6080756"/>
              <a:gd name="connsiteY0" fmla="*/ 0 h 1993062"/>
              <a:gd name="connsiteX1" fmla="*/ 6080756 w 6080756"/>
              <a:gd name="connsiteY1" fmla="*/ 1993062 h 1993062"/>
              <a:gd name="connsiteX0" fmla="*/ 0 w 6080756"/>
              <a:gd name="connsiteY0" fmla="*/ 0 h 2056901"/>
              <a:gd name="connsiteX1" fmla="*/ 6080756 w 6080756"/>
              <a:gd name="connsiteY1" fmla="*/ 2056901 h 2056901"/>
              <a:gd name="connsiteX0" fmla="*/ 0 w 6080756"/>
              <a:gd name="connsiteY0" fmla="*/ 0 h 2056901"/>
              <a:gd name="connsiteX1" fmla="*/ 6080756 w 6080756"/>
              <a:gd name="connsiteY1" fmla="*/ 2056901 h 2056901"/>
              <a:gd name="connsiteX0" fmla="*/ 0 w 6080756"/>
              <a:gd name="connsiteY0" fmla="*/ 0 h 2056901"/>
              <a:gd name="connsiteX1" fmla="*/ 6080756 w 6080756"/>
              <a:gd name="connsiteY1" fmla="*/ 2056901 h 2056901"/>
              <a:gd name="connsiteX0" fmla="*/ 0 w 6064314"/>
              <a:gd name="connsiteY0" fmla="*/ 0 h 2072866"/>
              <a:gd name="connsiteX1" fmla="*/ 6064314 w 6064314"/>
              <a:gd name="connsiteY1" fmla="*/ 2072866 h 2072866"/>
              <a:gd name="connsiteX0" fmla="*/ 0 w 7215365"/>
              <a:gd name="connsiteY0" fmla="*/ 0 h 3493277"/>
              <a:gd name="connsiteX1" fmla="*/ 7215365 w 7215365"/>
              <a:gd name="connsiteY1" fmla="*/ 3493277 h 3493277"/>
              <a:gd name="connsiteX0" fmla="*/ 0 w 7215365"/>
              <a:gd name="connsiteY0" fmla="*/ 0 h 3493277"/>
              <a:gd name="connsiteX1" fmla="*/ 7215365 w 7215365"/>
              <a:gd name="connsiteY1" fmla="*/ 3493277 h 3493277"/>
              <a:gd name="connsiteX0" fmla="*/ 0 w 7182481"/>
              <a:gd name="connsiteY0" fmla="*/ 0 h 3493277"/>
              <a:gd name="connsiteX1" fmla="*/ 7182481 w 7182481"/>
              <a:gd name="connsiteY1" fmla="*/ 3493277 h 3493277"/>
              <a:gd name="connsiteX0" fmla="*/ 0 w 7182481"/>
              <a:gd name="connsiteY0" fmla="*/ 0 h 3493277"/>
              <a:gd name="connsiteX1" fmla="*/ 7182481 w 7182481"/>
              <a:gd name="connsiteY1" fmla="*/ 3493277 h 3493277"/>
              <a:gd name="connsiteX0" fmla="*/ 0 w 7264704"/>
              <a:gd name="connsiteY0" fmla="*/ 0 h 3397516"/>
              <a:gd name="connsiteX1" fmla="*/ 7264704 w 7264704"/>
              <a:gd name="connsiteY1" fmla="*/ 3397516 h 3397516"/>
              <a:gd name="connsiteX0" fmla="*/ 0 w 7346927"/>
              <a:gd name="connsiteY0" fmla="*/ 0 h 3237916"/>
              <a:gd name="connsiteX1" fmla="*/ 7346927 w 7346927"/>
              <a:gd name="connsiteY1" fmla="*/ 3237916 h 3237916"/>
              <a:gd name="connsiteX0" fmla="*/ 0 w 7346927"/>
              <a:gd name="connsiteY0" fmla="*/ 0 h 3237916"/>
              <a:gd name="connsiteX1" fmla="*/ 7346927 w 7346927"/>
              <a:gd name="connsiteY1" fmla="*/ 3237916 h 3237916"/>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3625180"/>
              <a:gd name="connsiteY0" fmla="*/ 0 h 2062210"/>
              <a:gd name="connsiteX1" fmla="*/ 3625180 w 3625180"/>
              <a:gd name="connsiteY1" fmla="*/ 2062210 h 2062210"/>
              <a:gd name="connsiteX0" fmla="*/ 0 w 3625180"/>
              <a:gd name="connsiteY0" fmla="*/ 0 h 2062210"/>
              <a:gd name="connsiteX1" fmla="*/ 3625180 w 3625180"/>
              <a:gd name="connsiteY1" fmla="*/ 2062210 h 2062210"/>
              <a:gd name="connsiteX0" fmla="*/ 0 w 3625180"/>
              <a:gd name="connsiteY0" fmla="*/ 0 h 2062210"/>
              <a:gd name="connsiteX1" fmla="*/ 1840245 w 3625180"/>
              <a:gd name="connsiteY1" fmla="*/ 619379 h 2062210"/>
              <a:gd name="connsiteX2" fmla="*/ 3625180 w 3625180"/>
              <a:gd name="connsiteY2" fmla="*/ 2062210 h 2062210"/>
              <a:gd name="connsiteX0" fmla="*/ 0 w 3625180"/>
              <a:gd name="connsiteY0" fmla="*/ 0 h 2062210"/>
              <a:gd name="connsiteX1" fmla="*/ 1840245 w 3625180"/>
              <a:gd name="connsiteY1" fmla="*/ 619379 h 2062210"/>
              <a:gd name="connsiteX2" fmla="*/ 2876172 w 3625180"/>
              <a:gd name="connsiteY2" fmla="*/ 1112954 h 2062210"/>
              <a:gd name="connsiteX3" fmla="*/ 3625180 w 3625180"/>
              <a:gd name="connsiteY3" fmla="*/ 2062210 h 2062210"/>
              <a:gd name="connsiteX0" fmla="*/ 0 w 3625180"/>
              <a:gd name="connsiteY0" fmla="*/ 0 h 2062210"/>
              <a:gd name="connsiteX1" fmla="*/ 2030676 w 3625180"/>
              <a:gd name="connsiteY1" fmla="*/ 614343 h 2062210"/>
              <a:gd name="connsiteX2" fmla="*/ 2876172 w 3625180"/>
              <a:gd name="connsiteY2" fmla="*/ 1112954 h 2062210"/>
              <a:gd name="connsiteX3" fmla="*/ 3625180 w 3625180"/>
              <a:gd name="connsiteY3" fmla="*/ 2062210 h 2062210"/>
              <a:gd name="connsiteX0" fmla="*/ 0 w 3900219"/>
              <a:gd name="connsiteY0" fmla="*/ 0 h 1654101"/>
              <a:gd name="connsiteX1" fmla="*/ 2030676 w 3900219"/>
              <a:gd name="connsiteY1" fmla="*/ 614343 h 1654101"/>
              <a:gd name="connsiteX2" fmla="*/ 2876172 w 3900219"/>
              <a:gd name="connsiteY2" fmla="*/ 1112954 h 1654101"/>
              <a:gd name="connsiteX3" fmla="*/ 3900215 w 3900219"/>
              <a:gd name="connsiteY3" fmla="*/ 1654100 h 1654101"/>
              <a:gd name="connsiteX0" fmla="*/ 0 w 3900219"/>
              <a:gd name="connsiteY0" fmla="*/ 0 h 1654101"/>
              <a:gd name="connsiteX1" fmla="*/ 2030676 w 3900219"/>
              <a:gd name="connsiteY1" fmla="*/ 614343 h 1654101"/>
              <a:gd name="connsiteX2" fmla="*/ 3220922 w 3900219"/>
              <a:gd name="connsiteY2" fmla="*/ 1068145 h 1654101"/>
              <a:gd name="connsiteX3" fmla="*/ 3900215 w 3900219"/>
              <a:gd name="connsiteY3" fmla="*/ 1654100 h 1654101"/>
              <a:gd name="connsiteX0" fmla="*/ 0 w 3900219"/>
              <a:gd name="connsiteY0" fmla="*/ 0 h 1654101"/>
              <a:gd name="connsiteX1" fmla="*/ 2050295 w 3900219"/>
              <a:gd name="connsiteY1" fmla="*/ 599382 h 1654101"/>
              <a:gd name="connsiteX2" fmla="*/ 3220922 w 3900219"/>
              <a:gd name="connsiteY2" fmla="*/ 1068145 h 1654101"/>
              <a:gd name="connsiteX3" fmla="*/ 3900215 w 3900219"/>
              <a:gd name="connsiteY3" fmla="*/ 1654100 h 1654101"/>
              <a:gd name="connsiteX0" fmla="*/ 0 w 3900219"/>
              <a:gd name="connsiteY0" fmla="*/ 0 h 1654101"/>
              <a:gd name="connsiteX1" fmla="*/ 2050295 w 3900219"/>
              <a:gd name="connsiteY1" fmla="*/ 599382 h 1654101"/>
              <a:gd name="connsiteX2" fmla="*/ 3220922 w 3900219"/>
              <a:gd name="connsiteY2" fmla="*/ 1068145 h 1654101"/>
              <a:gd name="connsiteX3" fmla="*/ 3900215 w 3900219"/>
              <a:gd name="connsiteY3" fmla="*/ 1654100 h 1654101"/>
              <a:gd name="connsiteX0" fmla="*/ 0 w 3900219"/>
              <a:gd name="connsiteY0" fmla="*/ 0 h 1654101"/>
              <a:gd name="connsiteX1" fmla="*/ 2116121 w 3900219"/>
              <a:gd name="connsiteY1" fmla="*/ 574791 h 1654101"/>
              <a:gd name="connsiteX2" fmla="*/ 3220922 w 3900219"/>
              <a:gd name="connsiteY2" fmla="*/ 1068145 h 1654101"/>
              <a:gd name="connsiteX3" fmla="*/ 3900215 w 3900219"/>
              <a:gd name="connsiteY3" fmla="*/ 1654100 h 1654101"/>
              <a:gd name="connsiteX0" fmla="*/ 0 w 3900219"/>
              <a:gd name="connsiteY0" fmla="*/ 0 h 1654100"/>
              <a:gd name="connsiteX1" fmla="*/ 2116121 w 3900219"/>
              <a:gd name="connsiteY1" fmla="*/ 574791 h 1654100"/>
              <a:gd name="connsiteX2" fmla="*/ 3220922 w 3900219"/>
              <a:gd name="connsiteY2" fmla="*/ 1068145 h 1654100"/>
              <a:gd name="connsiteX3" fmla="*/ 3900215 w 3900219"/>
              <a:gd name="connsiteY3" fmla="*/ 1654100 h 1654100"/>
              <a:gd name="connsiteX0" fmla="*/ 5 w 3804146"/>
              <a:gd name="connsiteY0" fmla="*/ 0 h 1626854"/>
              <a:gd name="connsiteX1" fmla="*/ 2020048 w 3804146"/>
              <a:gd name="connsiteY1" fmla="*/ 547545 h 1626854"/>
              <a:gd name="connsiteX2" fmla="*/ 3124849 w 3804146"/>
              <a:gd name="connsiteY2" fmla="*/ 1040899 h 1626854"/>
              <a:gd name="connsiteX3" fmla="*/ 3804142 w 3804146"/>
              <a:gd name="connsiteY3" fmla="*/ 1626854 h 1626854"/>
              <a:gd name="connsiteX0" fmla="*/ 5 w 3804146"/>
              <a:gd name="connsiteY0" fmla="*/ 0 h 1626854"/>
              <a:gd name="connsiteX1" fmla="*/ 2160458 w 3804146"/>
              <a:gd name="connsiteY1" fmla="*/ 545853 h 1626854"/>
              <a:gd name="connsiteX2" fmla="*/ 3124849 w 3804146"/>
              <a:gd name="connsiteY2" fmla="*/ 1040899 h 1626854"/>
              <a:gd name="connsiteX3" fmla="*/ 3804142 w 3804146"/>
              <a:gd name="connsiteY3" fmla="*/ 1626854 h 1626854"/>
              <a:gd name="connsiteX0" fmla="*/ 5 w 3804146"/>
              <a:gd name="connsiteY0" fmla="*/ 0 h 1626854"/>
              <a:gd name="connsiteX1" fmla="*/ 2160458 w 3804146"/>
              <a:gd name="connsiteY1" fmla="*/ 545853 h 1626854"/>
              <a:gd name="connsiteX2" fmla="*/ 3124849 w 3804146"/>
              <a:gd name="connsiteY2" fmla="*/ 1040899 h 1626854"/>
              <a:gd name="connsiteX3" fmla="*/ 3804142 w 3804146"/>
              <a:gd name="connsiteY3" fmla="*/ 1626854 h 1626854"/>
              <a:gd name="connsiteX0" fmla="*/ 5 w 3804146"/>
              <a:gd name="connsiteY0" fmla="*/ 0 h 1626854"/>
              <a:gd name="connsiteX1" fmla="*/ 3124849 w 3804146"/>
              <a:gd name="connsiteY1" fmla="*/ 1040899 h 1626854"/>
              <a:gd name="connsiteX2" fmla="*/ 3804142 w 3804146"/>
              <a:gd name="connsiteY2" fmla="*/ 1626854 h 1626854"/>
              <a:gd name="connsiteX0" fmla="*/ 5 w 3804146"/>
              <a:gd name="connsiteY0" fmla="*/ 0 h 1626854"/>
              <a:gd name="connsiteX1" fmla="*/ 3804142 w 3804146"/>
              <a:gd name="connsiteY1" fmla="*/ 1626854 h 1626854"/>
              <a:gd name="connsiteX0" fmla="*/ -22 w 3056780"/>
              <a:gd name="connsiteY0" fmla="*/ -2 h 1614655"/>
              <a:gd name="connsiteX1" fmla="*/ 3056776 w 3056780"/>
              <a:gd name="connsiteY1" fmla="*/ 1614655 h 1614655"/>
              <a:gd name="connsiteX0" fmla="*/ 182368 w 3239170"/>
              <a:gd name="connsiteY0" fmla="*/ -2 h 1614655"/>
              <a:gd name="connsiteX1" fmla="*/ 3239166 w 3239170"/>
              <a:gd name="connsiteY1" fmla="*/ 1614655 h 1614655"/>
              <a:gd name="connsiteX0" fmla="*/ 740854 w 740876"/>
              <a:gd name="connsiteY0" fmla="*/ -2 h 1511254"/>
              <a:gd name="connsiteX1" fmla="*/ 732653 w 740876"/>
              <a:gd name="connsiteY1" fmla="*/ 1511252 h 1511254"/>
            </a:gdLst>
            <a:ahLst/>
            <a:cxnLst>
              <a:cxn ang="0">
                <a:pos x="connsiteX0" y="connsiteY0"/>
              </a:cxn>
              <a:cxn ang="0">
                <a:pos x="connsiteX1" y="connsiteY1"/>
              </a:cxn>
            </a:cxnLst>
            <a:rect l="l" t="t" r="r" b="b"/>
            <a:pathLst>
              <a:path w="740876" h="1511254">
                <a:moveTo>
                  <a:pt x="740854" y="-2"/>
                </a:moveTo>
                <a:cubicBezTo>
                  <a:pt x="-203879" y="551938"/>
                  <a:pt x="-286280" y="973033"/>
                  <a:pt x="732653" y="1511252"/>
                </a:cubicBezTo>
              </a:path>
            </a:pathLst>
          </a:custGeom>
          <a:noFill/>
          <a:ln w="12700" cap="flat" cmpd="sng" algn="ctr">
            <a:solidFill>
              <a:srgbClr val="13835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de-DE"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06" name="Freeform 103"/>
          <p:cNvSpPr/>
          <p:nvPr/>
        </p:nvSpPr>
        <p:spPr bwMode="auto">
          <a:xfrm rot="913078">
            <a:off x="2441613" y="3285861"/>
            <a:ext cx="737078" cy="770675"/>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2875322"/>
              <a:gd name="connsiteY0" fmla="*/ 0 h 1850561"/>
              <a:gd name="connsiteX1" fmla="*/ 2875322 w 2875322"/>
              <a:gd name="connsiteY1" fmla="*/ 1850561 h 1850561"/>
              <a:gd name="connsiteX0" fmla="*/ 0 w 2875322"/>
              <a:gd name="connsiteY0" fmla="*/ 0 h 1850561"/>
              <a:gd name="connsiteX1" fmla="*/ 2875322 w 2875322"/>
              <a:gd name="connsiteY1" fmla="*/ 1850561 h 1850561"/>
              <a:gd name="connsiteX0" fmla="*/ 0 w 2894703"/>
              <a:gd name="connsiteY0" fmla="*/ 0 h 1850561"/>
              <a:gd name="connsiteX1" fmla="*/ 2894703 w 2894703"/>
              <a:gd name="connsiteY1" fmla="*/ 1850561 h 1850561"/>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0239"/>
              <a:gd name="connsiteY0" fmla="*/ 0 h 2300301"/>
              <a:gd name="connsiteX1" fmla="*/ 3480239 w 3480239"/>
              <a:gd name="connsiteY1" fmla="*/ 2300301 h 2300301"/>
              <a:gd name="connsiteX0" fmla="*/ 0 w 3480239"/>
              <a:gd name="connsiteY0" fmla="*/ 0 h 2300301"/>
              <a:gd name="connsiteX1" fmla="*/ 3480239 w 348023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521439"/>
              <a:gd name="connsiteY0" fmla="*/ 0 h 2232170"/>
              <a:gd name="connsiteX1" fmla="*/ 3521439 w 3521439"/>
              <a:gd name="connsiteY1" fmla="*/ 2232170 h 2232170"/>
              <a:gd name="connsiteX0" fmla="*/ 0 w 3521439"/>
              <a:gd name="connsiteY0" fmla="*/ 0 h 2232170"/>
              <a:gd name="connsiteX1" fmla="*/ 3521439 w 3521439"/>
              <a:gd name="connsiteY1" fmla="*/ 2232170 h 2232170"/>
              <a:gd name="connsiteX0" fmla="*/ 0 w 3521439"/>
              <a:gd name="connsiteY0" fmla="*/ 0 h 2209460"/>
              <a:gd name="connsiteX1" fmla="*/ 3521439 w 3521439"/>
              <a:gd name="connsiteY1" fmla="*/ 2209460 h 2209460"/>
              <a:gd name="connsiteX0" fmla="*/ 0 w 3521439"/>
              <a:gd name="connsiteY0" fmla="*/ 0 h 2209460"/>
              <a:gd name="connsiteX1" fmla="*/ 3521439 w 3521439"/>
              <a:gd name="connsiteY1" fmla="*/ 2209460 h 2209460"/>
              <a:gd name="connsiteX0" fmla="*/ 0 w 3166484"/>
              <a:gd name="connsiteY0" fmla="*/ 0 h 1509983"/>
              <a:gd name="connsiteX1" fmla="*/ 3166484 w 3166484"/>
              <a:gd name="connsiteY1" fmla="*/ 1509983 h 1509983"/>
              <a:gd name="connsiteX0" fmla="*/ 0 w 2028493"/>
              <a:gd name="connsiteY0" fmla="*/ 0 h 405367"/>
              <a:gd name="connsiteX1" fmla="*/ 2028493 w 2028493"/>
              <a:gd name="connsiteY1" fmla="*/ 62202 h 405367"/>
              <a:gd name="connsiteX0" fmla="*/ 0 w 2028493"/>
              <a:gd name="connsiteY0" fmla="*/ 0 h 410101"/>
              <a:gd name="connsiteX1" fmla="*/ 2028493 w 2028493"/>
              <a:gd name="connsiteY1" fmla="*/ 62202 h 410101"/>
              <a:gd name="connsiteX0" fmla="*/ 0 w 2049034"/>
              <a:gd name="connsiteY0" fmla="*/ 0 h 413154"/>
              <a:gd name="connsiteX1" fmla="*/ 2049034 w 2049034"/>
              <a:gd name="connsiteY1" fmla="*/ 76396 h 413154"/>
              <a:gd name="connsiteX0" fmla="*/ 0 w 2049034"/>
              <a:gd name="connsiteY0" fmla="*/ 143813 h 220209"/>
              <a:gd name="connsiteX1" fmla="*/ 2049034 w 2049034"/>
              <a:gd name="connsiteY1" fmla="*/ 220209 h 220209"/>
              <a:gd name="connsiteX0" fmla="*/ 0 w 2049034"/>
              <a:gd name="connsiteY0" fmla="*/ 154753 h 231149"/>
              <a:gd name="connsiteX1" fmla="*/ 2049034 w 2049034"/>
              <a:gd name="connsiteY1" fmla="*/ 231149 h 231149"/>
              <a:gd name="connsiteX0" fmla="*/ 0 w 2057250"/>
              <a:gd name="connsiteY0" fmla="*/ 145732 h 242000"/>
              <a:gd name="connsiteX1" fmla="*/ 2057250 w 2057250"/>
              <a:gd name="connsiteY1" fmla="*/ 242000 h 242000"/>
              <a:gd name="connsiteX0" fmla="*/ 0 w 2057250"/>
              <a:gd name="connsiteY0" fmla="*/ 155638 h 251906"/>
              <a:gd name="connsiteX1" fmla="*/ 2057250 w 2057250"/>
              <a:gd name="connsiteY1" fmla="*/ 251906 h 251906"/>
              <a:gd name="connsiteX0" fmla="*/ 0 w 2057250"/>
              <a:gd name="connsiteY0" fmla="*/ 154153 h 250421"/>
              <a:gd name="connsiteX1" fmla="*/ 2057250 w 2057250"/>
              <a:gd name="connsiteY1" fmla="*/ 250421 h 250421"/>
              <a:gd name="connsiteX0" fmla="*/ 0 w 2057250"/>
              <a:gd name="connsiteY0" fmla="*/ 175529 h 271797"/>
              <a:gd name="connsiteX1" fmla="*/ 2057250 w 2057250"/>
              <a:gd name="connsiteY1" fmla="*/ 271797 h 271797"/>
              <a:gd name="connsiteX0" fmla="*/ 0 w 1925785"/>
              <a:gd name="connsiteY0" fmla="*/ 146190 h 318159"/>
              <a:gd name="connsiteX1" fmla="*/ 1925785 w 1925785"/>
              <a:gd name="connsiteY1" fmla="*/ 318159 h 318159"/>
              <a:gd name="connsiteX0" fmla="*/ 0 w 1942218"/>
              <a:gd name="connsiteY0" fmla="*/ 143309 h 323795"/>
              <a:gd name="connsiteX1" fmla="*/ 1942218 w 1942218"/>
              <a:gd name="connsiteY1" fmla="*/ 323795 h 323795"/>
              <a:gd name="connsiteX0" fmla="*/ 0 w 1942218"/>
              <a:gd name="connsiteY0" fmla="*/ 1 h 180487"/>
              <a:gd name="connsiteX1" fmla="*/ 1942218 w 1942218"/>
              <a:gd name="connsiteY1" fmla="*/ 180487 h 180487"/>
              <a:gd name="connsiteX0" fmla="*/ 0 w 1966867"/>
              <a:gd name="connsiteY0" fmla="*/ 0 h 171970"/>
              <a:gd name="connsiteX1" fmla="*/ 1966867 w 1966867"/>
              <a:gd name="connsiteY1" fmla="*/ 171971 h 171970"/>
              <a:gd name="connsiteX0" fmla="*/ 0 w 1966867"/>
              <a:gd name="connsiteY0" fmla="*/ 0 h 171971"/>
              <a:gd name="connsiteX1" fmla="*/ 1966867 w 1966867"/>
              <a:gd name="connsiteY1" fmla="*/ 171971 h 171971"/>
              <a:gd name="connsiteX0" fmla="*/ 0 w 1958651"/>
              <a:gd name="connsiteY0" fmla="*/ 0 h 186165"/>
              <a:gd name="connsiteX1" fmla="*/ 1958651 w 1958651"/>
              <a:gd name="connsiteY1" fmla="*/ 186165 h 186165"/>
              <a:gd name="connsiteX0" fmla="*/ 0 w 1954543"/>
              <a:gd name="connsiteY0" fmla="*/ 0 h 203197"/>
              <a:gd name="connsiteX1" fmla="*/ 1954543 w 1954543"/>
              <a:gd name="connsiteY1" fmla="*/ 203197 h 203197"/>
              <a:gd name="connsiteX0" fmla="*/ 0 w 2324286"/>
              <a:gd name="connsiteY0" fmla="*/ 0 h 475721"/>
              <a:gd name="connsiteX1" fmla="*/ 2324286 w 2324286"/>
              <a:gd name="connsiteY1" fmla="*/ 475721 h 475721"/>
              <a:gd name="connsiteX0" fmla="*/ 0 w 2324286"/>
              <a:gd name="connsiteY0" fmla="*/ 0 h 479624"/>
              <a:gd name="connsiteX1" fmla="*/ 2324286 w 2324286"/>
              <a:gd name="connsiteY1" fmla="*/ 475721 h 479624"/>
              <a:gd name="connsiteX0" fmla="*/ 0 w 2324286"/>
              <a:gd name="connsiteY0" fmla="*/ 0 h 480172"/>
              <a:gd name="connsiteX1" fmla="*/ 2324286 w 2324286"/>
              <a:gd name="connsiteY1" fmla="*/ 475721 h 480172"/>
              <a:gd name="connsiteX0" fmla="*/ 0 w 2324286"/>
              <a:gd name="connsiteY0" fmla="*/ 0 h 475721"/>
              <a:gd name="connsiteX1" fmla="*/ 2324286 w 2324286"/>
              <a:gd name="connsiteY1" fmla="*/ 475721 h 475721"/>
              <a:gd name="connsiteX0" fmla="*/ 0 w 2316069"/>
              <a:gd name="connsiteY0" fmla="*/ 0 h 498431"/>
              <a:gd name="connsiteX1" fmla="*/ 2316069 w 2316069"/>
              <a:gd name="connsiteY1" fmla="*/ 498431 h 498431"/>
              <a:gd name="connsiteX0" fmla="*/ 0 w 2316069"/>
              <a:gd name="connsiteY0" fmla="*/ 0 h 498431"/>
              <a:gd name="connsiteX1" fmla="*/ 2316069 w 2316069"/>
              <a:gd name="connsiteY1" fmla="*/ 498431 h 49843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04754"/>
              <a:gd name="connsiteY0" fmla="*/ 0 h 1015091"/>
              <a:gd name="connsiteX1" fmla="*/ 4604754 w 4604754"/>
              <a:gd name="connsiteY1" fmla="*/ 1015091 h 1015091"/>
              <a:gd name="connsiteX0" fmla="*/ 0 w 4604754"/>
              <a:gd name="connsiteY0" fmla="*/ 0 h 1015091"/>
              <a:gd name="connsiteX1" fmla="*/ 4604754 w 4604754"/>
              <a:gd name="connsiteY1" fmla="*/ 1015091 h 1015091"/>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23432 h 1021455"/>
              <a:gd name="connsiteX1" fmla="*/ 4604754 w 4604754"/>
              <a:gd name="connsiteY1" fmla="*/ 1021455 h 1021455"/>
              <a:gd name="connsiteX0" fmla="*/ 0 w 4621488"/>
              <a:gd name="connsiteY0" fmla="*/ 28563 h 866964"/>
              <a:gd name="connsiteX1" fmla="*/ 4621488 w 4621488"/>
              <a:gd name="connsiteY1" fmla="*/ 866966 h 866964"/>
              <a:gd name="connsiteX0" fmla="*/ 0 w 4621488"/>
              <a:gd name="connsiteY0" fmla="*/ 35875 h 874276"/>
              <a:gd name="connsiteX1" fmla="*/ 4621488 w 4621488"/>
              <a:gd name="connsiteY1" fmla="*/ 874278 h 874276"/>
              <a:gd name="connsiteX0" fmla="*/ 2 w 4634037"/>
              <a:gd name="connsiteY0" fmla="*/ 44537 h 763234"/>
              <a:gd name="connsiteX1" fmla="*/ 4634037 w 4634037"/>
              <a:gd name="connsiteY1" fmla="*/ 763236 h 763234"/>
              <a:gd name="connsiteX0" fmla="*/ 2 w 4634037"/>
              <a:gd name="connsiteY0" fmla="*/ -3 h 718694"/>
              <a:gd name="connsiteX1" fmla="*/ 4634037 w 4634037"/>
              <a:gd name="connsiteY1" fmla="*/ 718696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1413475"/>
              <a:gd name="connsiteY0" fmla="*/ 606407 h 728390"/>
              <a:gd name="connsiteX1" fmla="*/ 1413474 w 1413475"/>
              <a:gd name="connsiteY1" fmla="*/ 126977 h 728390"/>
              <a:gd name="connsiteX0" fmla="*/ 2 w 1413475"/>
              <a:gd name="connsiteY0" fmla="*/ 479431 h 721543"/>
              <a:gd name="connsiteX1" fmla="*/ 1413474 w 1413475"/>
              <a:gd name="connsiteY1" fmla="*/ 1 h 721543"/>
              <a:gd name="connsiteX0" fmla="*/ 3 w 1605506"/>
              <a:gd name="connsiteY0" fmla="*/ 487353 h 727739"/>
              <a:gd name="connsiteX1" fmla="*/ 1605505 w 1605506"/>
              <a:gd name="connsiteY1" fmla="*/ 1 h 727739"/>
              <a:gd name="connsiteX0" fmla="*/ 3 w 1605506"/>
              <a:gd name="connsiteY0" fmla="*/ 487353 h 595674"/>
              <a:gd name="connsiteX1" fmla="*/ 1605505 w 1605506"/>
              <a:gd name="connsiteY1" fmla="*/ 1 h 595674"/>
              <a:gd name="connsiteX0" fmla="*/ 3 w 1573179"/>
              <a:gd name="connsiteY0" fmla="*/ 635014 h 720486"/>
              <a:gd name="connsiteX1" fmla="*/ 1573180 w 1573179"/>
              <a:gd name="connsiteY1" fmla="*/ 1 h 720486"/>
              <a:gd name="connsiteX0" fmla="*/ 3 w 1573179"/>
              <a:gd name="connsiteY0" fmla="*/ 635014 h 727984"/>
              <a:gd name="connsiteX1" fmla="*/ 1573180 w 1573179"/>
              <a:gd name="connsiteY1" fmla="*/ 1 h 727984"/>
              <a:gd name="connsiteX0" fmla="*/ 3 w 1619069"/>
              <a:gd name="connsiteY0" fmla="*/ 464741 h 589089"/>
              <a:gd name="connsiteX1" fmla="*/ 1619069 w 1619069"/>
              <a:gd name="connsiteY1" fmla="*/ 1 h 589089"/>
              <a:gd name="connsiteX0" fmla="*/ 3 w 1619069"/>
              <a:gd name="connsiteY0" fmla="*/ 464741 h 644508"/>
              <a:gd name="connsiteX1" fmla="*/ 1619069 w 1619069"/>
              <a:gd name="connsiteY1" fmla="*/ 1 h 644508"/>
              <a:gd name="connsiteX0" fmla="*/ 3 w 1619069"/>
              <a:gd name="connsiteY0" fmla="*/ 464741 h 573752"/>
              <a:gd name="connsiteX1" fmla="*/ 1619069 w 1619069"/>
              <a:gd name="connsiteY1" fmla="*/ 1 h 573752"/>
              <a:gd name="connsiteX0" fmla="*/ 3 w 1619069"/>
              <a:gd name="connsiteY0" fmla="*/ 496657 h 598698"/>
              <a:gd name="connsiteX1" fmla="*/ 1619069 w 1619069"/>
              <a:gd name="connsiteY1" fmla="*/ 0 h 598698"/>
              <a:gd name="connsiteX0" fmla="*/ 3 w 7916977"/>
              <a:gd name="connsiteY0" fmla="*/ 2826772 h 2841912"/>
              <a:gd name="connsiteX1" fmla="*/ 7916977 w 7916977"/>
              <a:gd name="connsiteY1" fmla="*/ 0 h 2841912"/>
              <a:gd name="connsiteX0" fmla="*/ 3 w 7916977"/>
              <a:gd name="connsiteY0" fmla="*/ 2826772 h 2846255"/>
              <a:gd name="connsiteX1" fmla="*/ 7916977 w 7916977"/>
              <a:gd name="connsiteY1" fmla="*/ 0 h 2846255"/>
              <a:gd name="connsiteX0" fmla="*/ 3 w 7916977"/>
              <a:gd name="connsiteY0" fmla="*/ 2826772 h 3052074"/>
              <a:gd name="connsiteX1" fmla="*/ 7916977 w 7916977"/>
              <a:gd name="connsiteY1" fmla="*/ 0 h 3052074"/>
              <a:gd name="connsiteX0" fmla="*/ 3 w 7916977"/>
              <a:gd name="connsiteY0" fmla="*/ 2826772 h 3005674"/>
              <a:gd name="connsiteX1" fmla="*/ 7916977 w 7916977"/>
              <a:gd name="connsiteY1" fmla="*/ 0 h 3005674"/>
              <a:gd name="connsiteX0" fmla="*/ 0 w 7916977"/>
              <a:gd name="connsiteY0" fmla="*/ 2778890 h 2960467"/>
              <a:gd name="connsiteX1" fmla="*/ 7916977 w 7916977"/>
              <a:gd name="connsiteY1" fmla="*/ 0 h 2960467"/>
              <a:gd name="connsiteX0" fmla="*/ 0 w 7933419"/>
              <a:gd name="connsiteY0" fmla="*/ 2794848 h 2975527"/>
              <a:gd name="connsiteX1" fmla="*/ 7933419 w 7933419"/>
              <a:gd name="connsiteY1" fmla="*/ 0 h 2975527"/>
              <a:gd name="connsiteX0" fmla="*/ 0 w 7933419"/>
              <a:gd name="connsiteY0" fmla="*/ 2794848 h 3006384"/>
              <a:gd name="connsiteX1" fmla="*/ 7933419 w 7933419"/>
              <a:gd name="connsiteY1" fmla="*/ 0 h 3006384"/>
              <a:gd name="connsiteX0" fmla="*/ 0 w 7867644"/>
              <a:gd name="connsiteY0" fmla="*/ 2794848 h 3006384"/>
              <a:gd name="connsiteX1" fmla="*/ 7867644 w 7867644"/>
              <a:gd name="connsiteY1" fmla="*/ 0 h 3006384"/>
              <a:gd name="connsiteX0" fmla="*/ 0 w 3197651"/>
              <a:gd name="connsiteY0" fmla="*/ 0 h 1011361"/>
              <a:gd name="connsiteX1" fmla="*/ 3197651 w 3197651"/>
              <a:gd name="connsiteY1" fmla="*/ 349213 h 1011361"/>
              <a:gd name="connsiteX0" fmla="*/ 0 w 3197651"/>
              <a:gd name="connsiteY0" fmla="*/ 0 h 551058"/>
              <a:gd name="connsiteX1" fmla="*/ 3197651 w 3197651"/>
              <a:gd name="connsiteY1" fmla="*/ 349213 h 551058"/>
              <a:gd name="connsiteX0" fmla="*/ 0 w 3197651"/>
              <a:gd name="connsiteY0" fmla="*/ 0 h 499390"/>
              <a:gd name="connsiteX1" fmla="*/ 3197651 w 3197651"/>
              <a:gd name="connsiteY1" fmla="*/ 349213 h 499390"/>
              <a:gd name="connsiteX0" fmla="*/ 0 w 3197651"/>
              <a:gd name="connsiteY0" fmla="*/ 0 h 421477"/>
              <a:gd name="connsiteX1" fmla="*/ 3197651 w 3197651"/>
              <a:gd name="connsiteY1" fmla="*/ 349213 h 421477"/>
              <a:gd name="connsiteX0" fmla="*/ 0 w 3197651"/>
              <a:gd name="connsiteY0" fmla="*/ 0 h 480912"/>
              <a:gd name="connsiteX1" fmla="*/ 3197651 w 3197651"/>
              <a:gd name="connsiteY1" fmla="*/ 349213 h 480912"/>
              <a:gd name="connsiteX0" fmla="*/ 0 w 3181202"/>
              <a:gd name="connsiteY0" fmla="*/ 0 h 617329"/>
              <a:gd name="connsiteX1" fmla="*/ 3181202 w 3181202"/>
              <a:gd name="connsiteY1" fmla="*/ 540729 h 617329"/>
              <a:gd name="connsiteX0" fmla="*/ 0 w 3181202"/>
              <a:gd name="connsiteY0" fmla="*/ 0 h 589454"/>
              <a:gd name="connsiteX1" fmla="*/ 3181202 w 3181202"/>
              <a:gd name="connsiteY1" fmla="*/ 540729 h 589454"/>
              <a:gd name="connsiteX0" fmla="*/ 0 w 3164753"/>
              <a:gd name="connsiteY0" fmla="*/ 0 h 602523"/>
              <a:gd name="connsiteX1" fmla="*/ 3164753 w 3164753"/>
              <a:gd name="connsiteY1" fmla="*/ 556687 h 602523"/>
              <a:gd name="connsiteX0" fmla="*/ 0 w 3164753"/>
              <a:gd name="connsiteY0" fmla="*/ 0 h 585741"/>
              <a:gd name="connsiteX1" fmla="*/ 3164753 w 3164753"/>
              <a:gd name="connsiteY1" fmla="*/ 556687 h 585741"/>
              <a:gd name="connsiteX0" fmla="*/ 0 w 3164753"/>
              <a:gd name="connsiteY0" fmla="*/ 0 h 588616"/>
              <a:gd name="connsiteX1" fmla="*/ 3164753 w 3164753"/>
              <a:gd name="connsiteY1" fmla="*/ 556687 h 588616"/>
              <a:gd name="connsiteX0" fmla="*/ 0 w 4184262"/>
              <a:gd name="connsiteY0" fmla="*/ 0 h 1346832"/>
              <a:gd name="connsiteX1" fmla="*/ 4184262 w 4184262"/>
              <a:gd name="connsiteY1" fmla="*/ 1338715 h 1346832"/>
              <a:gd name="connsiteX0" fmla="*/ 0 w 4184262"/>
              <a:gd name="connsiteY0" fmla="*/ 0 h 1338716"/>
              <a:gd name="connsiteX1" fmla="*/ 4184262 w 4184262"/>
              <a:gd name="connsiteY1" fmla="*/ 1338715 h 1338716"/>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7922444"/>
              <a:gd name="connsiteY0" fmla="*/ 0 h 1354674"/>
              <a:gd name="connsiteX1" fmla="*/ 7922444 w 7922444"/>
              <a:gd name="connsiteY1" fmla="*/ 1354674 h 1354674"/>
              <a:gd name="connsiteX0" fmla="*/ 0 w 7922444"/>
              <a:gd name="connsiteY0" fmla="*/ 0 h 1354674"/>
              <a:gd name="connsiteX1" fmla="*/ 7922444 w 7922444"/>
              <a:gd name="connsiteY1" fmla="*/ 1354674 h 1354674"/>
              <a:gd name="connsiteX0" fmla="*/ 0 w 7922444"/>
              <a:gd name="connsiteY0" fmla="*/ 0 h 1967324"/>
              <a:gd name="connsiteX1" fmla="*/ 7922444 w 7922444"/>
              <a:gd name="connsiteY1" fmla="*/ 1354674 h 1967324"/>
              <a:gd name="connsiteX0" fmla="*/ 0 w 7856669"/>
              <a:gd name="connsiteY0" fmla="*/ 0 h 1882889"/>
              <a:gd name="connsiteX1" fmla="*/ 7856669 w 7856669"/>
              <a:gd name="connsiteY1" fmla="*/ 1120598 h 1882889"/>
              <a:gd name="connsiteX0" fmla="*/ 0 w 7856669"/>
              <a:gd name="connsiteY0" fmla="*/ 0 h 1907225"/>
              <a:gd name="connsiteX1" fmla="*/ 7856669 w 7856669"/>
              <a:gd name="connsiteY1" fmla="*/ 1120598 h 1907225"/>
              <a:gd name="connsiteX0" fmla="*/ 0 w 7856669"/>
              <a:gd name="connsiteY0" fmla="*/ 0 h 1953216"/>
              <a:gd name="connsiteX1" fmla="*/ 7856669 w 7856669"/>
              <a:gd name="connsiteY1" fmla="*/ 1120598 h 1953216"/>
              <a:gd name="connsiteX0" fmla="*/ 0 w 6146531"/>
              <a:gd name="connsiteY0" fmla="*/ 0 h 2377876"/>
              <a:gd name="connsiteX1" fmla="*/ 6146531 w 6146531"/>
              <a:gd name="connsiteY1" fmla="*/ 2120738 h 2377876"/>
              <a:gd name="connsiteX0" fmla="*/ 0 w 6146531"/>
              <a:gd name="connsiteY0" fmla="*/ 0 h 2353527"/>
              <a:gd name="connsiteX1" fmla="*/ 6146531 w 6146531"/>
              <a:gd name="connsiteY1" fmla="*/ 2120738 h 2353527"/>
              <a:gd name="connsiteX0" fmla="*/ 0 w 6146531"/>
              <a:gd name="connsiteY0" fmla="*/ 0 h 2120739"/>
              <a:gd name="connsiteX1" fmla="*/ 6146531 w 6146531"/>
              <a:gd name="connsiteY1" fmla="*/ 2120738 h 2120739"/>
              <a:gd name="connsiteX0" fmla="*/ 0 w 6124606"/>
              <a:gd name="connsiteY0" fmla="*/ 0 h 2227137"/>
              <a:gd name="connsiteX1" fmla="*/ 6124606 w 6124606"/>
              <a:gd name="connsiteY1" fmla="*/ 2227137 h 2227137"/>
              <a:gd name="connsiteX0" fmla="*/ 0 w 6124606"/>
              <a:gd name="connsiteY0" fmla="*/ 0 h 2227137"/>
              <a:gd name="connsiteX1" fmla="*/ 6124606 w 6124606"/>
              <a:gd name="connsiteY1" fmla="*/ 2227137 h 2227137"/>
              <a:gd name="connsiteX0" fmla="*/ 0 w 6080756"/>
              <a:gd name="connsiteY0" fmla="*/ 0 h 1993062"/>
              <a:gd name="connsiteX1" fmla="*/ 6080756 w 6080756"/>
              <a:gd name="connsiteY1" fmla="*/ 1993062 h 1993062"/>
              <a:gd name="connsiteX0" fmla="*/ 0 w 6080756"/>
              <a:gd name="connsiteY0" fmla="*/ 0 h 2056901"/>
              <a:gd name="connsiteX1" fmla="*/ 6080756 w 6080756"/>
              <a:gd name="connsiteY1" fmla="*/ 2056901 h 2056901"/>
              <a:gd name="connsiteX0" fmla="*/ 0 w 6080756"/>
              <a:gd name="connsiteY0" fmla="*/ 0 h 2056901"/>
              <a:gd name="connsiteX1" fmla="*/ 6080756 w 6080756"/>
              <a:gd name="connsiteY1" fmla="*/ 2056901 h 2056901"/>
              <a:gd name="connsiteX0" fmla="*/ 0 w 6080756"/>
              <a:gd name="connsiteY0" fmla="*/ 0 h 2056901"/>
              <a:gd name="connsiteX1" fmla="*/ 6080756 w 6080756"/>
              <a:gd name="connsiteY1" fmla="*/ 2056901 h 2056901"/>
              <a:gd name="connsiteX0" fmla="*/ 0 w 6064314"/>
              <a:gd name="connsiteY0" fmla="*/ 0 h 2072866"/>
              <a:gd name="connsiteX1" fmla="*/ 6064314 w 6064314"/>
              <a:gd name="connsiteY1" fmla="*/ 2072866 h 2072866"/>
              <a:gd name="connsiteX0" fmla="*/ 0 w 7215365"/>
              <a:gd name="connsiteY0" fmla="*/ 0 h 3493277"/>
              <a:gd name="connsiteX1" fmla="*/ 7215365 w 7215365"/>
              <a:gd name="connsiteY1" fmla="*/ 3493277 h 3493277"/>
              <a:gd name="connsiteX0" fmla="*/ 0 w 7215365"/>
              <a:gd name="connsiteY0" fmla="*/ 0 h 3493277"/>
              <a:gd name="connsiteX1" fmla="*/ 7215365 w 7215365"/>
              <a:gd name="connsiteY1" fmla="*/ 3493277 h 3493277"/>
              <a:gd name="connsiteX0" fmla="*/ 0 w 7182481"/>
              <a:gd name="connsiteY0" fmla="*/ 0 h 3493277"/>
              <a:gd name="connsiteX1" fmla="*/ 7182481 w 7182481"/>
              <a:gd name="connsiteY1" fmla="*/ 3493277 h 3493277"/>
              <a:gd name="connsiteX0" fmla="*/ 0 w 7182481"/>
              <a:gd name="connsiteY0" fmla="*/ 0 h 3493277"/>
              <a:gd name="connsiteX1" fmla="*/ 7182481 w 7182481"/>
              <a:gd name="connsiteY1" fmla="*/ 3493277 h 3493277"/>
              <a:gd name="connsiteX0" fmla="*/ 0 w 7264704"/>
              <a:gd name="connsiteY0" fmla="*/ 0 h 3397516"/>
              <a:gd name="connsiteX1" fmla="*/ 7264704 w 7264704"/>
              <a:gd name="connsiteY1" fmla="*/ 3397516 h 3397516"/>
              <a:gd name="connsiteX0" fmla="*/ 0 w 7346927"/>
              <a:gd name="connsiteY0" fmla="*/ 0 h 3237916"/>
              <a:gd name="connsiteX1" fmla="*/ 7346927 w 7346927"/>
              <a:gd name="connsiteY1" fmla="*/ 3237916 h 3237916"/>
              <a:gd name="connsiteX0" fmla="*/ 0 w 7346927"/>
              <a:gd name="connsiteY0" fmla="*/ 0 h 3237916"/>
              <a:gd name="connsiteX1" fmla="*/ 7346927 w 7346927"/>
              <a:gd name="connsiteY1" fmla="*/ 3237916 h 3237916"/>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3625180"/>
              <a:gd name="connsiteY0" fmla="*/ 0 h 2062210"/>
              <a:gd name="connsiteX1" fmla="*/ 3625180 w 3625180"/>
              <a:gd name="connsiteY1" fmla="*/ 2062210 h 2062210"/>
              <a:gd name="connsiteX0" fmla="*/ 0 w 3625180"/>
              <a:gd name="connsiteY0" fmla="*/ 0 h 2062210"/>
              <a:gd name="connsiteX1" fmla="*/ 3625180 w 3625180"/>
              <a:gd name="connsiteY1" fmla="*/ 2062210 h 2062210"/>
              <a:gd name="connsiteX0" fmla="*/ 0 w 3625180"/>
              <a:gd name="connsiteY0" fmla="*/ 0 h 2062210"/>
              <a:gd name="connsiteX1" fmla="*/ 1840245 w 3625180"/>
              <a:gd name="connsiteY1" fmla="*/ 619379 h 2062210"/>
              <a:gd name="connsiteX2" fmla="*/ 3625180 w 3625180"/>
              <a:gd name="connsiteY2" fmla="*/ 2062210 h 2062210"/>
              <a:gd name="connsiteX0" fmla="*/ 0 w 3625180"/>
              <a:gd name="connsiteY0" fmla="*/ 0 h 2062210"/>
              <a:gd name="connsiteX1" fmla="*/ 1840245 w 3625180"/>
              <a:gd name="connsiteY1" fmla="*/ 619379 h 2062210"/>
              <a:gd name="connsiteX2" fmla="*/ 2876172 w 3625180"/>
              <a:gd name="connsiteY2" fmla="*/ 1112954 h 2062210"/>
              <a:gd name="connsiteX3" fmla="*/ 3625180 w 3625180"/>
              <a:gd name="connsiteY3" fmla="*/ 2062210 h 2062210"/>
              <a:gd name="connsiteX0" fmla="*/ 0 w 3625180"/>
              <a:gd name="connsiteY0" fmla="*/ 0 h 2062210"/>
              <a:gd name="connsiteX1" fmla="*/ 2030676 w 3625180"/>
              <a:gd name="connsiteY1" fmla="*/ 614343 h 2062210"/>
              <a:gd name="connsiteX2" fmla="*/ 2876172 w 3625180"/>
              <a:gd name="connsiteY2" fmla="*/ 1112954 h 2062210"/>
              <a:gd name="connsiteX3" fmla="*/ 3625180 w 3625180"/>
              <a:gd name="connsiteY3" fmla="*/ 2062210 h 2062210"/>
              <a:gd name="connsiteX0" fmla="*/ 0 w 3900219"/>
              <a:gd name="connsiteY0" fmla="*/ 0 h 1654101"/>
              <a:gd name="connsiteX1" fmla="*/ 2030676 w 3900219"/>
              <a:gd name="connsiteY1" fmla="*/ 614343 h 1654101"/>
              <a:gd name="connsiteX2" fmla="*/ 2876172 w 3900219"/>
              <a:gd name="connsiteY2" fmla="*/ 1112954 h 1654101"/>
              <a:gd name="connsiteX3" fmla="*/ 3900215 w 3900219"/>
              <a:gd name="connsiteY3" fmla="*/ 1654100 h 1654101"/>
              <a:gd name="connsiteX0" fmla="*/ 0 w 3900219"/>
              <a:gd name="connsiteY0" fmla="*/ 0 h 1654101"/>
              <a:gd name="connsiteX1" fmla="*/ 2030676 w 3900219"/>
              <a:gd name="connsiteY1" fmla="*/ 614343 h 1654101"/>
              <a:gd name="connsiteX2" fmla="*/ 3220922 w 3900219"/>
              <a:gd name="connsiteY2" fmla="*/ 1068145 h 1654101"/>
              <a:gd name="connsiteX3" fmla="*/ 3900215 w 3900219"/>
              <a:gd name="connsiteY3" fmla="*/ 1654100 h 1654101"/>
              <a:gd name="connsiteX0" fmla="*/ 0 w 3900219"/>
              <a:gd name="connsiteY0" fmla="*/ 0 h 1654101"/>
              <a:gd name="connsiteX1" fmla="*/ 2050295 w 3900219"/>
              <a:gd name="connsiteY1" fmla="*/ 599382 h 1654101"/>
              <a:gd name="connsiteX2" fmla="*/ 3220922 w 3900219"/>
              <a:gd name="connsiteY2" fmla="*/ 1068145 h 1654101"/>
              <a:gd name="connsiteX3" fmla="*/ 3900215 w 3900219"/>
              <a:gd name="connsiteY3" fmla="*/ 1654100 h 1654101"/>
              <a:gd name="connsiteX0" fmla="*/ 0 w 3900219"/>
              <a:gd name="connsiteY0" fmla="*/ 0 h 1654101"/>
              <a:gd name="connsiteX1" fmla="*/ 2050295 w 3900219"/>
              <a:gd name="connsiteY1" fmla="*/ 599382 h 1654101"/>
              <a:gd name="connsiteX2" fmla="*/ 3220922 w 3900219"/>
              <a:gd name="connsiteY2" fmla="*/ 1068145 h 1654101"/>
              <a:gd name="connsiteX3" fmla="*/ 3900215 w 3900219"/>
              <a:gd name="connsiteY3" fmla="*/ 1654100 h 1654101"/>
              <a:gd name="connsiteX0" fmla="*/ 0 w 3900219"/>
              <a:gd name="connsiteY0" fmla="*/ 0 h 1654101"/>
              <a:gd name="connsiteX1" fmla="*/ 2116121 w 3900219"/>
              <a:gd name="connsiteY1" fmla="*/ 574791 h 1654101"/>
              <a:gd name="connsiteX2" fmla="*/ 3220922 w 3900219"/>
              <a:gd name="connsiteY2" fmla="*/ 1068145 h 1654101"/>
              <a:gd name="connsiteX3" fmla="*/ 3900215 w 3900219"/>
              <a:gd name="connsiteY3" fmla="*/ 1654100 h 1654101"/>
              <a:gd name="connsiteX0" fmla="*/ 0 w 3900219"/>
              <a:gd name="connsiteY0" fmla="*/ 0 h 1654100"/>
              <a:gd name="connsiteX1" fmla="*/ 2116121 w 3900219"/>
              <a:gd name="connsiteY1" fmla="*/ 574791 h 1654100"/>
              <a:gd name="connsiteX2" fmla="*/ 3220922 w 3900219"/>
              <a:gd name="connsiteY2" fmla="*/ 1068145 h 1654100"/>
              <a:gd name="connsiteX3" fmla="*/ 3900215 w 3900219"/>
              <a:gd name="connsiteY3" fmla="*/ 1654100 h 1654100"/>
              <a:gd name="connsiteX0" fmla="*/ 5 w 3804146"/>
              <a:gd name="connsiteY0" fmla="*/ 0 h 1626854"/>
              <a:gd name="connsiteX1" fmla="*/ 2020048 w 3804146"/>
              <a:gd name="connsiteY1" fmla="*/ 547545 h 1626854"/>
              <a:gd name="connsiteX2" fmla="*/ 3124849 w 3804146"/>
              <a:gd name="connsiteY2" fmla="*/ 1040899 h 1626854"/>
              <a:gd name="connsiteX3" fmla="*/ 3804142 w 3804146"/>
              <a:gd name="connsiteY3" fmla="*/ 1626854 h 1626854"/>
              <a:gd name="connsiteX0" fmla="*/ 5 w 3804146"/>
              <a:gd name="connsiteY0" fmla="*/ 0 h 1626854"/>
              <a:gd name="connsiteX1" fmla="*/ 2160458 w 3804146"/>
              <a:gd name="connsiteY1" fmla="*/ 545853 h 1626854"/>
              <a:gd name="connsiteX2" fmla="*/ 3124849 w 3804146"/>
              <a:gd name="connsiteY2" fmla="*/ 1040899 h 1626854"/>
              <a:gd name="connsiteX3" fmla="*/ 3804142 w 3804146"/>
              <a:gd name="connsiteY3" fmla="*/ 1626854 h 1626854"/>
              <a:gd name="connsiteX0" fmla="*/ 5 w 3804146"/>
              <a:gd name="connsiteY0" fmla="*/ 0 h 1626854"/>
              <a:gd name="connsiteX1" fmla="*/ 2160458 w 3804146"/>
              <a:gd name="connsiteY1" fmla="*/ 545853 h 1626854"/>
              <a:gd name="connsiteX2" fmla="*/ 3124849 w 3804146"/>
              <a:gd name="connsiteY2" fmla="*/ 1040899 h 1626854"/>
              <a:gd name="connsiteX3" fmla="*/ 3804142 w 3804146"/>
              <a:gd name="connsiteY3" fmla="*/ 1626854 h 1626854"/>
              <a:gd name="connsiteX0" fmla="*/ 5 w 4252234"/>
              <a:gd name="connsiteY0" fmla="*/ 0 h 1626854"/>
              <a:gd name="connsiteX1" fmla="*/ 4181251 w 4252234"/>
              <a:gd name="connsiteY1" fmla="*/ 513332 h 1626854"/>
              <a:gd name="connsiteX2" fmla="*/ 3124849 w 4252234"/>
              <a:gd name="connsiteY2" fmla="*/ 1040899 h 1626854"/>
              <a:gd name="connsiteX3" fmla="*/ 3804142 w 4252234"/>
              <a:gd name="connsiteY3" fmla="*/ 1626854 h 1626854"/>
              <a:gd name="connsiteX0" fmla="*/ 5 w 5215731"/>
              <a:gd name="connsiteY0" fmla="*/ 0 h 1626854"/>
              <a:gd name="connsiteX1" fmla="*/ 4181251 w 5215731"/>
              <a:gd name="connsiteY1" fmla="*/ 513332 h 1626854"/>
              <a:gd name="connsiteX2" fmla="*/ 5184036 w 5215731"/>
              <a:gd name="connsiteY2" fmla="*/ 1033948 h 1626854"/>
              <a:gd name="connsiteX3" fmla="*/ 3804142 w 5215731"/>
              <a:gd name="connsiteY3" fmla="*/ 1626854 h 1626854"/>
              <a:gd name="connsiteX0" fmla="*/ 5 w 5210488"/>
              <a:gd name="connsiteY0" fmla="*/ 0 h 1669449"/>
              <a:gd name="connsiteX1" fmla="*/ 4181251 w 5210488"/>
              <a:gd name="connsiteY1" fmla="*/ 513332 h 1669449"/>
              <a:gd name="connsiteX2" fmla="*/ 5184036 w 5210488"/>
              <a:gd name="connsiteY2" fmla="*/ 1033948 h 1669449"/>
              <a:gd name="connsiteX3" fmla="*/ 3389697 w 5210488"/>
              <a:gd name="connsiteY3" fmla="*/ 1669449 h 1669449"/>
              <a:gd name="connsiteX0" fmla="*/ 5 w 5250524"/>
              <a:gd name="connsiteY0" fmla="*/ 0 h 1669449"/>
              <a:gd name="connsiteX1" fmla="*/ 4181251 w 5250524"/>
              <a:gd name="connsiteY1" fmla="*/ 513332 h 1669449"/>
              <a:gd name="connsiteX2" fmla="*/ 5184036 w 5250524"/>
              <a:gd name="connsiteY2" fmla="*/ 1033948 h 1669449"/>
              <a:gd name="connsiteX3" fmla="*/ 3389697 w 5250524"/>
              <a:gd name="connsiteY3" fmla="*/ 1669449 h 1669449"/>
              <a:gd name="connsiteX0" fmla="*/ 5 w 5250524"/>
              <a:gd name="connsiteY0" fmla="*/ 0 h 1669449"/>
              <a:gd name="connsiteX1" fmla="*/ 4181251 w 5250524"/>
              <a:gd name="connsiteY1" fmla="*/ 513332 h 1669449"/>
              <a:gd name="connsiteX2" fmla="*/ 5184036 w 5250524"/>
              <a:gd name="connsiteY2" fmla="*/ 1033948 h 1669449"/>
              <a:gd name="connsiteX3" fmla="*/ 3389697 w 5250524"/>
              <a:gd name="connsiteY3" fmla="*/ 1669449 h 1669449"/>
              <a:gd name="connsiteX0" fmla="*/ 5 w 5250524"/>
              <a:gd name="connsiteY0" fmla="*/ 0 h 1669449"/>
              <a:gd name="connsiteX1" fmla="*/ 4181251 w 5250524"/>
              <a:gd name="connsiteY1" fmla="*/ 513332 h 1669449"/>
              <a:gd name="connsiteX2" fmla="*/ 5184036 w 5250524"/>
              <a:gd name="connsiteY2" fmla="*/ 1033948 h 1669449"/>
              <a:gd name="connsiteX3" fmla="*/ 3389697 w 5250524"/>
              <a:gd name="connsiteY3" fmla="*/ 1669449 h 1669449"/>
              <a:gd name="connsiteX0" fmla="*/ 5 w 5250524"/>
              <a:gd name="connsiteY0" fmla="*/ 0 h 1669449"/>
              <a:gd name="connsiteX1" fmla="*/ 4181251 w 5250524"/>
              <a:gd name="connsiteY1" fmla="*/ 513332 h 1669449"/>
              <a:gd name="connsiteX2" fmla="*/ 5184036 w 5250524"/>
              <a:gd name="connsiteY2" fmla="*/ 1033948 h 1669449"/>
              <a:gd name="connsiteX3" fmla="*/ 3389697 w 5250524"/>
              <a:gd name="connsiteY3" fmla="*/ 1669449 h 1669449"/>
              <a:gd name="connsiteX0" fmla="*/ 5 w 5250524"/>
              <a:gd name="connsiteY0" fmla="*/ 0 h 1669449"/>
              <a:gd name="connsiteX1" fmla="*/ 4181251 w 5250524"/>
              <a:gd name="connsiteY1" fmla="*/ 513332 h 1669449"/>
              <a:gd name="connsiteX2" fmla="*/ 5184036 w 5250524"/>
              <a:gd name="connsiteY2" fmla="*/ 1033948 h 1669449"/>
              <a:gd name="connsiteX3" fmla="*/ 3389697 w 5250524"/>
              <a:gd name="connsiteY3" fmla="*/ 1669449 h 1669449"/>
              <a:gd name="connsiteX0" fmla="*/ 5 w 12815055"/>
              <a:gd name="connsiteY0" fmla="*/ 0 h 1347379"/>
              <a:gd name="connsiteX1" fmla="*/ 4181251 w 12815055"/>
              <a:gd name="connsiteY1" fmla="*/ 513332 h 1347379"/>
              <a:gd name="connsiteX2" fmla="*/ 5184036 w 12815055"/>
              <a:gd name="connsiteY2" fmla="*/ 1033948 h 1347379"/>
              <a:gd name="connsiteX3" fmla="*/ 12666003 w 12815055"/>
              <a:gd name="connsiteY3" fmla="*/ 1347379 h 1347379"/>
              <a:gd name="connsiteX0" fmla="*/ 5 w 12666000"/>
              <a:gd name="connsiteY0" fmla="*/ 0 h 1347379"/>
              <a:gd name="connsiteX1" fmla="*/ 4181251 w 12666000"/>
              <a:gd name="connsiteY1" fmla="*/ 513332 h 1347379"/>
              <a:gd name="connsiteX2" fmla="*/ 5184036 w 12666000"/>
              <a:gd name="connsiteY2" fmla="*/ 1033948 h 1347379"/>
              <a:gd name="connsiteX3" fmla="*/ 12666003 w 12666000"/>
              <a:gd name="connsiteY3" fmla="*/ 1347379 h 1347379"/>
              <a:gd name="connsiteX0" fmla="*/ 5 w 12666000"/>
              <a:gd name="connsiteY0" fmla="*/ 0 h 1347379"/>
              <a:gd name="connsiteX1" fmla="*/ 4181251 w 12666000"/>
              <a:gd name="connsiteY1" fmla="*/ 513332 h 1347379"/>
              <a:gd name="connsiteX2" fmla="*/ 8224974 w 12666000"/>
              <a:gd name="connsiteY2" fmla="*/ 833112 h 1347379"/>
              <a:gd name="connsiteX3" fmla="*/ 12666003 w 12666000"/>
              <a:gd name="connsiteY3" fmla="*/ 1347379 h 1347379"/>
              <a:gd name="connsiteX0" fmla="*/ 5 w 12666000"/>
              <a:gd name="connsiteY0" fmla="*/ 0 h 1347379"/>
              <a:gd name="connsiteX1" fmla="*/ 4181251 w 12666000"/>
              <a:gd name="connsiteY1" fmla="*/ 513332 h 1347379"/>
              <a:gd name="connsiteX2" fmla="*/ 8224974 w 12666000"/>
              <a:gd name="connsiteY2" fmla="*/ 833112 h 1347379"/>
              <a:gd name="connsiteX3" fmla="*/ 12666003 w 12666000"/>
              <a:gd name="connsiteY3" fmla="*/ 1347379 h 1347379"/>
              <a:gd name="connsiteX0" fmla="*/ 5 w 12666000"/>
              <a:gd name="connsiteY0" fmla="*/ 0 h 1347379"/>
              <a:gd name="connsiteX1" fmla="*/ 4181251 w 12666000"/>
              <a:gd name="connsiteY1" fmla="*/ 513332 h 1347379"/>
              <a:gd name="connsiteX2" fmla="*/ 8224974 w 12666000"/>
              <a:gd name="connsiteY2" fmla="*/ 833112 h 1347379"/>
              <a:gd name="connsiteX3" fmla="*/ 12666003 w 12666000"/>
              <a:gd name="connsiteY3" fmla="*/ 1347379 h 1347379"/>
              <a:gd name="connsiteX0" fmla="*/ 5 w 12666000"/>
              <a:gd name="connsiteY0" fmla="*/ 0 h 1347379"/>
              <a:gd name="connsiteX1" fmla="*/ 4181251 w 12666000"/>
              <a:gd name="connsiteY1" fmla="*/ 513332 h 1347379"/>
              <a:gd name="connsiteX2" fmla="*/ 8224974 w 12666000"/>
              <a:gd name="connsiteY2" fmla="*/ 833112 h 1347379"/>
              <a:gd name="connsiteX3" fmla="*/ 12666003 w 12666000"/>
              <a:gd name="connsiteY3" fmla="*/ 1347379 h 1347379"/>
              <a:gd name="connsiteX0" fmla="*/ 5 w 12666000"/>
              <a:gd name="connsiteY0" fmla="*/ 0 h 1347379"/>
              <a:gd name="connsiteX1" fmla="*/ 4181251 w 12666000"/>
              <a:gd name="connsiteY1" fmla="*/ 513332 h 1347379"/>
              <a:gd name="connsiteX2" fmla="*/ 8224974 w 12666000"/>
              <a:gd name="connsiteY2" fmla="*/ 833112 h 1347379"/>
              <a:gd name="connsiteX3" fmla="*/ 12666003 w 12666000"/>
              <a:gd name="connsiteY3" fmla="*/ 1347379 h 1347379"/>
              <a:gd name="connsiteX0" fmla="*/ 5 w 12666000"/>
              <a:gd name="connsiteY0" fmla="*/ 0 h 1347379"/>
              <a:gd name="connsiteX1" fmla="*/ 4860839 w 12666000"/>
              <a:gd name="connsiteY1" fmla="*/ 475855 h 1347379"/>
              <a:gd name="connsiteX2" fmla="*/ 8224974 w 12666000"/>
              <a:gd name="connsiteY2" fmla="*/ 833112 h 1347379"/>
              <a:gd name="connsiteX3" fmla="*/ 12666003 w 12666000"/>
              <a:gd name="connsiteY3" fmla="*/ 1347379 h 1347379"/>
              <a:gd name="connsiteX0" fmla="*/ 5 w 12666000"/>
              <a:gd name="connsiteY0" fmla="*/ 0 h 1347379"/>
              <a:gd name="connsiteX1" fmla="*/ 4860839 w 12666000"/>
              <a:gd name="connsiteY1" fmla="*/ 475855 h 1347379"/>
              <a:gd name="connsiteX2" fmla="*/ 8224974 w 12666000"/>
              <a:gd name="connsiteY2" fmla="*/ 833112 h 1347379"/>
              <a:gd name="connsiteX3" fmla="*/ 12666003 w 12666000"/>
              <a:gd name="connsiteY3" fmla="*/ 1347379 h 1347379"/>
              <a:gd name="connsiteX0" fmla="*/ 5 w 12666000"/>
              <a:gd name="connsiteY0" fmla="*/ 0 h 1347379"/>
              <a:gd name="connsiteX1" fmla="*/ 4860839 w 12666000"/>
              <a:gd name="connsiteY1" fmla="*/ 475855 h 1347379"/>
              <a:gd name="connsiteX2" fmla="*/ 8224974 w 12666000"/>
              <a:gd name="connsiteY2" fmla="*/ 833112 h 1347379"/>
              <a:gd name="connsiteX3" fmla="*/ 12666003 w 12666000"/>
              <a:gd name="connsiteY3" fmla="*/ 1347379 h 1347379"/>
            </a:gdLst>
            <a:ahLst/>
            <a:cxnLst>
              <a:cxn ang="0">
                <a:pos x="connsiteX0" y="connsiteY0"/>
              </a:cxn>
              <a:cxn ang="0">
                <a:pos x="connsiteX1" y="connsiteY1"/>
              </a:cxn>
              <a:cxn ang="0">
                <a:pos x="connsiteX2" y="connsiteY2"/>
              </a:cxn>
              <a:cxn ang="0">
                <a:pos x="connsiteX3" y="connsiteY3"/>
              </a:cxn>
            </a:cxnLst>
            <a:rect l="l" t="t" r="r" b="b"/>
            <a:pathLst>
              <a:path w="12666000" h="1347379">
                <a:moveTo>
                  <a:pt x="5" y="0"/>
                </a:moveTo>
                <a:lnTo>
                  <a:pt x="4860839" y="475855"/>
                </a:lnTo>
                <a:lnTo>
                  <a:pt x="8224974" y="833112"/>
                </a:lnTo>
                <a:lnTo>
                  <a:pt x="12666003" y="1347379"/>
                </a:lnTo>
              </a:path>
            </a:pathLst>
          </a:custGeom>
          <a:noFill/>
          <a:ln w="12700" cap="flat" cmpd="sng" algn="ctr">
            <a:solidFill>
              <a:srgbClr val="13835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de-DE"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3" name="Freeform 93"/>
          <p:cNvSpPr/>
          <p:nvPr/>
        </p:nvSpPr>
        <p:spPr bwMode="auto">
          <a:xfrm rot="4155966" flipH="1" flipV="1">
            <a:off x="2828853" y="2040507"/>
            <a:ext cx="154783" cy="724985"/>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9853"/>
              <a:gd name="connsiteY0" fmla="*/ 0 h 1710816"/>
              <a:gd name="connsiteX1" fmla="*/ 3043291 w 3049853"/>
              <a:gd name="connsiteY1" fmla="*/ 1710816 h 1710816"/>
              <a:gd name="connsiteX0" fmla="*/ 0 w 3012897"/>
              <a:gd name="connsiteY0" fmla="*/ 0 h 1700872"/>
              <a:gd name="connsiteX1" fmla="*/ 3006136 w 3012897"/>
              <a:gd name="connsiteY1" fmla="*/ 1700872 h 1700872"/>
              <a:gd name="connsiteX0" fmla="*/ 0 w 3012358"/>
              <a:gd name="connsiteY0" fmla="*/ 0 h 1700872"/>
              <a:gd name="connsiteX1" fmla="*/ 3006136 w 3012358"/>
              <a:gd name="connsiteY1" fmla="*/ 1700872 h 1700872"/>
              <a:gd name="connsiteX0" fmla="*/ 0 w 3009172"/>
              <a:gd name="connsiteY0" fmla="*/ 0 h 1700872"/>
              <a:gd name="connsiteX1" fmla="*/ 3006136 w 3009172"/>
              <a:gd name="connsiteY1" fmla="*/ 1700872 h 1700872"/>
              <a:gd name="connsiteX0" fmla="*/ 0 w 3011188"/>
              <a:gd name="connsiteY0" fmla="*/ 0 h 1700872"/>
              <a:gd name="connsiteX1" fmla="*/ 3006136 w 3011188"/>
              <a:gd name="connsiteY1" fmla="*/ 1700872 h 1700872"/>
              <a:gd name="connsiteX0" fmla="*/ 0 w 1265872"/>
              <a:gd name="connsiteY0" fmla="*/ 231846 h 231890"/>
              <a:gd name="connsiteX1" fmla="*/ 1024598 w 1265872"/>
              <a:gd name="connsiteY1" fmla="*/ 215725 h 231890"/>
              <a:gd name="connsiteX0" fmla="*/ 0 w 1089071"/>
              <a:gd name="connsiteY0" fmla="*/ 43894 h 44136"/>
              <a:gd name="connsiteX1" fmla="*/ 1024598 w 1089071"/>
              <a:gd name="connsiteY1" fmla="*/ 27773 h 44136"/>
              <a:gd name="connsiteX0" fmla="*/ 0 w 1024597"/>
              <a:gd name="connsiteY0" fmla="*/ 52170 h 52170"/>
              <a:gd name="connsiteX1" fmla="*/ 1024598 w 1024597"/>
              <a:gd name="connsiteY1" fmla="*/ 36049 h 52170"/>
              <a:gd name="connsiteX0" fmla="*/ 0 w 1024599"/>
              <a:gd name="connsiteY0" fmla="*/ 202860 h 202860"/>
              <a:gd name="connsiteX1" fmla="*/ 1024599 w 1024599"/>
              <a:gd name="connsiteY1" fmla="*/ 14374 h 202860"/>
              <a:gd name="connsiteX0" fmla="*/ 0 w 1024599"/>
              <a:gd name="connsiteY0" fmla="*/ 188486 h 188486"/>
              <a:gd name="connsiteX1" fmla="*/ 1024599 w 1024599"/>
              <a:gd name="connsiteY1" fmla="*/ 0 h 188486"/>
              <a:gd name="connsiteX0" fmla="*/ 0 w 1024599"/>
              <a:gd name="connsiteY0" fmla="*/ 188486 h 188486"/>
              <a:gd name="connsiteX1" fmla="*/ 1024599 w 1024599"/>
              <a:gd name="connsiteY1" fmla="*/ 0 h 188486"/>
              <a:gd name="connsiteX0" fmla="*/ 0 w 4327162"/>
              <a:gd name="connsiteY0" fmla="*/ 188486 h 188486"/>
              <a:gd name="connsiteX1" fmla="*/ 4327162 w 4327162"/>
              <a:gd name="connsiteY1" fmla="*/ 0 h 188486"/>
              <a:gd name="connsiteX0" fmla="*/ 0 w 4327162"/>
              <a:gd name="connsiteY0" fmla="*/ 496341 h 496341"/>
              <a:gd name="connsiteX1" fmla="*/ 4327162 w 4327162"/>
              <a:gd name="connsiteY1" fmla="*/ 307855 h 496341"/>
              <a:gd name="connsiteX0" fmla="*/ 0 w 4327162"/>
              <a:gd name="connsiteY0" fmla="*/ 874372 h 874372"/>
              <a:gd name="connsiteX1" fmla="*/ 4327162 w 4327162"/>
              <a:gd name="connsiteY1" fmla="*/ 685886 h 874372"/>
              <a:gd name="connsiteX0" fmla="*/ 0 w 4327162"/>
              <a:gd name="connsiteY0" fmla="*/ 932499 h 932499"/>
              <a:gd name="connsiteX1" fmla="*/ 4327162 w 4327162"/>
              <a:gd name="connsiteY1" fmla="*/ 744013 h 932499"/>
              <a:gd name="connsiteX0" fmla="*/ 0 w 4327162"/>
              <a:gd name="connsiteY0" fmla="*/ 900717 h 900717"/>
              <a:gd name="connsiteX1" fmla="*/ 4327162 w 4327162"/>
              <a:gd name="connsiteY1" fmla="*/ 712231 h 900717"/>
              <a:gd name="connsiteX0" fmla="*/ 0 w 4327162"/>
              <a:gd name="connsiteY0" fmla="*/ 900717 h 900717"/>
              <a:gd name="connsiteX1" fmla="*/ 4327162 w 4327162"/>
              <a:gd name="connsiteY1" fmla="*/ 712231 h 900717"/>
              <a:gd name="connsiteX0" fmla="*/ 0 w 4327162"/>
              <a:gd name="connsiteY0" fmla="*/ 918648 h 918648"/>
              <a:gd name="connsiteX1" fmla="*/ 4327162 w 4327162"/>
              <a:gd name="connsiteY1" fmla="*/ 730162 h 918648"/>
              <a:gd name="connsiteX0" fmla="*/ 0 w 5599916"/>
              <a:gd name="connsiteY0" fmla="*/ 643023 h 1216923"/>
              <a:gd name="connsiteX1" fmla="*/ 5599916 w 5599916"/>
              <a:gd name="connsiteY1" fmla="*/ 1216923 h 1216923"/>
              <a:gd name="connsiteX0" fmla="*/ 0 w 5599916"/>
              <a:gd name="connsiteY0" fmla="*/ 863522 h 1437422"/>
              <a:gd name="connsiteX1" fmla="*/ 5599916 w 5599916"/>
              <a:gd name="connsiteY1" fmla="*/ 1437422 h 1437422"/>
              <a:gd name="connsiteX0" fmla="*/ 0 w 5599916"/>
              <a:gd name="connsiteY0" fmla="*/ 984252 h 1558152"/>
              <a:gd name="connsiteX1" fmla="*/ 5599916 w 5599916"/>
              <a:gd name="connsiteY1" fmla="*/ 1558152 h 1558152"/>
              <a:gd name="connsiteX0" fmla="*/ 0 w 5599916"/>
              <a:gd name="connsiteY0" fmla="*/ 1001224 h 1575124"/>
              <a:gd name="connsiteX1" fmla="*/ 5599916 w 5599916"/>
              <a:gd name="connsiteY1" fmla="*/ 1575124 h 1575124"/>
              <a:gd name="connsiteX0" fmla="*/ 0 w 778662"/>
              <a:gd name="connsiteY0" fmla="*/ 1354876 h 1354876"/>
              <a:gd name="connsiteX1" fmla="*/ 234769 w 778662"/>
              <a:gd name="connsiteY1" fmla="*/ 1149153 h 1354876"/>
              <a:gd name="connsiteX0" fmla="*/ 0 w 935096"/>
              <a:gd name="connsiteY0" fmla="*/ 808798 h 808798"/>
              <a:gd name="connsiteX1" fmla="*/ 234769 w 935096"/>
              <a:gd name="connsiteY1" fmla="*/ 603075 h 808798"/>
              <a:gd name="connsiteX0" fmla="*/ 0 w 907643"/>
              <a:gd name="connsiteY0" fmla="*/ 790190 h 790190"/>
              <a:gd name="connsiteX1" fmla="*/ 130338 w 907643"/>
              <a:gd name="connsiteY1" fmla="*/ 648110 h 790190"/>
              <a:gd name="connsiteX0" fmla="*/ 0 w 928079"/>
              <a:gd name="connsiteY0" fmla="*/ 797069 h 797069"/>
              <a:gd name="connsiteX1" fmla="*/ 208661 w 928079"/>
              <a:gd name="connsiteY1" fmla="*/ 631123 h 797069"/>
              <a:gd name="connsiteX0" fmla="*/ 0 w 208662"/>
              <a:gd name="connsiteY0" fmla="*/ 165946 h 165946"/>
              <a:gd name="connsiteX1" fmla="*/ 208661 w 208662"/>
              <a:gd name="connsiteY1" fmla="*/ 0 h 165946"/>
              <a:gd name="connsiteX0" fmla="*/ 0 w 241295"/>
              <a:gd name="connsiteY0" fmla="*/ 175890 h 175890"/>
              <a:gd name="connsiteX1" fmla="*/ 241296 w 241295"/>
              <a:gd name="connsiteY1" fmla="*/ 0 h 175890"/>
              <a:gd name="connsiteX0" fmla="*/ 6942 w 248238"/>
              <a:gd name="connsiteY0" fmla="*/ 175890 h 175890"/>
              <a:gd name="connsiteX1" fmla="*/ 248238 w 248238"/>
              <a:gd name="connsiteY1" fmla="*/ 0 h 175890"/>
              <a:gd name="connsiteX0" fmla="*/ 8926 w 225747"/>
              <a:gd name="connsiteY0" fmla="*/ 153516 h 153516"/>
              <a:gd name="connsiteX1" fmla="*/ 225747 w 225747"/>
              <a:gd name="connsiteY1" fmla="*/ 0 h 153516"/>
              <a:gd name="connsiteX0" fmla="*/ 7514 w 240653"/>
              <a:gd name="connsiteY0" fmla="*/ 170918 h 170918"/>
              <a:gd name="connsiteX1" fmla="*/ 240653 w 240653"/>
              <a:gd name="connsiteY1" fmla="*/ 0 h 170918"/>
              <a:gd name="connsiteX0" fmla="*/ 18240 w 251379"/>
              <a:gd name="connsiteY0" fmla="*/ 170918 h 170918"/>
              <a:gd name="connsiteX1" fmla="*/ 251379 w 251379"/>
              <a:gd name="connsiteY1" fmla="*/ 0 h 170918"/>
              <a:gd name="connsiteX0" fmla="*/ 18240 w 251379"/>
              <a:gd name="connsiteY0" fmla="*/ 158488 h 158488"/>
              <a:gd name="connsiteX1" fmla="*/ 251379 w 251379"/>
              <a:gd name="connsiteY1" fmla="*/ 0 h 158488"/>
              <a:gd name="connsiteX0" fmla="*/ 17341 w 258639"/>
              <a:gd name="connsiteY0" fmla="*/ 160974 h 160974"/>
              <a:gd name="connsiteX1" fmla="*/ 258640 w 258639"/>
              <a:gd name="connsiteY1" fmla="*/ 0 h 160974"/>
              <a:gd name="connsiteX0" fmla="*/ 14278 w 255578"/>
              <a:gd name="connsiteY0" fmla="*/ 163066 h 163066"/>
              <a:gd name="connsiteX1" fmla="*/ 255577 w 255578"/>
              <a:gd name="connsiteY1" fmla="*/ 2092 h 163066"/>
              <a:gd name="connsiteX0" fmla="*/ 14278 w 255576"/>
              <a:gd name="connsiteY0" fmla="*/ 165919 h 165919"/>
              <a:gd name="connsiteX1" fmla="*/ 255577 w 255576"/>
              <a:gd name="connsiteY1" fmla="*/ 4945 h 165919"/>
              <a:gd name="connsiteX0" fmla="*/ 15719 w 257018"/>
              <a:gd name="connsiteY0" fmla="*/ 166082 h 166082"/>
              <a:gd name="connsiteX1" fmla="*/ 257018 w 257018"/>
              <a:gd name="connsiteY1" fmla="*/ 5108 h 166082"/>
              <a:gd name="connsiteX0" fmla="*/ 16029 w 257328"/>
              <a:gd name="connsiteY0" fmla="*/ 164225 h 164225"/>
              <a:gd name="connsiteX1" fmla="*/ 257328 w 257328"/>
              <a:gd name="connsiteY1" fmla="*/ 3251 h 164225"/>
              <a:gd name="connsiteX0" fmla="*/ 15126 w 256425"/>
              <a:gd name="connsiteY0" fmla="*/ 164814 h 164814"/>
              <a:gd name="connsiteX1" fmla="*/ 256425 w 256425"/>
              <a:gd name="connsiteY1" fmla="*/ 3840 h 164814"/>
              <a:gd name="connsiteX0" fmla="*/ 41402 w 135844"/>
              <a:gd name="connsiteY0" fmla="*/ 32128 h 57606"/>
              <a:gd name="connsiteX1" fmla="*/ 135844 w 135844"/>
              <a:gd name="connsiteY1" fmla="*/ 57607 h 57606"/>
              <a:gd name="connsiteX0" fmla="*/ 288769 w 288769"/>
              <a:gd name="connsiteY0" fmla="*/ 16967 h 159290"/>
              <a:gd name="connsiteX1" fmla="*/ 44626 w 288769"/>
              <a:gd name="connsiteY1" fmla="*/ 159290 h 159290"/>
              <a:gd name="connsiteX0" fmla="*/ 244143 w 244143"/>
              <a:gd name="connsiteY0" fmla="*/ 15076 h 157526"/>
              <a:gd name="connsiteX1" fmla="*/ 0 w 244143"/>
              <a:gd name="connsiteY1" fmla="*/ 157399 h 157526"/>
              <a:gd name="connsiteX0" fmla="*/ 219666 w 219666"/>
              <a:gd name="connsiteY0" fmla="*/ 14805 h 162223"/>
              <a:gd name="connsiteX1" fmla="*/ 0 w 219666"/>
              <a:gd name="connsiteY1" fmla="*/ 162100 h 162223"/>
              <a:gd name="connsiteX0" fmla="*/ 219666 w 247319"/>
              <a:gd name="connsiteY0" fmla="*/ 0 h 147529"/>
              <a:gd name="connsiteX1" fmla="*/ 0 w 247319"/>
              <a:gd name="connsiteY1" fmla="*/ 147295 h 147529"/>
              <a:gd name="connsiteX0" fmla="*/ 227824 w 254399"/>
              <a:gd name="connsiteY0" fmla="*/ 0 h 152492"/>
              <a:gd name="connsiteX1" fmla="*/ 0 w 254399"/>
              <a:gd name="connsiteY1" fmla="*/ 152268 h 152492"/>
              <a:gd name="connsiteX0" fmla="*/ 227824 w 253476"/>
              <a:gd name="connsiteY0" fmla="*/ 0 h 154921"/>
              <a:gd name="connsiteX1" fmla="*/ 0 w 253476"/>
              <a:gd name="connsiteY1" fmla="*/ 152268 h 154921"/>
              <a:gd name="connsiteX0" fmla="*/ 227824 w 261726"/>
              <a:gd name="connsiteY0" fmla="*/ 0 h 155188"/>
              <a:gd name="connsiteX1" fmla="*/ 0 w 261726"/>
              <a:gd name="connsiteY1" fmla="*/ 152268 h 155188"/>
              <a:gd name="connsiteX0" fmla="*/ 0 w 1622463"/>
              <a:gd name="connsiteY0" fmla="*/ 81420 h 94627"/>
              <a:gd name="connsiteX1" fmla="*/ 1607873 w 1622463"/>
              <a:gd name="connsiteY1" fmla="*/ 0 h 94627"/>
              <a:gd name="connsiteX0" fmla="*/ 0 w 1607873"/>
              <a:gd name="connsiteY0" fmla="*/ 90497 h 99366"/>
              <a:gd name="connsiteX1" fmla="*/ 1607873 w 1607873"/>
              <a:gd name="connsiteY1" fmla="*/ 9077 h 99366"/>
              <a:gd name="connsiteX0" fmla="*/ 0 w 1591556"/>
              <a:gd name="connsiteY0" fmla="*/ 104820 h 113107"/>
              <a:gd name="connsiteX1" fmla="*/ 1591556 w 1591556"/>
              <a:gd name="connsiteY1" fmla="*/ 8483 h 113107"/>
              <a:gd name="connsiteX0" fmla="*/ 0 w 1591556"/>
              <a:gd name="connsiteY0" fmla="*/ 117229 h 124320"/>
              <a:gd name="connsiteX1" fmla="*/ 1591556 w 1591556"/>
              <a:gd name="connsiteY1" fmla="*/ 20892 h 124320"/>
              <a:gd name="connsiteX0" fmla="*/ 0 w 1591556"/>
              <a:gd name="connsiteY0" fmla="*/ 113613 h 140106"/>
              <a:gd name="connsiteX1" fmla="*/ 1591556 w 1591556"/>
              <a:gd name="connsiteY1" fmla="*/ 17276 h 140106"/>
              <a:gd name="connsiteX0" fmla="*/ 0 w 1591556"/>
              <a:gd name="connsiteY0" fmla="*/ 118345 h 144487"/>
              <a:gd name="connsiteX1" fmla="*/ 1591556 w 1591556"/>
              <a:gd name="connsiteY1" fmla="*/ 17036 h 144487"/>
              <a:gd name="connsiteX0" fmla="*/ 0 w 1591556"/>
              <a:gd name="connsiteY0" fmla="*/ 117486 h 150580"/>
              <a:gd name="connsiteX1" fmla="*/ 1591556 w 1591556"/>
              <a:gd name="connsiteY1" fmla="*/ 16177 h 150580"/>
              <a:gd name="connsiteX0" fmla="*/ 0 w 1069402"/>
              <a:gd name="connsiteY0" fmla="*/ 0 h 77685"/>
              <a:gd name="connsiteX1" fmla="*/ 1069402 w 1069402"/>
              <a:gd name="connsiteY1" fmla="*/ 77686 h 77685"/>
              <a:gd name="connsiteX0" fmla="*/ 0 w 1069402"/>
              <a:gd name="connsiteY0" fmla="*/ 0 h 77686"/>
              <a:gd name="connsiteX1" fmla="*/ 1069402 w 1069402"/>
              <a:gd name="connsiteY1" fmla="*/ 77686 h 77686"/>
              <a:gd name="connsiteX0" fmla="*/ 0 w 1069402"/>
              <a:gd name="connsiteY0" fmla="*/ 0 h 77686"/>
              <a:gd name="connsiteX1" fmla="*/ 1069402 w 1069402"/>
              <a:gd name="connsiteY1" fmla="*/ 77686 h 77686"/>
              <a:gd name="connsiteX0" fmla="*/ 0 w 1028610"/>
              <a:gd name="connsiteY0" fmla="*/ 0 h 102546"/>
              <a:gd name="connsiteX1" fmla="*/ 1028610 w 1028610"/>
              <a:gd name="connsiteY1" fmla="*/ 102546 h 102546"/>
              <a:gd name="connsiteX0" fmla="*/ 0 w 1028610"/>
              <a:gd name="connsiteY0" fmla="*/ 0 h 102546"/>
              <a:gd name="connsiteX1" fmla="*/ 1028610 w 1028610"/>
              <a:gd name="connsiteY1" fmla="*/ 102546 h 102546"/>
              <a:gd name="connsiteX0" fmla="*/ 0 w 1028610"/>
              <a:gd name="connsiteY0" fmla="*/ 0 h 102546"/>
              <a:gd name="connsiteX1" fmla="*/ 1028610 w 1028610"/>
              <a:gd name="connsiteY1" fmla="*/ 102546 h 102546"/>
              <a:gd name="connsiteX0" fmla="*/ 0 w 1004133"/>
              <a:gd name="connsiteY0" fmla="*/ 0 h 105032"/>
              <a:gd name="connsiteX1" fmla="*/ 1004133 w 1004133"/>
              <a:gd name="connsiteY1" fmla="*/ 105032 h 105032"/>
              <a:gd name="connsiteX0" fmla="*/ 0 w 1004133"/>
              <a:gd name="connsiteY0" fmla="*/ 0 h 105032"/>
              <a:gd name="connsiteX1" fmla="*/ 1004133 w 1004133"/>
              <a:gd name="connsiteY1" fmla="*/ 105032 h 105032"/>
              <a:gd name="connsiteX0" fmla="*/ 0 w 893991"/>
              <a:gd name="connsiteY0" fmla="*/ 0 h 433188"/>
              <a:gd name="connsiteX1" fmla="*/ 893991 w 893991"/>
              <a:gd name="connsiteY1" fmla="*/ 433188 h 433188"/>
              <a:gd name="connsiteX0" fmla="*/ 0 w 934785"/>
              <a:gd name="connsiteY0" fmla="*/ 0 h 433188"/>
              <a:gd name="connsiteX1" fmla="*/ 934785 w 934785"/>
              <a:gd name="connsiteY1" fmla="*/ 433188 h 433188"/>
              <a:gd name="connsiteX0" fmla="*/ 0 w 934785"/>
              <a:gd name="connsiteY0" fmla="*/ 0 h 433188"/>
              <a:gd name="connsiteX1" fmla="*/ 934785 w 934785"/>
              <a:gd name="connsiteY1" fmla="*/ 433188 h 433188"/>
              <a:gd name="connsiteX0" fmla="*/ 0 w 820564"/>
              <a:gd name="connsiteY0" fmla="*/ 0 h 482909"/>
              <a:gd name="connsiteX1" fmla="*/ 820564 w 820564"/>
              <a:gd name="connsiteY1" fmla="*/ 482909 h 482909"/>
              <a:gd name="connsiteX0" fmla="*/ 0 w 820564"/>
              <a:gd name="connsiteY0" fmla="*/ 0 h 482909"/>
              <a:gd name="connsiteX1" fmla="*/ 820564 w 820564"/>
              <a:gd name="connsiteY1" fmla="*/ 482909 h 482909"/>
              <a:gd name="connsiteX0" fmla="*/ 0 w 2493088"/>
              <a:gd name="connsiteY0" fmla="*/ 0 h 756373"/>
              <a:gd name="connsiteX1" fmla="*/ 2493088 w 2493088"/>
              <a:gd name="connsiteY1" fmla="*/ 756373 h 756373"/>
              <a:gd name="connsiteX0" fmla="*/ 0 w 2493088"/>
              <a:gd name="connsiteY0" fmla="*/ 0 h 756373"/>
              <a:gd name="connsiteX1" fmla="*/ 2493088 w 2493088"/>
              <a:gd name="connsiteY1" fmla="*/ 756373 h 756373"/>
              <a:gd name="connsiteX0" fmla="*/ 0 w 2482210"/>
              <a:gd name="connsiteY0" fmla="*/ 0 h 772947"/>
              <a:gd name="connsiteX1" fmla="*/ 2482210 w 2482210"/>
              <a:gd name="connsiteY1" fmla="*/ 772947 h 772947"/>
              <a:gd name="connsiteX0" fmla="*/ 0 w 2221133"/>
              <a:gd name="connsiteY0" fmla="*/ 0 h 1377550"/>
              <a:gd name="connsiteX1" fmla="*/ 2221133 w 2221133"/>
              <a:gd name="connsiteY1" fmla="*/ 1377550 h 1377550"/>
              <a:gd name="connsiteX0" fmla="*/ 0 w 2221133"/>
              <a:gd name="connsiteY0" fmla="*/ 0 h 1377550"/>
              <a:gd name="connsiteX1" fmla="*/ 2221133 w 2221133"/>
              <a:gd name="connsiteY1" fmla="*/ 1377550 h 1377550"/>
              <a:gd name="connsiteX0" fmla="*/ 0 w 2273348"/>
              <a:gd name="connsiteY0" fmla="*/ 0 h 1377550"/>
              <a:gd name="connsiteX1" fmla="*/ 2273348 w 2273348"/>
              <a:gd name="connsiteY1" fmla="*/ 1377550 h 1377550"/>
              <a:gd name="connsiteX0" fmla="*/ 0 w 2273348"/>
              <a:gd name="connsiteY0" fmla="*/ 0 h 1377550"/>
              <a:gd name="connsiteX1" fmla="*/ 2273348 w 2273348"/>
              <a:gd name="connsiteY1" fmla="*/ 1377550 h 1377550"/>
              <a:gd name="connsiteX0" fmla="*/ 0 w 2257031"/>
              <a:gd name="connsiteY0" fmla="*/ 0 h 1367606"/>
              <a:gd name="connsiteX1" fmla="*/ 2257031 w 2257031"/>
              <a:gd name="connsiteY1" fmla="*/ 1367606 h 1367606"/>
              <a:gd name="connsiteX0" fmla="*/ 0 w 2257031"/>
              <a:gd name="connsiteY0" fmla="*/ 0 h 1367606"/>
              <a:gd name="connsiteX1" fmla="*/ 2257031 w 2257031"/>
              <a:gd name="connsiteY1" fmla="*/ 1367606 h 1367606"/>
              <a:gd name="connsiteX0" fmla="*/ 0 w 2257031"/>
              <a:gd name="connsiteY0" fmla="*/ 0 h 1367606"/>
              <a:gd name="connsiteX1" fmla="*/ 2257031 w 2257031"/>
              <a:gd name="connsiteY1" fmla="*/ 1367606 h 1367606"/>
              <a:gd name="connsiteX0" fmla="*/ 0 w 2518108"/>
              <a:gd name="connsiteY0" fmla="*/ 0 h 1712336"/>
              <a:gd name="connsiteX1" fmla="*/ 2518108 w 2518108"/>
              <a:gd name="connsiteY1" fmla="*/ 1712336 h 1712336"/>
              <a:gd name="connsiteX0" fmla="*/ 0 w 2518108"/>
              <a:gd name="connsiteY0" fmla="*/ 0 h 1712336"/>
              <a:gd name="connsiteX1" fmla="*/ 2518108 w 2518108"/>
              <a:gd name="connsiteY1" fmla="*/ 1712336 h 1712336"/>
              <a:gd name="connsiteX0" fmla="*/ 0 w 2518108"/>
              <a:gd name="connsiteY0" fmla="*/ 0 h 1712336"/>
              <a:gd name="connsiteX1" fmla="*/ 2518108 w 2518108"/>
              <a:gd name="connsiteY1" fmla="*/ 1712336 h 1712336"/>
              <a:gd name="connsiteX0" fmla="*/ 0 w 2561621"/>
              <a:gd name="connsiteY0" fmla="*/ 0 h 1705707"/>
              <a:gd name="connsiteX1" fmla="*/ 2561621 w 2561621"/>
              <a:gd name="connsiteY1" fmla="*/ 1705707 h 1705707"/>
              <a:gd name="connsiteX0" fmla="*/ 0 w 3094653"/>
              <a:gd name="connsiteY0" fmla="*/ 0 h 1838295"/>
              <a:gd name="connsiteX1" fmla="*/ 3094653 w 3094653"/>
              <a:gd name="connsiteY1" fmla="*/ 1838295 h 1838295"/>
              <a:gd name="connsiteX0" fmla="*/ 0 w 3094653"/>
              <a:gd name="connsiteY0" fmla="*/ 0 h 1838295"/>
              <a:gd name="connsiteX1" fmla="*/ 3094653 w 3094653"/>
              <a:gd name="connsiteY1" fmla="*/ 1838295 h 1838295"/>
              <a:gd name="connsiteX0" fmla="*/ 0 w 3062018"/>
              <a:gd name="connsiteY0" fmla="*/ 0 h 1818407"/>
              <a:gd name="connsiteX1" fmla="*/ 3062018 w 3062018"/>
              <a:gd name="connsiteY1" fmla="*/ 1818407 h 1818407"/>
              <a:gd name="connsiteX0" fmla="*/ 0 w 3062018"/>
              <a:gd name="connsiteY0" fmla="*/ 0 h 1818407"/>
              <a:gd name="connsiteX1" fmla="*/ 3062018 w 3062018"/>
              <a:gd name="connsiteY1" fmla="*/ 1818407 h 1818407"/>
              <a:gd name="connsiteX0" fmla="*/ 0 w 3121356"/>
              <a:gd name="connsiteY0" fmla="*/ 0 h 1858986"/>
              <a:gd name="connsiteX1" fmla="*/ 3121356 w 3121356"/>
              <a:gd name="connsiteY1" fmla="*/ 1858986 h 1858986"/>
              <a:gd name="connsiteX0" fmla="*/ 0 w 3143961"/>
              <a:gd name="connsiteY0" fmla="*/ 0 h 1858986"/>
              <a:gd name="connsiteX1" fmla="*/ 3143961 w 3143961"/>
              <a:gd name="connsiteY1" fmla="*/ 1858986 h 1858986"/>
              <a:gd name="connsiteX0" fmla="*/ 0 w 3143961"/>
              <a:gd name="connsiteY0" fmla="*/ 0 h 1858986"/>
              <a:gd name="connsiteX1" fmla="*/ 3143961 w 3143961"/>
              <a:gd name="connsiteY1" fmla="*/ 1858986 h 1858986"/>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77828"/>
              <a:gd name="connsiteX1" fmla="*/ 2680568 w 2680568"/>
              <a:gd name="connsiteY1" fmla="*/ 1777828 h 1777828"/>
              <a:gd name="connsiteX0" fmla="*/ 0 w 1561644"/>
              <a:gd name="connsiteY0" fmla="*/ 0 h 1507302"/>
              <a:gd name="connsiteX1" fmla="*/ 1561644 w 1561644"/>
              <a:gd name="connsiteY1" fmla="*/ 1507302 h 1507302"/>
              <a:gd name="connsiteX0" fmla="*/ 0 w 1561644"/>
              <a:gd name="connsiteY0" fmla="*/ 0 h 1507302"/>
              <a:gd name="connsiteX1" fmla="*/ 1561644 w 1561644"/>
              <a:gd name="connsiteY1" fmla="*/ 1507302 h 1507302"/>
              <a:gd name="connsiteX0" fmla="*/ 0 w 1561644"/>
              <a:gd name="connsiteY0" fmla="*/ 0 h 1507302"/>
              <a:gd name="connsiteX1" fmla="*/ 1561644 w 1561644"/>
              <a:gd name="connsiteY1" fmla="*/ 1507302 h 1507302"/>
              <a:gd name="connsiteX0" fmla="*/ 0 w 1539039"/>
              <a:gd name="connsiteY0" fmla="*/ 0 h 1500539"/>
              <a:gd name="connsiteX1" fmla="*/ 1539039 w 1539039"/>
              <a:gd name="connsiteY1" fmla="*/ 1500539 h 1500539"/>
              <a:gd name="connsiteX0" fmla="*/ 0 w 1528011"/>
              <a:gd name="connsiteY0" fmla="*/ 0 h 1490461"/>
              <a:gd name="connsiteX1" fmla="*/ 1528011 w 1528011"/>
              <a:gd name="connsiteY1" fmla="*/ 1490461 h 1490461"/>
              <a:gd name="connsiteX0" fmla="*/ 0 w 1528011"/>
              <a:gd name="connsiteY0" fmla="*/ 0 h 1490461"/>
              <a:gd name="connsiteX1" fmla="*/ 1528011 w 1528011"/>
              <a:gd name="connsiteY1" fmla="*/ 1490461 h 1490461"/>
              <a:gd name="connsiteX0" fmla="*/ 3080799 w 3090213"/>
              <a:gd name="connsiteY0" fmla="*/ 0 h 2226950"/>
              <a:gd name="connsiteX1" fmla="*/ 78511 w 3090213"/>
              <a:gd name="connsiteY1" fmla="*/ 2226950 h 2226950"/>
              <a:gd name="connsiteX0" fmla="*/ 3321263 w 3321263"/>
              <a:gd name="connsiteY0" fmla="*/ 267285 h 2494235"/>
              <a:gd name="connsiteX1" fmla="*/ 318975 w 3321263"/>
              <a:gd name="connsiteY1" fmla="*/ 2494235 h 2494235"/>
              <a:gd name="connsiteX0" fmla="*/ 5023856 w 5023856"/>
              <a:gd name="connsiteY0" fmla="*/ 776106 h 776106"/>
              <a:gd name="connsiteX1" fmla="*/ 128627 w 5023856"/>
              <a:gd name="connsiteY1" fmla="*/ 351698 h 776106"/>
              <a:gd name="connsiteX0" fmla="*/ 4895228 w 4895228"/>
              <a:gd name="connsiteY0" fmla="*/ 761159 h 761159"/>
              <a:gd name="connsiteX1" fmla="*/ -1 w 4895228"/>
              <a:gd name="connsiteY1" fmla="*/ 336751 h 761159"/>
              <a:gd name="connsiteX0" fmla="*/ 5171732 w 5171732"/>
              <a:gd name="connsiteY0" fmla="*/ 754664 h 754664"/>
              <a:gd name="connsiteX1" fmla="*/ 0 w 5171732"/>
              <a:gd name="connsiteY1" fmla="*/ 343645 h 754664"/>
              <a:gd name="connsiteX0" fmla="*/ 5171732 w 5171732"/>
              <a:gd name="connsiteY0" fmla="*/ 835843 h 835843"/>
              <a:gd name="connsiteX1" fmla="*/ 0 w 5171732"/>
              <a:gd name="connsiteY1" fmla="*/ 424824 h 835843"/>
              <a:gd name="connsiteX0" fmla="*/ 5171732 w 5171732"/>
              <a:gd name="connsiteY0" fmla="*/ 709665 h 709665"/>
              <a:gd name="connsiteX1" fmla="*/ 0 w 5171732"/>
              <a:gd name="connsiteY1" fmla="*/ 298646 h 709665"/>
              <a:gd name="connsiteX0" fmla="*/ 5320608 w 5320608"/>
              <a:gd name="connsiteY0" fmla="*/ 692367 h 692367"/>
              <a:gd name="connsiteX1" fmla="*/ 0 w 5320608"/>
              <a:gd name="connsiteY1" fmla="*/ 308133 h 692367"/>
              <a:gd name="connsiteX0" fmla="*/ 5320608 w 5320608"/>
              <a:gd name="connsiteY0" fmla="*/ 703884 h 703884"/>
              <a:gd name="connsiteX1" fmla="*/ 0 w 5320608"/>
              <a:gd name="connsiteY1" fmla="*/ 319650 h 703884"/>
              <a:gd name="connsiteX0" fmla="*/ 2889934 w 2889938"/>
              <a:gd name="connsiteY0" fmla="*/ 251649 h 1263062"/>
              <a:gd name="connsiteX1" fmla="*/ 0 w 2889938"/>
              <a:gd name="connsiteY1" fmla="*/ 1263061 h 1263062"/>
              <a:gd name="connsiteX0" fmla="*/ 2889934 w 2889938"/>
              <a:gd name="connsiteY0" fmla="*/ 1 h 1011414"/>
              <a:gd name="connsiteX1" fmla="*/ 0 w 2889938"/>
              <a:gd name="connsiteY1" fmla="*/ 1011413 h 1011414"/>
              <a:gd name="connsiteX0" fmla="*/ 752739 w 752743"/>
              <a:gd name="connsiteY0" fmla="*/ 1 h 1935252"/>
              <a:gd name="connsiteX1" fmla="*/ 3 w 752743"/>
              <a:gd name="connsiteY1" fmla="*/ 1935252 h 1935252"/>
              <a:gd name="connsiteX0" fmla="*/ 1160558 w 1160562"/>
              <a:gd name="connsiteY0" fmla="*/ 1 h 1935252"/>
              <a:gd name="connsiteX1" fmla="*/ 407822 w 1160562"/>
              <a:gd name="connsiteY1" fmla="*/ 1935252 h 1935252"/>
              <a:gd name="connsiteX0" fmla="*/ 1205658 w 1205662"/>
              <a:gd name="connsiteY0" fmla="*/ 1 h 1862610"/>
              <a:gd name="connsiteX1" fmla="*/ 384793 w 1205662"/>
              <a:gd name="connsiteY1" fmla="*/ 1862612 h 1862610"/>
              <a:gd name="connsiteX0" fmla="*/ 1190716 w 1190720"/>
              <a:gd name="connsiteY0" fmla="*/ 1 h 1883273"/>
              <a:gd name="connsiteX1" fmla="*/ 392148 w 1190720"/>
              <a:gd name="connsiteY1" fmla="*/ 1883273 h 1883273"/>
              <a:gd name="connsiteX0" fmla="*/ 1189098 w 1189102"/>
              <a:gd name="connsiteY0" fmla="*/ 1 h 1883273"/>
              <a:gd name="connsiteX1" fmla="*/ 390530 w 1189102"/>
              <a:gd name="connsiteY1" fmla="*/ 1883273 h 1883273"/>
              <a:gd name="connsiteX0" fmla="*/ 1164575 w 1164575"/>
              <a:gd name="connsiteY0" fmla="*/ 0 h 1860619"/>
              <a:gd name="connsiteX1" fmla="*/ 403194 w 1164575"/>
              <a:gd name="connsiteY1" fmla="*/ 1860619 h 1860619"/>
              <a:gd name="connsiteX0" fmla="*/ 1164909 w 1164909"/>
              <a:gd name="connsiteY0" fmla="*/ 0 h 1860619"/>
              <a:gd name="connsiteX1" fmla="*/ 403528 w 1164909"/>
              <a:gd name="connsiteY1" fmla="*/ 1860619 h 1860619"/>
              <a:gd name="connsiteX0" fmla="*/ 1215490 w 1215490"/>
              <a:gd name="connsiteY0" fmla="*/ 0 h 1860619"/>
              <a:gd name="connsiteX1" fmla="*/ 454109 w 1215490"/>
              <a:gd name="connsiteY1" fmla="*/ 1860619 h 1860619"/>
              <a:gd name="connsiteX0" fmla="*/ 1157822 w 1157826"/>
              <a:gd name="connsiteY0" fmla="*/ 2 h 1943256"/>
              <a:gd name="connsiteX1" fmla="*/ 485627 w 1157826"/>
              <a:gd name="connsiteY1" fmla="*/ 1943256 h 1943256"/>
              <a:gd name="connsiteX0" fmla="*/ 1105906 w 1105910"/>
              <a:gd name="connsiteY0" fmla="*/ 2 h 1943256"/>
              <a:gd name="connsiteX1" fmla="*/ 433711 w 1105910"/>
              <a:gd name="connsiteY1" fmla="*/ 1943256 h 1943256"/>
              <a:gd name="connsiteX0" fmla="*/ 1206089 w 1206088"/>
              <a:gd name="connsiteY0" fmla="*/ -2 h 1848170"/>
              <a:gd name="connsiteX1" fmla="*/ 390188 w 1206088"/>
              <a:gd name="connsiteY1" fmla="*/ 1848170 h 1848170"/>
              <a:gd name="connsiteX0" fmla="*/ 1086473 w 1086472"/>
              <a:gd name="connsiteY0" fmla="*/ -2 h 1848170"/>
              <a:gd name="connsiteX1" fmla="*/ 270572 w 1086472"/>
              <a:gd name="connsiteY1" fmla="*/ 1848170 h 1848170"/>
              <a:gd name="connsiteX0" fmla="*/ 8038878 w 8038877"/>
              <a:gd name="connsiteY0" fmla="*/ -2 h 3615278"/>
              <a:gd name="connsiteX1" fmla="*/ 49728 w 8038877"/>
              <a:gd name="connsiteY1" fmla="*/ 3615276 h 3615278"/>
              <a:gd name="connsiteX0" fmla="*/ 7989148 w 7989147"/>
              <a:gd name="connsiteY0" fmla="*/ -2 h 3615278"/>
              <a:gd name="connsiteX1" fmla="*/ -2 w 7989147"/>
              <a:gd name="connsiteY1" fmla="*/ 3615276 h 3615278"/>
              <a:gd name="connsiteX0" fmla="*/ 7852029 w 7852028"/>
              <a:gd name="connsiteY0" fmla="*/ -2 h 3653503"/>
              <a:gd name="connsiteX1" fmla="*/ 0 w 7852028"/>
              <a:gd name="connsiteY1" fmla="*/ 3653504 h 3653503"/>
              <a:gd name="connsiteX0" fmla="*/ 7852029 w 7852028"/>
              <a:gd name="connsiteY0" fmla="*/ -2 h 3653503"/>
              <a:gd name="connsiteX1" fmla="*/ 0 w 7852028"/>
              <a:gd name="connsiteY1" fmla="*/ 3653504 h 3653503"/>
              <a:gd name="connsiteX0" fmla="*/ 8045309 w 8045309"/>
              <a:gd name="connsiteY0" fmla="*/ 0 h 3588622"/>
              <a:gd name="connsiteX1" fmla="*/ 0 w 8045309"/>
              <a:gd name="connsiteY1" fmla="*/ 3588623 h 3588622"/>
              <a:gd name="connsiteX0" fmla="*/ 8045309 w 8045309"/>
              <a:gd name="connsiteY0" fmla="*/ 0 h 3588622"/>
              <a:gd name="connsiteX1" fmla="*/ 0 w 8045309"/>
              <a:gd name="connsiteY1" fmla="*/ 3588623 h 3588622"/>
              <a:gd name="connsiteX0" fmla="*/ 8045309 w 8045309"/>
              <a:gd name="connsiteY0" fmla="*/ 0 h 3588622"/>
              <a:gd name="connsiteX1" fmla="*/ 0 w 8045309"/>
              <a:gd name="connsiteY1" fmla="*/ 3588623 h 3588622"/>
              <a:gd name="connsiteX0" fmla="*/ 8179140 w 8179141"/>
              <a:gd name="connsiteY0" fmla="*/ 0 h 3578833"/>
              <a:gd name="connsiteX1" fmla="*/ 0 w 8179141"/>
              <a:gd name="connsiteY1" fmla="*/ 3578834 h 3578833"/>
              <a:gd name="connsiteX0" fmla="*/ 8179140 w 8179141"/>
              <a:gd name="connsiteY0" fmla="*/ 0 h 3578833"/>
              <a:gd name="connsiteX1" fmla="*/ 0 w 8179141"/>
              <a:gd name="connsiteY1" fmla="*/ 3578834 h 3578833"/>
              <a:gd name="connsiteX0" fmla="*/ 8288176 w 8288179"/>
              <a:gd name="connsiteY0" fmla="*/ 0 h 3553940"/>
              <a:gd name="connsiteX1" fmla="*/ 0 w 8288179"/>
              <a:gd name="connsiteY1" fmla="*/ 3553941 h 3553940"/>
              <a:gd name="connsiteX0" fmla="*/ 8238107 w 8238103"/>
              <a:gd name="connsiteY0" fmla="*/ -1 h 3553134"/>
              <a:gd name="connsiteX1" fmla="*/ 0 w 8238103"/>
              <a:gd name="connsiteY1" fmla="*/ 3553135 h 3553134"/>
              <a:gd name="connsiteX0" fmla="*/ 8238107 w 8305339"/>
              <a:gd name="connsiteY0" fmla="*/ -1 h 3553134"/>
              <a:gd name="connsiteX1" fmla="*/ 0 w 8305339"/>
              <a:gd name="connsiteY1" fmla="*/ 3553135 h 3553134"/>
              <a:gd name="connsiteX0" fmla="*/ 12251389 w 12288614"/>
              <a:gd name="connsiteY0" fmla="*/ -1 h 4841777"/>
              <a:gd name="connsiteX1" fmla="*/ 2 w 12288614"/>
              <a:gd name="connsiteY1" fmla="*/ 4841777 h 4841777"/>
              <a:gd name="connsiteX0" fmla="*/ 12251389 w 12300718"/>
              <a:gd name="connsiteY0" fmla="*/ -1 h 4841777"/>
              <a:gd name="connsiteX1" fmla="*/ 2 w 12300718"/>
              <a:gd name="connsiteY1" fmla="*/ 4841777 h 4841777"/>
              <a:gd name="connsiteX0" fmla="*/ 12107399 w 12157791"/>
              <a:gd name="connsiteY0" fmla="*/ -2 h 4813412"/>
              <a:gd name="connsiteX1" fmla="*/ 2 w 12157791"/>
              <a:gd name="connsiteY1" fmla="*/ 4813412 h 4813412"/>
              <a:gd name="connsiteX0" fmla="*/ 12107399 w 12115490"/>
              <a:gd name="connsiteY0" fmla="*/ -2 h 4813412"/>
              <a:gd name="connsiteX1" fmla="*/ 2 w 12115490"/>
              <a:gd name="connsiteY1" fmla="*/ 4813412 h 4813412"/>
              <a:gd name="connsiteX0" fmla="*/ 12107399 w 12107392"/>
              <a:gd name="connsiteY0" fmla="*/ -2 h 9321579"/>
              <a:gd name="connsiteX1" fmla="*/ 2 w 12107392"/>
              <a:gd name="connsiteY1" fmla="*/ 4813412 h 9321579"/>
              <a:gd name="connsiteX0" fmla="*/ 12107399 w 12107392"/>
              <a:gd name="connsiteY0" fmla="*/ -2 h 14043873"/>
              <a:gd name="connsiteX1" fmla="*/ 2 w 12107392"/>
              <a:gd name="connsiteY1" fmla="*/ 4813412 h 14043873"/>
              <a:gd name="connsiteX0" fmla="*/ 15668089 w 15668107"/>
              <a:gd name="connsiteY0" fmla="*/ 11076433 h 19061140"/>
              <a:gd name="connsiteX1" fmla="*/ 2 w 15668107"/>
              <a:gd name="connsiteY1" fmla="*/ 7 h 19061140"/>
              <a:gd name="connsiteX0" fmla="*/ 15668089 w 16723234"/>
              <a:gd name="connsiteY0" fmla="*/ 11076433 h 11076437"/>
              <a:gd name="connsiteX1" fmla="*/ 2 w 16723234"/>
              <a:gd name="connsiteY1" fmla="*/ 7 h 11076437"/>
              <a:gd name="connsiteX0" fmla="*/ 12428599 w 13690125"/>
              <a:gd name="connsiteY0" fmla="*/ 16649274 h 16649280"/>
              <a:gd name="connsiteX1" fmla="*/ 2 w 13690125"/>
              <a:gd name="connsiteY1" fmla="*/ 7 h 16649280"/>
              <a:gd name="connsiteX0" fmla="*/ 12428599 w 13595310"/>
              <a:gd name="connsiteY0" fmla="*/ 16649274 h 16649280"/>
              <a:gd name="connsiteX1" fmla="*/ 2 w 13595310"/>
              <a:gd name="connsiteY1" fmla="*/ 7 h 16649280"/>
              <a:gd name="connsiteX0" fmla="*/ 12428599 w 12982795"/>
              <a:gd name="connsiteY0" fmla="*/ 16649274 h 16649280"/>
              <a:gd name="connsiteX1" fmla="*/ 2 w 12982795"/>
              <a:gd name="connsiteY1" fmla="*/ 7 h 16649280"/>
              <a:gd name="connsiteX0" fmla="*/ 8431426 w 9198391"/>
              <a:gd name="connsiteY0" fmla="*/ 17994559 h 17994568"/>
              <a:gd name="connsiteX1" fmla="*/ 2 w 9198391"/>
              <a:gd name="connsiteY1" fmla="*/ 7 h 17994568"/>
              <a:gd name="connsiteX0" fmla="*/ 8431426 w 10946487"/>
              <a:gd name="connsiteY0" fmla="*/ 17994559 h 17994568"/>
              <a:gd name="connsiteX1" fmla="*/ 2 w 10946487"/>
              <a:gd name="connsiteY1" fmla="*/ 7 h 17994568"/>
              <a:gd name="connsiteX0" fmla="*/ 6211160 w 9649629"/>
              <a:gd name="connsiteY0" fmla="*/ 17520176 h 17520184"/>
              <a:gd name="connsiteX1" fmla="*/ 2 w 9649629"/>
              <a:gd name="connsiteY1" fmla="*/ 7 h 17520184"/>
            </a:gdLst>
            <a:ahLst/>
            <a:cxnLst>
              <a:cxn ang="0">
                <a:pos x="connsiteX0" y="connsiteY0"/>
              </a:cxn>
              <a:cxn ang="0">
                <a:pos x="connsiteX1" y="connsiteY1"/>
              </a:cxn>
            </a:cxnLst>
            <a:rect l="l" t="t" r="r" b="b"/>
            <a:pathLst>
              <a:path w="9649629" h="17520184">
                <a:moveTo>
                  <a:pt x="6211160" y="17520176"/>
                </a:moveTo>
                <a:cubicBezTo>
                  <a:pt x="9439125" y="10700379"/>
                  <a:pt x="14191731" y="6083197"/>
                  <a:pt x="2" y="7"/>
                </a:cubicBezTo>
              </a:path>
            </a:pathLst>
          </a:custGeom>
          <a:noFill/>
          <a:ln w="15875" cap="flat" cmpd="sng" algn="ctr">
            <a:solidFill>
              <a:srgbClr val="B8690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5" name="Freeform 93"/>
          <p:cNvSpPr/>
          <p:nvPr/>
        </p:nvSpPr>
        <p:spPr bwMode="auto">
          <a:xfrm rot="13958191" flipH="1">
            <a:off x="3046187" y="2439804"/>
            <a:ext cx="192101" cy="168307"/>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9853"/>
              <a:gd name="connsiteY0" fmla="*/ 0 h 1710816"/>
              <a:gd name="connsiteX1" fmla="*/ 3043291 w 3049853"/>
              <a:gd name="connsiteY1" fmla="*/ 1710816 h 1710816"/>
              <a:gd name="connsiteX0" fmla="*/ 0 w 3012897"/>
              <a:gd name="connsiteY0" fmla="*/ 0 h 1700872"/>
              <a:gd name="connsiteX1" fmla="*/ 3006136 w 3012897"/>
              <a:gd name="connsiteY1" fmla="*/ 1700872 h 1700872"/>
              <a:gd name="connsiteX0" fmla="*/ 0 w 3012358"/>
              <a:gd name="connsiteY0" fmla="*/ 0 h 1700872"/>
              <a:gd name="connsiteX1" fmla="*/ 3006136 w 3012358"/>
              <a:gd name="connsiteY1" fmla="*/ 1700872 h 1700872"/>
              <a:gd name="connsiteX0" fmla="*/ 0 w 3009172"/>
              <a:gd name="connsiteY0" fmla="*/ 0 h 1700872"/>
              <a:gd name="connsiteX1" fmla="*/ 3006136 w 3009172"/>
              <a:gd name="connsiteY1" fmla="*/ 1700872 h 1700872"/>
              <a:gd name="connsiteX0" fmla="*/ 0 w 3011188"/>
              <a:gd name="connsiteY0" fmla="*/ 0 h 1700872"/>
              <a:gd name="connsiteX1" fmla="*/ 3006136 w 3011188"/>
              <a:gd name="connsiteY1" fmla="*/ 1700872 h 1700872"/>
              <a:gd name="connsiteX0" fmla="*/ 0 w 1265872"/>
              <a:gd name="connsiteY0" fmla="*/ 231846 h 231890"/>
              <a:gd name="connsiteX1" fmla="*/ 1024598 w 1265872"/>
              <a:gd name="connsiteY1" fmla="*/ 215725 h 231890"/>
              <a:gd name="connsiteX0" fmla="*/ 0 w 1089071"/>
              <a:gd name="connsiteY0" fmla="*/ 43894 h 44136"/>
              <a:gd name="connsiteX1" fmla="*/ 1024598 w 1089071"/>
              <a:gd name="connsiteY1" fmla="*/ 27773 h 44136"/>
              <a:gd name="connsiteX0" fmla="*/ 0 w 1024597"/>
              <a:gd name="connsiteY0" fmla="*/ 52170 h 52170"/>
              <a:gd name="connsiteX1" fmla="*/ 1024598 w 1024597"/>
              <a:gd name="connsiteY1" fmla="*/ 36049 h 52170"/>
              <a:gd name="connsiteX0" fmla="*/ 0 w 1024599"/>
              <a:gd name="connsiteY0" fmla="*/ 202860 h 202860"/>
              <a:gd name="connsiteX1" fmla="*/ 1024599 w 1024599"/>
              <a:gd name="connsiteY1" fmla="*/ 14374 h 202860"/>
              <a:gd name="connsiteX0" fmla="*/ 0 w 1024599"/>
              <a:gd name="connsiteY0" fmla="*/ 188486 h 188486"/>
              <a:gd name="connsiteX1" fmla="*/ 1024599 w 1024599"/>
              <a:gd name="connsiteY1" fmla="*/ 0 h 188486"/>
              <a:gd name="connsiteX0" fmla="*/ 0 w 1024599"/>
              <a:gd name="connsiteY0" fmla="*/ 188486 h 188486"/>
              <a:gd name="connsiteX1" fmla="*/ 1024599 w 1024599"/>
              <a:gd name="connsiteY1" fmla="*/ 0 h 188486"/>
              <a:gd name="connsiteX0" fmla="*/ 0 w 4327162"/>
              <a:gd name="connsiteY0" fmla="*/ 188486 h 188486"/>
              <a:gd name="connsiteX1" fmla="*/ 4327162 w 4327162"/>
              <a:gd name="connsiteY1" fmla="*/ 0 h 188486"/>
              <a:gd name="connsiteX0" fmla="*/ 0 w 4327162"/>
              <a:gd name="connsiteY0" fmla="*/ 496341 h 496341"/>
              <a:gd name="connsiteX1" fmla="*/ 4327162 w 4327162"/>
              <a:gd name="connsiteY1" fmla="*/ 307855 h 496341"/>
              <a:gd name="connsiteX0" fmla="*/ 0 w 4327162"/>
              <a:gd name="connsiteY0" fmla="*/ 874372 h 874372"/>
              <a:gd name="connsiteX1" fmla="*/ 4327162 w 4327162"/>
              <a:gd name="connsiteY1" fmla="*/ 685886 h 874372"/>
              <a:gd name="connsiteX0" fmla="*/ 0 w 4327162"/>
              <a:gd name="connsiteY0" fmla="*/ 932499 h 932499"/>
              <a:gd name="connsiteX1" fmla="*/ 4327162 w 4327162"/>
              <a:gd name="connsiteY1" fmla="*/ 744013 h 932499"/>
              <a:gd name="connsiteX0" fmla="*/ 0 w 4327162"/>
              <a:gd name="connsiteY0" fmla="*/ 900717 h 900717"/>
              <a:gd name="connsiteX1" fmla="*/ 4327162 w 4327162"/>
              <a:gd name="connsiteY1" fmla="*/ 712231 h 900717"/>
              <a:gd name="connsiteX0" fmla="*/ 0 w 4327162"/>
              <a:gd name="connsiteY0" fmla="*/ 900717 h 900717"/>
              <a:gd name="connsiteX1" fmla="*/ 4327162 w 4327162"/>
              <a:gd name="connsiteY1" fmla="*/ 712231 h 900717"/>
              <a:gd name="connsiteX0" fmla="*/ 0 w 4327162"/>
              <a:gd name="connsiteY0" fmla="*/ 918648 h 918648"/>
              <a:gd name="connsiteX1" fmla="*/ 4327162 w 4327162"/>
              <a:gd name="connsiteY1" fmla="*/ 730162 h 918648"/>
              <a:gd name="connsiteX0" fmla="*/ 0 w 5599916"/>
              <a:gd name="connsiteY0" fmla="*/ 643023 h 1216923"/>
              <a:gd name="connsiteX1" fmla="*/ 5599916 w 5599916"/>
              <a:gd name="connsiteY1" fmla="*/ 1216923 h 1216923"/>
              <a:gd name="connsiteX0" fmla="*/ 0 w 5599916"/>
              <a:gd name="connsiteY0" fmla="*/ 863522 h 1437422"/>
              <a:gd name="connsiteX1" fmla="*/ 5599916 w 5599916"/>
              <a:gd name="connsiteY1" fmla="*/ 1437422 h 1437422"/>
              <a:gd name="connsiteX0" fmla="*/ 0 w 5599916"/>
              <a:gd name="connsiteY0" fmla="*/ 984252 h 1558152"/>
              <a:gd name="connsiteX1" fmla="*/ 5599916 w 5599916"/>
              <a:gd name="connsiteY1" fmla="*/ 1558152 h 1558152"/>
              <a:gd name="connsiteX0" fmla="*/ 0 w 5599916"/>
              <a:gd name="connsiteY0" fmla="*/ 1001224 h 1575124"/>
              <a:gd name="connsiteX1" fmla="*/ 5599916 w 5599916"/>
              <a:gd name="connsiteY1" fmla="*/ 1575124 h 1575124"/>
              <a:gd name="connsiteX0" fmla="*/ 0 w 778662"/>
              <a:gd name="connsiteY0" fmla="*/ 1354876 h 1354876"/>
              <a:gd name="connsiteX1" fmla="*/ 234769 w 778662"/>
              <a:gd name="connsiteY1" fmla="*/ 1149153 h 1354876"/>
              <a:gd name="connsiteX0" fmla="*/ 0 w 935096"/>
              <a:gd name="connsiteY0" fmla="*/ 808798 h 808798"/>
              <a:gd name="connsiteX1" fmla="*/ 234769 w 935096"/>
              <a:gd name="connsiteY1" fmla="*/ 603075 h 808798"/>
              <a:gd name="connsiteX0" fmla="*/ 0 w 907643"/>
              <a:gd name="connsiteY0" fmla="*/ 790190 h 790190"/>
              <a:gd name="connsiteX1" fmla="*/ 130338 w 907643"/>
              <a:gd name="connsiteY1" fmla="*/ 648110 h 790190"/>
              <a:gd name="connsiteX0" fmla="*/ 0 w 928079"/>
              <a:gd name="connsiteY0" fmla="*/ 797069 h 797069"/>
              <a:gd name="connsiteX1" fmla="*/ 208661 w 928079"/>
              <a:gd name="connsiteY1" fmla="*/ 631123 h 797069"/>
              <a:gd name="connsiteX0" fmla="*/ 0 w 208662"/>
              <a:gd name="connsiteY0" fmla="*/ 165946 h 165946"/>
              <a:gd name="connsiteX1" fmla="*/ 208661 w 208662"/>
              <a:gd name="connsiteY1" fmla="*/ 0 h 165946"/>
              <a:gd name="connsiteX0" fmla="*/ 0 w 241295"/>
              <a:gd name="connsiteY0" fmla="*/ 175890 h 175890"/>
              <a:gd name="connsiteX1" fmla="*/ 241296 w 241295"/>
              <a:gd name="connsiteY1" fmla="*/ 0 h 175890"/>
              <a:gd name="connsiteX0" fmla="*/ 6942 w 248238"/>
              <a:gd name="connsiteY0" fmla="*/ 175890 h 175890"/>
              <a:gd name="connsiteX1" fmla="*/ 248238 w 248238"/>
              <a:gd name="connsiteY1" fmla="*/ 0 h 175890"/>
              <a:gd name="connsiteX0" fmla="*/ 8926 w 225747"/>
              <a:gd name="connsiteY0" fmla="*/ 153516 h 153516"/>
              <a:gd name="connsiteX1" fmla="*/ 225747 w 225747"/>
              <a:gd name="connsiteY1" fmla="*/ 0 h 153516"/>
              <a:gd name="connsiteX0" fmla="*/ 7514 w 240653"/>
              <a:gd name="connsiteY0" fmla="*/ 170918 h 170918"/>
              <a:gd name="connsiteX1" fmla="*/ 240653 w 240653"/>
              <a:gd name="connsiteY1" fmla="*/ 0 h 170918"/>
              <a:gd name="connsiteX0" fmla="*/ 18240 w 251379"/>
              <a:gd name="connsiteY0" fmla="*/ 170918 h 170918"/>
              <a:gd name="connsiteX1" fmla="*/ 251379 w 251379"/>
              <a:gd name="connsiteY1" fmla="*/ 0 h 170918"/>
              <a:gd name="connsiteX0" fmla="*/ 18240 w 251379"/>
              <a:gd name="connsiteY0" fmla="*/ 158488 h 158488"/>
              <a:gd name="connsiteX1" fmla="*/ 251379 w 251379"/>
              <a:gd name="connsiteY1" fmla="*/ 0 h 158488"/>
              <a:gd name="connsiteX0" fmla="*/ 17341 w 258639"/>
              <a:gd name="connsiteY0" fmla="*/ 160974 h 160974"/>
              <a:gd name="connsiteX1" fmla="*/ 258640 w 258639"/>
              <a:gd name="connsiteY1" fmla="*/ 0 h 160974"/>
              <a:gd name="connsiteX0" fmla="*/ 14278 w 255578"/>
              <a:gd name="connsiteY0" fmla="*/ 163066 h 163066"/>
              <a:gd name="connsiteX1" fmla="*/ 255577 w 255578"/>
              <a:gd name="connsiteY1" fmla="*/ 2092 h 163066"/>
              <a:gd name="connsiteX0" fmla="*/ 14278 w 255576"/>
              <a:gd name="connsiteY0" fmla="*/ 165919 h 165919"/>
              <a:gd name="connsiteX1" fmla="*/ 255577 w 255576"/>
              <a:gd name="connsiteY1" fmla="*/ 4945 h 165919"/>
              <a:gd name="connsiteX0" fmla="*/ 15719 w 257018"/>
              <a:gd name="connsiteY0" fmla="*/ 166082 h 166082"/>
              <a:gd name="connsiteX1" fmla="*/ 257018 w 257018"/>
              <a:gd name="connsiteY1" fmla="*/ 5108 h 166082"/>
              <a:gd name="connsiteX0" fmla="*/ 16029 w 257328"/>
              <a:gd name="connsiteY0" fmla="*/ 164225 h 164225"/>
              <a:gd name="connsiteX1" fmla="*/ 257328 w 257328"/>
              <a:gd name="connsiteY1" fmla="*/ 3251 h 164225"/>
              <a:gd name="connsiteX0" fmla="*/ 15126 w 256425"/>
              <a:gd name="connsiteY0" fmla="*/ 164814 h 164814"/>
              <a:gd name="connsiteX1" fmla="*/ 256425 w 256425"/>
              <a:gd name="connsiteY1" fmla="*/ 3840 h 164814"/>
              <a:gd name="connsiteX0" fmla="*/ 41402 w 135844"/>
              <a:gd name="connsiteY0" fmla="*/ 32128 h 57606"/>
              <a:gd name="connsiteX1" fmla="*/ 135844 w 135844"/>
              <a:gd name="connsiteY1" fmla="*/ 57607 h 57606"/>
              <a:gd name="connsiteX0" fmla="*/ 288769 w 288769"/>
              <a:gd name="connsiteY0" fmla="*/ 16967 h 159290"/>
              <a:gd name="connsiteX1" fmla="*/ 44626 w 288769"/>
              <a:gd name="connsiteY1" fmla="*/ 159290 h 159290"/>
              <a:gd name="connsiteX0" fmla="*/ 244143 w 244143"/>
              <a:gd name="connsiteY0" fmla="*/ 15076 h 157526"/>
              <a:gd name="connsiteX1" fmla="*/ 0 w 244143"/>
              <a:gd name="connsiteY1" fmla="*/ 157399 h 157526"/>
              <a:gd name="connsiteX0" fmla="*/ 219666 w 219666"/>
              <a:gd name="connsiteY0" fmla="*/ 14805 h 162223"/>
              <a:gd name="connsiteX1" fmla="*/ 0 w 219666"/>
              <a:gd name="connsiteY1" fmla="*/ 162100 h 162223"/>
              <a:gd name="connsiteX0" fmla="*/ 219666 w 247319"/>
              <a:gd name="connsiteY0" fmla="*/ 0 h 147529"/>
              <a:gd name="connsiteX1" fmla="*/ 0 w 247319"/>
              <a:gd name="connsiteY1" fmla="*/ 147295 h 147529"/>
              <a:gd name="connsiteX0" fmla="*/ 227824 w 254399"/>
              <a:gd name="connsiteY0" fmla="*/ 0 h 152492"/>
              <a:gd name="connsiteX1" fmla="*/ 0 w 254399"/>
              <a:gd name="connsiteY1" fmla="*/ 152268 h 152492"/>
              <a:gd name="connsiteX0" fmla="*/ 227824 w 253476"/>
              <a:gd name="connsiteY0" fmla="*/ 0 h 154921"/>
              <a:gd name="connsiteX1" fmla="*/ 0 w 253476"/>
              <a:gd name="connsiteY1" fmla="*/ 152268 h 154921"/>
              <a:gd name="connsiteX0" fmla="*/ 227824 w 261726"/>
              <a:gd name="connsiteY0" fmla="*/ 0 h 155188"/>
              <a:gd name="connsiteX1" fmla="*/ 0 w 261726"/>
              <a:gd name="connsiteY1" fmla="*/ 152268 h 155188"/>
              <a:gd name="connsiteX0" fmla="*/ 0 w 1622463"/>
              <a:gd name="connsiteY0" fmla="*/ 81420 h 94627"/>
              <a:gd name="connsiteX1" fmla="*/ 1607873 w 1622463"/>
              <a:gd name="connsiteY1" fmla="*/ 0 h 94627"/>
              <a:gd name="connsiteX0" fmla="*/ 0 w 1607873"/>
              <a:gd name="connsiteY0" fmla="*/ 90497 h 99366"/>
              <a:gd name="connsiteX1" fmla="*/ 1607873 w 1607873"/>
              <a:gd name="connsiteY1" fmla="*/ 9077 h 99366"/>
              <a:gd name="connsiteX0" fmla="*/ 0 w 1591556"/>
              <a:gd name="connsiteY0" fmla="*/ 104820 h 113107"/>
              <a:gd name="connsiteX1" fmla="*/ 1591556 w 1591556"/>
              <a:gd name="connsiteY1" fmla="*/ 8483 h 113107"/>
              <a:gd name="connsiteX0" fmla="*/ 0 w 1591556"/>
              <a:gd name="connsiteY0" fmla="*/ 117229 h 124320"/>
              <a:gd name="connsiteX1" fmla="*/ 1591556 w 1591556"/>
              <a:gd name="connsiteY1" fmla="*/ 20892 h 124320"/>
              <a:gd name="connsiteX0" fmla="*/ 0 w 1591556"/>
              <a:gd name="connsiteY0" fmla="*/ 113613 h 140106"/>
              <a:gd name="connsiteX1" fmla="*/ 1591556 w 1591556"/>
              <a:gd name="connsiteY1" fmla="*/ 17276 h 140106"/>
              <a:gd name="connsiteX0" fmla="*/ 0 w 1591556"/>
              <a:gd name="connsiteY0" fmla="*/ 118345 h 144487"/>
              <a:gd name="connsiteX1" fmla="*/ 1591556 w 1591556"/>
              <a:gd name="connsiteY1" fmla="*/ 17036 h 144487"/>
              <a:gd name="connsiteX0" fmla="*/ 0 w 1591556"/>
              <a:gd name="connsiteY0" fmla="*/ 117486 h 150580"/>
              <a:gd name="connsiteX1" fmla="*/ 1591556 w 1591556"/>
              <a:gd name="connsiteY1" fmla="*/ 16177 h 150580"/>
              <a:gd name="connsiteX0" fmla="*/ 0 w 1069402"/>
              <a:gd name="connsiteY0" fmla="*/ 0 h 77685"/>
              <a:gd name="connsiteX1" fmla="*/ 1069402 w 1069402"/>
              <a:gd name="connsiteY1" fmla="*/ 77686 h 77685"/>
              <a:gd name="connsiteX0" fmla="*/ 0 w 1069402"/>
              <a:gd name="connsiteY0" fmla="*/ 0 h 77686"/>
              <a:gd name="connsiteX1" fmla="*/ 1069402 w 1069402"/>
              <a:gd name="connsiteY1" fmla="*/ 77686 h 77686"/>
              <a:gd name="connsiteX0" fmla="*/ 0 w 1069402"/>
              <a:gd name="connsiteY0" fmla="*/ 0 h 77686"/>
              <a:gd name="connsiteX1" fmla="*/ 1069402 w 1069402"/>
              <a:gd name="connsiteY1" fmla="*/ 77686 h 77686"/>
              <a:gd name="connsiteX0" fmla="*/ 0 w 1028610"/>
              <a:gd name="connsiteY0" fmla="*/ 0 h 102546"/>
              <a:gd name="connsiteX1" fmla="*/ 1028610 w 1028610"/>
              <a:gd name="connsiteY1" fmla="*/ 102546 h 102546"/>
              <a:gd name="connsiteX0" fmla="*/ 0 w 1028610"/>
              <a:gd name="connsiteY0" fmla="*/ 0 h 102546"/>
              <a:gd name="connsiteX1" fmla="*/ 1028610 w 1028610"/>
              <a:gd name="connsiteY1" fmla="*/ 102546 h 102546"/>
              <a:gd name="connsiteX0" fmla="*/ 0 w 1028610"/>
              <a:gd name="connsiteY0" fmla="*/ 0 h 102546"/>
              <a:gd name="connsiteX1" fmla="*/ 1028610 w 1028610"/>
              <a:gd name="connsiteY1" fmla="*/ 102546 h 102546"/>
              <a:gd name="connsiteX0" fmla="*/ 0 w 1004133"/>
              <a:gd name="connsiteY0" fmla="*/ 0 h 105032"/>
              <a:gd name="connsiteX1" fmla="*/ 1004133 w 1004133"/>
              <a:gd name="connsiteY1" fmla="*/ 105032 h 105032"/>
              <a:gd name="connsiteX0" fmla="*/ 0 w 1004133"/>
              <a:gd name="connsiteY0" fmla="*/ 0 h 105032"/>
              <a:gd name="connsiteX1" fmla="*/ 1004133 w 1004133"/>
              <a:gd name="connsiteY1" fmla="*/ 105032 h 105032"/>
              <a:gd name="connsiteX0" fmla="*/ 0 w 893991"/>
              <a:gd name="connsiteY0" fmla="*/ 0 h 433188"/>
              <a:gd name="connsiteX1" fmla="*/ 893991 w 893991"/>
              <a:gd name="connsiteY1" fmla="*/ 433188 h 433188"/>
              <a:gd name="connsiteX0" fmla="*/ 0 w 934785"/>
              <a:gd name="connsiteY0" fmla="*/ 0 h 433188"/>
              <a:gd name="connsiteX1" fmla="*/ 934785 w 934785"/>
              <a:gd name="connsiteY1" fmla="*/ 433188 h 433188"/>
              <a:gd name="connsiteX0" fmla="*/ 0 w 934785"/>
              <a:gd name="connsiteY0" fmla="*/ 0 h 433188"/>
              <a:gd name="connsiteX1" fmla="*/ 934785 w 934785"/>
              <a:gd name="connsiteY1" fmla="*/ 433188 h 433188"/>
              <a:gd name="connsiteX0" fmla="*/ 0 w 820564"/>
              <a:gd name="connsiteY0" fmla="*/ 0 h 482909"/>
              <a:gd name="connsiteX1" fmla="*/ 820564 w 820564"/>
              <a:gd name="connsiteY1" fmla="*/ 482909 h 482909"/>
              <a:gd name="connsiteX0" fmla="*/ 0 w 820564"/>
              <a:gd name="connsiteY0" fmla="*/ 0 h 482909"/>
              <a:gd name="connsiteX1" fmla="*/ 820564 w 820564"/>
              <a:gd name="connsiteY1" fmla="*/ 482909 h 482909"/>
              <a:gd name="connsiteX0" fmla="*/ 0 w 2493088"/>
              <a:gd name="connsiteY0" fmla="*/ 0 h 756373"/>
              <a:gd name="connsiteX1" fmla="*/ 2493088 w 2493088"/>
              <a:gd name="connsiteY1" fmla="*/ 756373 h 756373"/>
              <a:gd name="connsiteX0" fmla="*/ 0 w 2493088"/>
              <a:gd name="connsiteY0" fmla="*/ 0 h 756373"/>
              <a:gd name="connsiteX1" fmla="*/ 2493088 w 2493088"/>
              <a:gd name="connsiteY1" fmla="*/ 756373 h 756373"/>
              <a:gd name="connsiteX0" fmla="*/ 0 w 2482210"/>
              <a:gd name="connsiteY0" fmla="*/ 0 h 772947"/>
              <a:gd name="connsiteX1" fmla="*/ 2482210 w 2482210"/>
              <a:gd name="connsiteY1" fmla="*/ 772947 h 772947"/>
              <a:gd name="connsiteX0" fmla="*/ 0 w 2221133"/>
              <a:gd name="connsiteY0" fmla="*/ 0 h 1377550"/>
              <a:gd name="connsiteX1" fmla="*/ 2221133 w 2221133"/>
              <a:gd name="connsiteY1" fmla="*/ 1377550 h 1377550"/>
              <a:gd name="connsiteX0" fmla="*/ 0 w 2221133"/>
              <a:gd name="connsiteY0" fmla="*/ 0 h 1377550"/>
              <a:gd name="connsiteX1" fmla="*/ 2221133 w 2221133"/>
              <a:gd name="connsiteY1" fmla="*/ 1377550 h 1377550"/>
              <a:gd name="connsiteX0" fmla="*/ 0 w 2273348"/>
              <a:gd name="connsiteY0" fmla="*/ 0 h 1377550"/>
              <a:gd name="connsiteX1" fmla="*/ 2273348 w 2273348"/>
              <a:gd name="connsiteY1" fmla="*/ 1377550 h 1377550"/>
              <a:gd name="connsiteX0" fmla="*/ 0 w 2273348"/>
              <a:gd name="connsiteY0" fmla="*/ 0 h 1377550"/>
              <a:gd name="connsiteX1" fmla="*/ 2273348 w 2273348"/>
              <a:gd name="connsiteY1" fmla="*/ 1377550 h 1377550"/>
              <a:gd name="connsiteX0" fmla="*/ 0 w 2257031"/>
              <a:gd name="connsiteY0" fmla="*/ 0 h 1367606"/>
              <a:gd name="connsiteX1" fmla="*/ 2257031 w 2257031"/>
              <a:gd name="connsiteY1" fmla="*/ 1367606 h 1367606"/>
              <a:gd name="connsiteX0" fmla="*/ 0 w 2257031"/>
              <a:gd name="connsiteY0" fmla="*/ 0 h 1367606"/>
              <a:gd name="connsiteX1" fmla="*/ 2257031 w 2257031"/>
              <a:gd name="connsiteY1" fmla="*/ 1367606 h 1367606"/>
              <a:gd name="connsiteX0" fmla="*/ 0 w 2257031"/>
              <a:gd name="connsiteY0" fmla="*/ 0 h 1367606"/>
              <a:gd name="connsiteX1" fmla="*/ 2257031 w 2257031"/>
              <a:gd name="connsiteY1" fmla="*/ 1367606 h 1367606"/>
              <a:gd name="connsiteX0" fmla="*/ 0 w 2518108"/>
              <a:gd name="connsiteY0" fmla="*/ 0 h 1712336"/>
              <a:gd name="connsiteX1" fmla="*/ 2518108 w 2518108"/>
              <a:gd name="connsiteY1" fmla="*/ 1712336 h 1712336"/>
              <a:gd name="connsiteX0" fmla="*/ 0 w 2518108"/>
              <a:gd name="connsiteY0" fmla="*/ 0 h 1712336"/>
              <a:gd name="connsiteX1" fmla="*/ 2518108 w 2518108"/>
              <a:gd name="connsiteY1" fmla="*/ 1712336 h 1712336"/>
              <a:gd name="connsiteX0" fmla="*/ 0 w 2518108"/>
              <a:gd name="connsiteY0" fmla="*/ 0 h 1712336"/>
              <a:gd name="connsiteX1" fmla="*/ 2518108 w 2518108"/>
              <a:gd name="connsiteY1" fmla="*/ 1712336 h 1712336"/>
              <a:gd name="connsiteX0" fmla="*/ 0 w 2561621"/>
              <a:gd name="connsiteY0" fmla="*/ 0 h 1705707"/>
              <a:gd name="connsiteX1" fmla="*/ 2561621 w 2561621"/>
              <a:gd name="connsiteY1" fmla="*/ 1705707 h 1705707"/>
              <a:gd name="connsiteX0" fmla="*/ 0 w 3094653"/>
              <a:gd name="connsiteY0" fmla="*/ 0 h 1838295"/>
              <a:gd name="connsiteX1" fmla="*/ 3094653 w 3094653"/>
              <a:gd name="connsiteY1" fmla="*/ 1838295 h 1838295"/>
              <a:gd name="connsiteX0" fmla="*/ 0 w 3094653"/>
              <a:gd name="connsiteY0" fmla="*/ 0 h 1838295"/>
              <a:gd name="connsiteX1" fmla="*/ 3094653 w 3094653"/>
              <a:gd name="connsiteY1" fmla="*/ 1838295 h 1838295"/>
              <a:gd name="connsiteX0" fmla="*/ 0 w 3062018"/>
              <a:gd name="connsiteY0" fmla="*/ 0 h 1818407"/>
              <a:gd name="connsiteX1" fmla="*/ 3062018 w 3062018"/>
              <a:gd name="connsiteY1" fmla="*/ 1818407 h 1818407"/>
              <a:gd name="connsiteX0" fmla="*/ 0 w 3062018"/>
              <a:gd name="connsiteY0" fmla="*/ 0 h 1818407"/>
              <a:gd name="connsiteX1" fmla="*/ 3062018 w 3062018"/>
              <a:gd name="connsiteY1" fmla="*/ 1818407 h 1818407"/>
              <a:gd name="connsiteX0" fmla="*/ 0 w 3121356"/>
              <a:gd name="connsiteY0" fmla="*/ 0 h 1858986"/>
              <a:gd name="connsiteX1" fmla="*/ 3121356 w 3121356"/>
              <a:gd name="connsiteY1" fmla="*/ 1858986 h 1858986"/>
              <a:gd name="connsiteX0" fmla="*/ 0 w 3143961"/>
              <a:gd name="connsiteY0" fmla="*/ 0 h 1858986"/>
              <a:gd name="connsiteX1" fmla="*/ 3143961 w 3143961"/>
              <a:gd name="connsiteY1" fmla="*/ 1858986 h 1858986"/>
              <a:gd name="connsiteX0" fmla="*/ 0 w 3143961"/>
              <a:gd name="connsiteY0" fmla="*/ 0 h 1858986"/>
              <a:gd name="connsiteX1" fmla="*/ 3143961 w 3143961"/>
              <a:gd name="connsiteY1" fmla="*/ 1858986 h 1858986"/>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77828"/>
              <a:gd name="connsiteX1" fmla="*/ 2680568 w 2680568"/>
              <a:gd name="connsiteY1" fmla="*/ 1777828 h 1777828"/>
              <a:gd name="connsiteX0" fmla="*/ 0 w 1561644"/>
              <a:gd name="connsiteY0" fmla="*/ 0 h 1507302"/>
              <a:gd name="connsiteX1" fmla="*/ 1561644 w 1561644"/>
              <a:gd name="connsiteY1" fmla="*/ 1507302 h 1507302"/>
              <a:gd name="connsiteX0" fmla="*/ 0 w 1561644"/>
              <a:gd name="connsiteY0" fmla="*/ 0 h 1507302"/>
              <a:gd name="connsiteX1" fmla="*/ 1561644 w 1561644"/>
              <a:gd name="connsiteY1" fmla="*/ 1507302 h 1507302"/>
              <a:gd name="connsiteX0" fmla="*/ 0 w 1561644"/>
              <a:gd name="connsiteY0" fmla="*/ 0 h 1507302"/>
              <a:gd name="connsiteX1" fmla="*/ 1561644 w 1561644"/>
              <a:gd name="connsiteY1" fmla="*/ 1507302 h 1507302"/>
              <a:gd name="connsiteX0" fmla="*/ 0 w 1539039"/>
              <a:gd name="connsiteY0" fmla="*/ 0 h 1500539"/>
              <a:gd name="connsiteX1" fmla="*/ 1539039 w 1539039"/>
              <a:gd name="connsiteY1" fmla="*/ 1500539 h 1500539"/>
              <a:gd name="connsiteX0" fmla="*/ 0 w 1528011"/>
              <a:gd name="connsiteY0" fmla="*/ 0 h 1490461"/>
              <a:gd name="connsiteX1" fmla="*/ 1528011 w 1528011"/>
              <a:gd name="connsiteY1" fmla="*/ 1490461 h 1490461"/>
              <a:gd name="connsiteX0" fmla="*/ 0 w 1528011"/>
              <a:gd name="connsiteY0" fmla="*/ 0 h 1490461"/>
              <a:gd name="connsiteX1" fmla="*/ 1528011 w 1528011"/>
              <a:gd name="connsiteY1" fmla="*/ 1490461 h 1490461"/>
              <a:gd name="connsiteX0" fmla="*/ 3080799 w 3090213"/>
              <a:gd name="connsiteY0" fmla="*/ 0 h 2226950"/>
              <a:gd name="connsiteX1" fmla="*/ 78511 w 3090213"/>
              <a:gd name="connsiteY1" fmla="*/ 2226950 h 2226950"/>
              <a:gd name="connsiteX0" fmla="*/ 3321263 w 3321263"/>
              <a:gd name="connsiteY0" fmla="*/ 267285 h 2494235"/>
              <a:gd name="connsiteX1" fmla="*/ 318975 w 3321263"/>
              <a:gd name="connsiteY1" fmla="*/ 2494235 h 2494235"/>
              <a:gd name="connsiteX0" fmla="*/ 5023856 w 5023856"/>
              <a:gd name="connsiteY0" fmla="*/ 776106 h 776106"/>
              <a:gd name="connsiteX1" fmla="*/ 128627 w 5023856"/>
              <a:gd name="connsiteY1" fmla="*/ 351698 h 776106"/>
              <a:gd name="connsiteX0" fmla="*/ 4895228 w 4895228"/>
              <a:gd name="connsiteY0" fmla="*/ 761159 h 761159"/>
              <a:gd name="connsiteX1" fmla="*/ -1 w 4895228"/>
              <a:gd name="connsiteY1" fmla="*/ 336751 h 761159"/>
              <a:gd name="connsiteX0" fmla="*/ 5171732 w 5171732"/>
              <a:gd name="connsiteY0" fmla="*/ 754664 h 754664"/>
              <a:gd name="connsiteX1" fmla="*/ 0 w 5171732"/>
              <a:gd name="connsiteY1" fmla="*/ 343645 h 754664"/>
              <a:gd name="connsiteX0" fmla="*/ 5171732 w 5171732"/>
              <a:gd name="connsiteY0" fmla="*/ 835843 h 835843"/>
              <a:gd name="connsiteX1" fmla="*/ 0 w 5171732"/>
              <a:gd name="connsiteY1" fmla="*/ 424824 h 835843"/>
              <a:gd name="connsiteX0" fmla="*/ 5171732 w 5171732"/>
              <a:gd name="connsiteY0" fmla="*/ 709665 h 709665"/>
              <a:gd name="connsiteX1" fmla="*/ 0 w 5171732"/>
              <a:gd name="connsiteY1" fmla="*/ 298646 h 709665"/>
              <a:gd name="connsiteX0" fmla="*/ 5320608 w 5320608"/>
              <a:gd name="connsiteY0" fmla="*/ 692367 h 692367"/>
              <a:gd name="connsiteX1" fmla="*/ 0 w 5320608"/>
              <a:gd name="connsiteY1" fmla="*/ 308133 h 692367"/>
              <a:gd name="connsiteX0" fmla="*/ 5320608 w 5320608"/>
              <a:gd name="connsiteY0" fmla="*/ 703884 h 703884"/>
              <a:gd name="connsiteX1" fmla="*/ 0 w 5320608"/>
              <a:gd name="connsiteY1" fmla="*/ 319650 h 703884"/>
              <a:gd name="connsiteX0" fmla="*/ 2889934 w 2889938"/>
              <a:gd name="connsiteY0" fmla="*/ 251649 h 1263062"/>
              <a:gd name="connsiteX1" fmla="*/ 0 w 2889938"/>
              <a:gd name="connsiteY1" fmla="*/ 1263061 h 1263062"/>
              <a:gd name="connsiteX0" fmla="*/ 2889934 w 2889938"/>
              <a:gd name="connsiteY0" fmla="*/ 1 h 1011414"/>
              <a:gd name="connsiteX1" fmla="*/ 0 w 2889938"/>
              <a:gd name="connsiteY1" fmla="*/ 1011413 h 1011414"/>
              <a:gd name="connsiteX0" fmla="*/ 752739 w 752743"/>
              <a:gd name="connsiteY0" fmla="*/ 1 h 1935252"/>
              <a:gd name="connsiteX1" fmla="*/ 3 w 752743"/>
              <a:gd name="connsiteY1" fmla="*/ 1935252 h 1935252"/>
              <a:gd name="connsiteX0" fmla="*/ 1160558 w 1160562"/>
              <a:gd name="connsiteY0" fmla="*/ 1 h 1935252"/>
              <a:gd name="connsiteX1" fmla="*/ 407822 w 1160562"/>
              <a:gd name="connsiteY1" fmla="*/ 1935252 h 1935252"/>
              <a:gd name="connsiteX0" fmla="*/ 1205658 w 1205662"/>
              <a:gd name="connsiteY0" fmla="*/ 1 h 1862610"/>
              <a:gd name="connsiteX1" fmla="*/ 384793 w 1205662"/>
              <a:gd name="connsiteY1" fmla="*/ 1862612 h 1862610"/>
              <a:gd name="connsiteX0" fmla="*/ 1190716 w 1190720"/>
              <a:gd name="connsiteY0" fmla="*/ 1 h 1883273"/>
              <a:gd name="connsiteX1" fmla="*/ 392148 w 1190720"/>
              <a:gd name="connsiteY1" fmla="*/ 1883273 h 1883273"/>
              <a:gd name="connsiteX0" fmla="*/ 1189098 w 1189102"/>
              <a:gd name="connsiteY0" fmla="*/ 1 h 1883273"/>
              <a:gd name="connsiteX1" fmla="*/ 390530 w 1189102"/>
              <a:gd name="connsiteY1" fmla="*/ 1883273 h 1883273"/>
              <a:gd name="connsiteX0" fmla="*/ 1164575 w 1164575"/>
              <a:gd name="connsiteY0" fmla="*/ 0 h 1860619"/>
              <a:gd name="connsiteX1" fmla="*/ 403194 w 1164575"/>
              <a:gd name="connsiteY1" fmla="*/ 1860619 h 1860619"/>
              <a:gd name="connsiteX0" fmla="*/ 1164909 w 1164909"/>
              <a:gd name="connsiteY0" fmla="*/ 0 h 1860619"/>
              <a:gd name="connsiteX1" fmla="*/ 403528 w 1164909"/>
              <a:gd name="connsiteY1" fmla="*/ 1860619 h 1860619"/>
              <a:gd name="connsiteX0" fmla="*/ 1215490 w 1215490"/>
              <a:gd name="connsiteY0" fmla="*/ 0 h 1860619"/>
              <a:gd name="connsiteX1" fmla="*/ 454109 w 1215490"/>
              <a:gd name="connsiteY1" fmla="*/ 1860619 h 1860619"/>
              <a:gd name="connsiteX0" fmla="*/ 1157822 w 1157826"/>
              <a:gd name="connsiteY0" fmla="*/ 2 h 1943256"/>
              <a:gd name="connsiteX1" fmla="*/ 485627 w 1157826"/>
              <a:gd name="connsiteY1" fmla="*/ 1943256 h 1943256"/>
              <a:gd name="connsiteX0" fmla="*/ 1105906 w 1105910"/>
              <a:gd name="connsiteY0" fmla="*/ 2 h 1943256"/>
              <a:gd name="connsiteX1" fmla="*/ 433711 w 1105910"/>
              <a:gd name="connsiteY1" fmla="*/ 1943256 h 1943256"/>
              <a:gd name="connsiteX0" fmla="*/ 1206089 w 1206088"/>
              <a:gd name="connsiteY0" fmla="*/ -2 h 1848170"/>
              <a:gd name="connsiteX1" fmla="*/ 390188 w 1206088"/>
              <a:gd name="connsiteY1" fmla="*/ 1848170 h 1848170"/>
              <a:gd name="connsiteX0" fmla="*/ 1086473 w 1086472"/>
              <a:gd name="connsiteY0" fmla="*/ -2 h 1848170"/>
              <a:gd name="connsiteX1" fmla="*/ 270572 w 1086472"/>
              <a:gd name="connsiteY1" fmla="*/ 1848170 h 1848170"/>
              <a:gd name="connsiteX0" fmla="*/ 8038878 w 8038877"/>
              <a:gd name="connsiteY0" fmla="*/ -2 h 3615278"/>
              <a:gd name="connsiteX1" fmla="*/ 49728 w 8038877"/>
              <a:gd name="connsiteY1" fmla="*/ 3615276 h 3615278"/>
              <a:gd name="connsiteX0" fmla="*/ 7989148 w 7989147"/>
              <a:gd name="connsiteY0" fmla="*/ -2 h 3615278"/>
              <a:gd name="connsiteX1" fmla="*/ -2 w 7989147"/>
              <a:gd name="connsiteY1" fmla="*/ 3615276 h 3615278"/>
              <a:gd name="connsiteX0" fmla="*/ 7852029 w 7852028"/>
              <a:gd name="connsiteY0" fmla="*/ -2 h 3653503"/>
              <a:gd name="connsiteX1" fmla="*/ 0 w 7852028"/>
              <a:gd name="connsiteY1" fmla="*/ 3653504 h 3653503"/>
              <a:gd name="connsiteX0" fmla="*/ 7852029 w 7852028"/>
              <a:gd name="connsiteY0" fmla="*/ -2 h 3653503"/>
              <a:gd name="connsiteX1" fmla="*/ 0 w 7852028"/>
              <a:gd name="connsiteY1" fmla="*/ 3653504 h 3653503"/>
              <a:gd name="connsiteX0" fmla="*/ 8045309 w 8045309"/>
              <a:gd name="connsiteY0" fmla="*/ 0 h 3588622"/>
              <a:gd name="connsiteX1" fmla="*/ 0 w 8045309"/>
              <a:gd name="connsiteY1" fmla="*/ 3588623 h 3588622"/>
              <a:gd name="connsiteX0" fmla="*/ 8045309 w 8045309"/>
              <a:gd name="connsiteY0" fmla="*/ 0 h 3588622"/>
              <a:gd name="connsiteX1" fmla="*/ 0 w 8045309"/>
              <a:gd name="connsiteY1" fmla="*/ 3588623 h 3588622"/>
              <a:gd name="connsiteX0" fmla="*/ 8045309 w 8045309"/>
              <a:gd name="connsiteY0" fmla="*/ 0 h 3588622"/>
              <a:gd name="connsiteX1" fmla="*/ 0 w 8045309"/>
              <a:gd name="connsiteY1" fmla="*/ 3588623 h 3588622"/>
              <a:gd name="connsiteX0" fmla="*/ 8179140 w 8179141"/>
              <a:gd name="connsiteY0" fmla="*/ 0 h 3578833"/>
              <a:gd name="connsiteX1" fmla="*/ 0 w 8179141"/>
              <a:gd name="connsiteY1" fmla="*/ 3578834 h 3578833"/>
              <a:gd name="connsiteX0" fmla="*/ 8179140 w 8179141"/>
              <a:gd name="connsiteY0" fmla="*/ 0 h 3578833"/>
              <a:gd name="connsiteX1" fmla="*/ 0 w 8179141"/>
              <a:gd name="connsiteY1" fmla="*/ 3578834 h 3578833"/>
              <a:gd name="connsiteX0" fmla="*/ 8288176 w 8288179"/>
              <a:gd name="connsiteY0" fmla="*/ 0 h 3553940"/>
              <a:gd name="connsiteX1" fmla="*/ 0 w 8288179"/>
              <a:gd name="connsiteY1" fmla="*/ 3553941 h 3553940"/>
              <a:gd name="connsiteX0" fmla="*/ 8238107 w 8238103"/>
              <a:gd name="connsiteY0" fmla="*/ -1 h 3553134"/>
              <a:gd name="connsiteX1" fmla="*/ 0 w 8238103"/>
              <a:gd name="connsiteY1" fmla="*/ 3553135 h 3553134"/>
              <a:gd name="connsiteX0" fmla="*/ 8238107 w 8305339"/>
              <a:gd name="connsiteY0" fmla="*/ -1 h 3553134"/>
              <a:gd name="connsiteX1" fmla="*/ 0 w 8305339"/>
              <a:gd name="connsiteY1" fmla="*/ 3553135 h 3553134"/>
              <a:gd name="connsiteX0" fmla="*/ 12251389 w 12288614"/>
              <a:gd name="connsiteY0" fmla="*/ -1 h 4841777"/>
              <a:gd name="connsiteX1" fmla="*/ 2 w 12288614"/>
              <a:gd name="connsiteY1" fmla="*/ 4841777 h 4841777"/>
              <a:gd name="connsiteX0" fmla="*/ 12251389 w 12300718"/>
              <a:gd name="connsiteY0" fmla="*/ -1 h 4841777"/>
              <a:gd name="connsiteX1" fmla="*/ 2 w 12300718"/>
              <a:gd name="connsiteY1" fmla="*/ 4841777 h 4841777"/>
              <a:gd name="connsiteX0" fmla="*/ 12107399 w 12157791"/>
              <a:gd name="connsiteY0" fmla="*/ -2 h 4813412"/>
              <a:gd name="connsiteX1" fmla="*/ 2 w 12157791"/>
              <a:gd name="connsiteY1" fmla="*/ 4813412 h 4813412"/>
              <a:gd name="connsiteX0" fmla="*/ 12107399 w 12115490"/>
              <a:gd name="connsiteY0" fmla="*/ -2 h 4813412"/>
              <a:gd name="connsiteX1" fmla="*/ 2 w 12115490"/>
              <a:gd name="connsiteY1" fmla="*/ 4813412 h 4813412"/>
              <a:gd name="connsiteX0" fmla="*/ 12107399 w 12107392"/>
              <a:gd name="connsiteY0" fmla="*/ -2 h 9321579"/>
              <a:gd name="connsiteX1" fmla="*/ 2 w 12107392"/>
              <a:gd name="connsiteY1" fmla="*/ 4813412 h 9321579"/>
              <a:gd name="connsiteX0" fmla="*/ 12107399 w 12107392"/>
              <a:gd name="connsiteY0" fmla="*/ -2 h 14043873"/>
              <a:gd name="connsiteX1" fmla="*/ 2 w 12107392"/>
              <a:gd name="connsiteY1" fmla="*/ 4813412 h 14043873"/>
              <a:gd name="connsiteX0" fmla="*/ 12107399 w 12107392"/>
              <a:gd name="connsiteY0" fmla="*/ -2 h 11195268"/>
              <a:gd name="connsiteX1" fmla="*/ 2 w 12107392"/>
              <a:gd name="connsiteY1" fmla="*/ 4813412 h 11195268"/>
              <a:gd name="connsiteX0" fmla="*/ 12107399 w 12107392"/>
              <a:gd name="connsiteY0" fmla="*/ -2 h 8541755"/>
              <a:gd name="connsiteX1" fmla="*/ 2 w 12107392"/>
              <a:gd name="connsiteY1" fmla="*/ 4813412 h 8541755"/>
              <a:gd name="connsiteX0" fmla="*/ 11502943 w 11502936"/>
              <a:gd name="connsiteY0" fmla="*/ -2 h 7884940"/>
              <a:gd name="connsiteX1" fmla="*/ -2 w 11502936"/>
              <a:gd name="connsiteY1" fmla="*/ 3829140 h 7884940"/>
              <a:gd name="connsiteX0" fmla="*/ 11502943 w 11502936"/>
              <a:gd name="connsiteY0" fmla="*/ -2 h 7654755"/>
              <a:gd name="connsiteX1" fmla="*/ -2 w 11502936"/>
              <a:gd name="connsiteY1" fmla="*/ 3829140 h 7654755"/>
              <a:gd name="connsiteX0" fmla="*/ 11628279 w 11628298"/>
              <a:gd name="connsiteY0" fmla="*/ 2510030 h 6888633"/>
              <a:gd name="connsiteX1" fmla="*/ -2 w 11628298"/>
              <a:gd name="connsiteY1" fmla="*/ 14 h 6888633"/>
              <a:gd name="connsiteX0" fmla="*/ 11628279 w 11628298"/>
              <a:gd name="connsiteY0" fmla="*/ 2510030 h 8672358"/>
              <a:gd name="connsiteX1" fmla="*/ -2 w 11628298"/>
              <a:gd name="connsiteY1" fmla="*/ 14 h 8672358"/>
              <a:gd name="connsiteX0" fmla="*/ 11628279 w 11628298"/>
              <a:gd name="connsiteY0" fmla="*/ 2510030 h 9975523"/>
              <a:gd name="connsiteX1" fmla="*/ -2 w 11628298"/>
              <a:gd name="connsiteY1" fmla="*/ 14 h 9975523"/>
            </a:gdLst>
            <a:ahLst/>
            <a:cxnLst>
              <a:cxn ang="0">
                <a:pos x="connsiteX0" y="connsiteY0"/>
              </a:cxn>
              <a:cxn ang="0">
                <a:pos x="connsiteX1" y="connsiteY1"/>
              </a:cxn>
            </a:cxnLst>
            <a:rect l="l" t="t" r="r" b="b"/>
            <a:pathLst>
              <a:path w="11628298" h="9975523">
                <a:moveTo>
                  <a:pt x="11628279" y="2510030"/>
                </a:moveTo>
                <a:cubicBezTo>
                  <a:pt x="6138624" y="14184707"/>
                  <a:pt x="1467223" y="11261581"/>
                  <a:pt x="-2" y="14"/>
                </a:cubicBezTo>
              </a:path>
            </a:pathLst>
          </a:custGeom>
          <a:noFill/>
          <a:ln w="15875" cap="flat" cmpd="sng" algn="ctr">
            <a:solidFill>
              <a:srgbClr val="B8690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6" name="Freeform 93"/>
          <p:cNvSpPr/>
          <p:nvPr/>
        </p:nvSpPr>
        <p:spPr bwMode="auto">
          <a:xfrm rot="11763938" flipH="1" flipV="1">
            <a:off x="2692415" y="2731323"/>
            <a:ext cx="340664" cy="90821"/>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9853"/>
              <a:gd name="connsiteY0" fmla="*/ 0 h 1710816"/>
              <a:gd name="connsiteX1" fmla="*/ 3043291 w 3049853"/>
              <a:gd name="connsiteY1" fmla="*/ 1710816 h 1710816"/>
              <a:gd name="connsiteX0" fmla="*/ 0 w 3012897"/>
              <a:gd name="connsiteY0" fmla="*/ 0 h 1700872"/>
              <a:gd name="connsiteX1" fmla="*/ 3006136 w 3012897"/>
              <a:gd name="connsiteY1" fmla="*/ 1700872 h 1700872"/>
              <a:gd name="connsiteX0" fmla="*/ 0 w 3012358"/>
              <a:gd name="connsiteY0" fmla="*/ 0 h 1700872"/>
              <a:gd name="connsiteX1" fmla="*/ 3006136 w 3012358"/>
              <a:gd name="connsiteY1" fmla="*/ 1700872 h 1700872"/>
              <a:gd name="connsiteX0" fmla="*/ 0 w 3009172"/>
              <a:gd name="connsiteY0" fmla="*/ 0 h 1700872"/>
              <a:gd name="connsiteX1" fmla="*/ 3006136 w 3009172"/>
              <a:gd name="connsiteY1" fmla="*/ 1700872 h 1700872"/>
              <a:gd name="connsiteX0" fmla="*/ 0 w 3011188"/>
              <a:gd name="connsiteY0" fmla="*/ 0 h 1700872"/>
              <a:gd name="connsiteX1" fmla="*/ 3006136 w 3011188"/>
              <a:gd name="connsiteY1" fmla="*/ 1700872 h 1700872"/>
              <a:gd name="connsiteX0" fmla="*/ 0 w 1265872"/>
              <a:gd name="connsiteY0" fmla="*/ 231846 h 231890"/>
              <a:gd name="connsiteX1" fmla="*/ 1024598 w 1265872"/>
              <a:gd name="connsiteY1" fmla="*/ 215725 h 231890"/>
              <a:gd name="connsiteX0" fmla="*/ 0 w 1089071"/>
              <a:gd name="connsiteY0" fmla="*/ 43894 h 44136"/>
              <a:gd name="connsiteX1" fmla="*/ 1024598 w 1089071"/>
              <a:gd name="connsiteY1" fmla="*/ 27773 h 44136"/>
              <a:gd name="connsiteX0" fmla="*/ 0 w 1024597"/>
              <a:gd name="connsiteY0" fmla="*/ 52170 h 52170"/>
              <a:gd name="connsiteX1" fmla="*/ 1024598 w 1024597"/>
              <a:gd name="connsiteY1" fmla="*/ 36049 h 52170"/>
              <a:gd name="connsiteX0" fmla="*/ 0 w 1024599"/>
              <a:gd name="connsiteY0" fmla="*/ 202860 h 202860"/>
              <a:gd name="connsiteX1" fmla="*/ 1024599 w 1024599"/>
              <a:gd name="connsiteY1" fmla="*/ 14374 h 202860"/>
              <a:gd name="connsiteX0" fmla="*/ 0 w 1024599"/>
              <a:gd name="connsiteY0" fmla="*/ 188486 h 188486"/>
              <a:gd name="connsiteX1" fmla="*/ 1024599 w 1024599"/>
              <a:gd name="connsiteY1" fmla="*/ 0 h 188486"/>
              <a:gd name="connsiteX0" fmla="*/ 0 w 1024599"/>
              <a:gd name="connsiteY0" fmla="*/ 188486 h 188486"/>
              <a:gd name="connsiteX1" fmla="*/ 1024599 w 1024599"/>
              <a:gd name="connsiteY1" fmla="*/ 0 h 188486"/>
              <a:gd name="connsiteX0" fmla="*/ 0 w 4327162"/>
              <a:gd name="connsiteY0" fmla="*/ 188486 h 188486"/>
              <a:gd name="connsiteX1" fmla="*/ 4327162 w 4327162"/>
              <a:gd name="connsiteY1" fmla="*/ 0 h 188486"/>
              <a:gd name="connsiteX0" fmla="*/ 0 w 4327162"/>
              <a:gd name="connsiteY0" fmla="*/ 496341 h 496341"/>
              <a:gd name="connsiteX1" fmla="*/ 4327162 w 4327162"/>
              <a:gd name="connsiteY1" fmla="*/ 307855 h 496341"/>
              <a:gd name="connsiteX0" fmla="*/ 0 w 4327162"/>
              <a:gd name="connsiteY0" fmla="*/ 874372 h 874372"/>
              <a:gd name="connsiteX1" fmla="*/ 4327162 w 4327162"/>
              <a:gd name="connsiteY1" fmla="*/ 685886 h 874372"/>
              <a:gd name="connsiteX0" fmla="*/ 0 w 4327162"/>
              <a:gd name="connsiteY0" fmla="*/ 932499 h 932499"/>
              <a:gd name="connsiteX1" fmla="*/ 4327162 w 4327162"/>
              <a:gd name="connsiteY1" fmla="*/ 744013 h 932499"/>
              <a:gd name="connsiteX0" fmla="*/ 0 w 4327162"/>
              <a:gd name="connsiteY0" fmla="*/ 900717 h 900717"/>
              <a:gd name="connsiteX1" fmla="*/ 4327162 w 4327162"/>
              <a:gd name="connsiteY1" fmla="*/ 712231 h 900717"/>
              <a:gd name="connsiteX0" fmla="*/ 0 w 4327162"/>
              <a:gd name="connsiteY0" fmla="*/ 900717 h 900717"/>
              <a:gd name="connsiteX1" fmla="*/ 4327162 w 4327162"/>
              <a:gd name="connsiteY1" fmla="*/ 712231 h 900717"/>
              <a:gd name="connsiteX0" fmla="*/ 0 w 4327162"/>
              <a:gd name="connsiteY0" fmla="*/ 918648 h 918648"/>
              <a:gd name="connsiteX1" fmla="*/ 4327162 w 4327162"/>
              <a:gd name="connsiteY1" fmla="*/ 730162 h 918648"/>
              <a:gd name="connsiteX0" fmla="*/ 0 w 5599916"/>
              <a:gd name="connsiteY0" fmla="*/ 643023 h 1216923"/>
              <a:gd name="connsiteX1" fmla="*/ 5599916 w 5599916"/>
              <a:gd name="connsiteY1" fmla="*/ 1216923 h 1216923"/>
              <a:gd name="connsiteX0" fmla="*/ 0 w 5599916"/>
              <a:gd name="connsiteY0" fmla="*/ 863522 h 1437422"/>
              <a:gd name="connsiteX1" fmla="*/ 5599916 w 5599916"/>
              <a:gd name="connsiteY1" fmla="*/ 1437422 h 1437422"/>
              <a:gd name="connsiteX0" fmla="*/ 0 w 5599916"/>
              <a:gd name="connsiteY0" fmla="*/ 984252 h 1558152"/>
              <a:gd name="connsiteX1" fmla="*/ 5599916 w 5599916"/>
              <a:gd name="connsiteY1" fmla="*/ 1558152 h 1558152"/>
              <a:gd name="connsiteX0" fmla="*/ 0 w 5599916"/>
              <a:gd name="connsiteY0" fmla="*/ 1001224 h 1575124"/>
              <a:gd name="connsiteX1" fmla="*/ 5599916 w 5599916"/>
              <a:gd name="connsiteY1" fmla="*/ 1575124 h 1575124"/>
              <a:gd name="connsiteX0" fmla="*/ 0 w 778662"/>
              <a:gd name="connsiteY0" fmla="*/ 1354876 h 1354876"/>
              <a:gd name="connsiteX1" fmla="*/ 234769 w 778662"/>
              <a:gd name="connsiteY1" fmla="*/ 1149153 h 1354876"/>
              <a:gd name="connsiteX0" fmla="*/ 0 w 935096"/>
              <a:gd name="connsiteY0" fmla="*/ 808798 h 808798"/>
              <a:gd name="connsiteX1" fmla="*/ 234769 w 935096"/>
              <a:gd name="connsiteY1" fmla="*/ 603075 h 808798"/>
              <a:gd name="connsiteX0" fmla="*/ 0 w 907643"/>
              <a:gd name="connsiteY0" fmla="*/ 790190 h 790190"/>
              <a:gd name="connsiteX1" fmla="*/ 130338 w 907643"/>
              <a:gd name="connsiteY1" fmla="*/ 648110 h 790190"/>
              <a:gd name="connsiteX0" fmla="*/ 0 w 928079"/>
              <a:gd name="connsiteY0" fmla="*/ 797069 h 797069"/>
              <a:gd name="connsiteX1" fmla="*/ 208661 w 928079"/>
              <a:gd name="connsiteY1" fmla="*/ 631123 h 797069"/>
              <a:gd name="connsiteX0" fmla="*/ 0 w 208662"/>
              <a:gd name="connsiteY0" fmla="*/ 165946 h 165946"/>
              <a:gd name="connsiteX1" fmla="*/ 208661 w 208662"/>
              <a:gd name="connsiteY1" fmla="*/ 0 h 165946"/>
              <a:gd name="connsiteX0" fmla="*/ 0 w 241295"/>
              <a:gd name="connsiteY0" fmla="*/ 175890 h 175890"/>
              <a:gd name="connsiteX1" fmla="*/ 241296 w 241295"/>
              <a:gd name="connsiteY1" fmla="*/ 0 h 175890"/>
              <a:gd name="connsiteX0" fmla="*/ 6942 w 248238"/>
              <a:gd name="connsiteY0" fmla="*/ 175890 h 175890"/>
              <a:gd name="connsiteX1" fmla="*/ 248238 w 248238"/>
              <a:gd name="connsiteY1" fmla="*/ 0 h 175890"/>
              <a:gd name="connsiteX0" fmla="*/ 8926 w 225747"/>
              <a:gd name="connsiteY0" fmla="*/ 153516 h 153516"/>
              <a:gd name="connsiteX1" fmla="*/ 225747 w 225747"/>
              <a:gd name="connsiteY1" fmla="*/ 0 h 153516"/>
              <a:gd name="connsiteX0" fmla="*/ 7514 w 240653"/>
              <a:gd name="connsiteY0" fmla="*/ 170918 h 170918"/>
              <a:gd name="connsiteX1" fmla="*/ 240653 w 240653"/>
              <a:gd name="connsiteY1" fmla="*/ 0 h 170918"/>
              <a:gd name="connsiteX0" fmla="*/ 18240 w 251379"/>
              <a:gd name="connsiteY0" fmla="*/ 170918 h 170918"/>
              <a:gd name="connsiteX1" fmla="*/ 251379 w 251379"/>
              <a:gd name="connsiteY1" fmla="*/ 0 h 170918"/>
              <a:gd name="connsiteX0" fmla="*/ 18240 w 251379"/>
              <a:gd name="connsiteY0" fmla="*/ 158488 h 158488"/>
              <a:gd name="connsiteX1" fmla="*/ 251379 w 251379"/>
              <a:gd name="connsiteY1" fmla="*/ 0 h 158488"/>
              <a:gd name="connsiteX0" fmla="*/ 17341 w 258639"/>
              <a:gd name="connsiteY0" fmla="*/ 160974 h 160974"/>
              <a:gd name="connsiteX1" fmla="*/ 258640 w 258639"/>
              <a:gd name="connsiteY1" fmla="*/ 0 h 160974"/>
              <a:gd name="connsiteX0" fmla="*/ 14278 w 255578"/>
              <a:gd name="connsiteY0" fmla="*/ 163066 h 163066"/>
              <a:gd name="connsiteX1" fmla="*/ 255577 w 255578"/>
              <a:gd name="connsiteY1" fmla="*/ 2092 h 163066"/>
              <a:gd name="connsiteX0" fmla="*/ 14278 w 255576"/>
              <a:gd name="connsiteY0" fmla="*/ 165919 h 165919"/>
              <a:gd name="connsiteX1" fmla="*/ 255577 w 255576"/>
              <a:gd name="connsiteY1" fmla="*/ 4945 h 165919"/>
              <a:gd name="connsiteX0" fmla="*/ 15719 w 257018"/>
              <a:gd name="connsiteY0" fmla="*/ 166082 h 166082"/>
              <a:gd name="connsiteX1" fmla="*/ 257018 w 257018"/>
              <a:gd name="connsiteY1" fmla="*/ 5108 h 166082"/>
              <a:gd name="connsiteX0" fmla="*/ 16029 w 257328"/>
              <a:gd name="connsiteY0" fmla="*/ 164225 h 164225"/>
              <a:gd name="connsiteX1" fmla="*/ 257328 w 257328"/>
              <a:gd name="connsiteY1" fmla="*/ 3251 h 164225"/>
              <a:gd name="connsiteX0" fmla="*/ 15126 w 256425"/>
              <a:gd name="connsiteY0" fmla="*/ 164814 h 164814"/>
              <a:gd name="connsiteX1" fmla="*/ 256425 w 256425"/>
              <a:gd name="connsiteY1" fmla="*/ 3840 h 164814"/>
              <a:gd name="connsiteX0" fmla="*/ 41402 w 135844"/>
              <a:gd name="connsiteY0" fmla="*/ 32128 h 57606"/>
              <a:gd name="connsiteX1" fmla="*/ 135844 w 135844"/>
              <a:gd name="connsiteY1" fmla="*/ 57607 h 57606"/>
              <a:gd name="connsiteX0" fmla="*/ 288769 w 288769"/>
              <a:gd name="connsiteY0" fmla="*/ 16967 h 159290"/>
              <a:gd name="connsiteX1" fmla="*/ 44626 w 288769"/>
              <a:gd name="connsiteY1" fmla="*/ 159290 h 159290"/>
              <a:gd name="connsiteX0" fmla="*/ 244143 w 244143"/>
              <a:gd name="connsiteY0" fmla="*/ 15076 h 157526"/>
              <a:gd name="connsiteX1" fmla="*/ 0 w 244143"/>
              <a:gd name="connsiteY1" fmla="*/ 157399 h 157526"/>
              <a:gd name="connsiteX0" fmla="*/ 219666 w 219666"/>
              <a:gd name="connsiteY0" fmla="*/ 14805 h 162223"/>
              <a:gd name="connsiteX1" fmla="*/ 0 w 219666"/>
              <a:gd name="connsiteY1" fmla="*/ 162100 h 162223"/>
              <a:gd name="connsiteX0" fmla="*/ 219666 w 247319"/>
              <a:gd name="connsiteY0" fmla="*/ 0 h 147529"/>
              <a:gd name="connsiteX1" fmla="*/ 0 w 247319"/>
              <a:gd name="connsiteY1" fmla="*/ 147295 h 147529"/>
              <a:gd name="connsiteX0" fmla="*/ 227824 w 254399"/>
              <a:gd name="connsiteY0" fmla="*/ 0 h 152492"/>
              <a:gd name="connsiteX1" fmla="*/ 0 w 254399"/>
              <a:gd name="connsiteY1" fmla="*/ 152268 h 152492"/>
              <a:gd name="connsiteX0" fmla="*/ 227824 w 253476"/>
              <a:gd name="connsiteY0" fmla="*/ 0 h 154921"/>
              <a:gd name="connsiteX1" fmla="*/ 0 w 253476"/>
              <a:gd name="connsiteY1" fmla="*/ 152268 h 154921"/>
              <a:gd name="connsiteX0" fmla="*/ 227824 w 261726"/>
              <a:gd name="connsiteY0" fmla="*/ 0 h 155188"/>
              <a:gd name="connsiteX1" fmla="*/ 0 w 261726"/>
              <a:gd name="connsiteY1" fmla="*/ 152268 h 155188"/>
              <a:gd name="connsiteX0" fmla="*/ 0 w 1622463"/>
              <a:gd name="connsiteY0" fmla="*/ 81420 h 94627"/>
              <a:gd name="connsiteX1" fmla="*/ 1607873 w 1622463"/>
              <a:gd name="connsiteY1" fmla="*/ 0 h 94627"/>
              <a:gd name="connsiteX0" fmla="*/ 0 w 1607873"/>
              <a:gd name="connsiteY0" fmla="*/ 90497 h 99366"/>
              <a:gd name="connsiteX1" fmla="*/ 1607873 w 1607873"/>
              <a:gd name="connsiteY1" fmla="*/ 9077 h 99366"/>
              <a:gd name="connsiteX0" fmla="*/ 0 w 1591556"/>
              <a:gd name="connsiteY0" fmla="*/ 104820 h 113107"/>
              <a:gd name="connsiteX1" fmla="*/ 1591556 w 1591556"/>
              <a:gd name="connsiteY1" fmla="*/ 8483 h 113107"/>
              <a:gd name="connsiteX0" fmla="*/ 0 w 1591556"/>
              <a:gd name="connsiteY0" fmla="*/ 117229 h 124320"/>
              <a:gd name="connsiteX1" fmla="*/ 1591556 w 1591556"/>
              <a:gd name="connsiteY1" fmla="*/ 20892 h 124320"/>
              <a:gd name="connsiteX0" fmla="*/ 0 w 1591556"/>
              <a:gd name="connsiteY0" fmla="*/ 113613 h 140106"/>
              <a:gd name="connsiteX1" fmla="*/ 1591556 w 1591556"/>
              <a:gd name="connsiteY1" fmla="*/ 17276 h 140106"/>
              <a:gd name="connsiteX0" fmla="*/ 0 w 1591556"/>
              <a:gd name="connsiteY0" fmla="*/ 118345 h 144487"/>
              <a:gd name="connsiteX1" fmla="*/ 1591556 w 1591556"/>
              <a:gd name="connsiteY1" fmla="*/ 17036 h 144487"/>
              <a:gd name="connsiteX0" fmla="*/ 0 w 1591556"/>
              <a:gd name="connsiteY0" fmla="*/ 117486 h 150580"/>
              <a:gd name="connsiteX1" fmla="*/ 1591556 w 1591556"/>
              <a:gd name="connsiteY1" fmla="*/ 16177 h 150580"/>
              <a:gd name="connsiteX0" fmla="*/ 0 w 1069402"/>
              <a:gd name="connsiteY0" fmla="*/ 0 h 77685"/>
              <a:gd name="connsiteX1" fmla="*/ 1069402 w 1069402"/>
              <a:gd name="connsiteY1" fmla="*/ 77686 h 77685"/>
              <a:gd name="connsiteX0" fmla="*/ 0 w 1069402"/>
              <a:gd name="connsiteY0" fmla="*/ 0 h 77686"/>
              <a:gd name="connsiteX1" fmla="*/ 1069402 w 1069402"/>
              <a:gd name="connsiteY1" fmla="*/ 77686 h 77686"/>
              <a:gd name="connsiteX0" fmla="*/ 0 w 1069402"/>
              <a:gd name="connsiteY0" fmla="*/ 0 h 77686"/>
              <a:gd name="connsiteX1" fmla="*/ 1069402 w 1069402"/>
              <a:gd name="connsiteY1" fmla="*/ 77686 h 77686"/>
              <a:gd name="connsiteX0" fmla="*/ 0 w 1028610"/>
              <a:gd name="connsiteY0" fmla="*/ 0 h 102546"/>
              <a:gd name="connsiteX1" fmla="*/ 1028610 w 1028610"/>
              <a:gd name="connsiteY1" fmla="*/ 102546 h 102546"/>
              <a:gd name="connsiteX0" fmla="*/ 0 w 1028610"/>
              <a:gd name="connsiteY0" fmla="*/ 0 h 102546"/>
              <a:gd name="connsiteX1" fmla="*/ 1028610 w 1028610"/>
              <a:gd name="connsiteY1" fmla="*/ 102546 h 102546"/>
              <a:gd name="connsiteX0" fmla="*/ 0 w 1028610"/>
              <a:gd name="connsiteY0" fmla="*/ 0 h 102546"/>
              <a:gd name="connsiteX1" fmla="*/ 1028610 w 1028610"/>
              <a:gd name="connsiteY1" fmla="*/ 102546 h 102546"/>
              <a:gd name="connsiteX0" fmla="*/ 0 w 1004133"/>
              <a:gd name="connsiteY0" fmla="*/ 0 h 105032"/>
              <a:gd name="connsiteX1" fmla="*/ 1004133 w 1004133"/>
              <a:gd name="connsiteY1" fmla="*/ 105032 h 105032"/>
              <a:gd name="connsiteX0" fmla="*/ 0 w 1004133"/>
              <a:gd name="connsiteY0" fmla="*/ 0 h 105032"/>
              <a:gd name="connsiteX1" fmla="*/ 1004133 w 1004133"/>
              <a:gd name="connsiteY1" fmla="*/ 105032 h 105032"/>
              <a:gd name="connsiteX0" fmla="*/ 0 w 893991"/>
              <a:gd name="connsiteY0" fmla="*/ 0 h 433188"/>
              <a:gd name="connsiteX1" fmla="*/ 893991 w 893991"/>
              <a:gd name="connsiteY1" fmla="*/ 433188 h 433188"/>
              <a:gd name="connsiteX0" fmla="*/ 0 w 934785"/>
              <a:gd name="connsiteY0" fmla="*/ 0 h 433188"/>
              <a:gd name="connsiteX1" fmla="*/ 934785 w 934785"/>
              <a:gd name="connsiteY1" fmla="*/ 433188 h 433188"/>
              <a:gd name="connsiteX0" fmla="*/ 0 w 934785"/>
              <a:gd name="connsiteY0" fmla="*/ 0 h 433188"/>
              <a:gd name="connsiteX1" fmla="*/ 934785 w 934785"/>
              <a:gd name="connsiteY1" fmla="*/ 433188 h 433188"/>
              <a:gd name="connsiteX0" fmla="*/ 0 w 820564"/>
              <a:gd name="connsiteY0" fmla="*/ 0 h 482909"/>
              <a:gd name="connsiteX1" fmla="*/ 820564 w 820564"/>
              <a:gd name="connsiteY1" fmla="*/ 482909 h 482909"/>
              <a:gd name="connsiteX0" fmla="*/ 0 w 820564"/>
              <a:gd name="connsiteY0" fmla="*/ 0 h 482909"/>
              <a:gd name="connsiteX1" fmla="*/ 820564 w 820564"/>
              <a:gd name="connsiteY1" fmla="*/ 482909 h 482909"/>
              <a:gd name="connsiteX0" fmla="*/ 0 w 2493088"/>
              <a:gd name="connsiteY0" fmla="*/ 0 h 756373"/>
              <a:gd name="connsiteX1" fmla="*/ 2493088 w 2493088"/>
              <a:gd name="connsiteY1" fmla="*/ 756373 h 756373"/>
              <a:gd name="connsiteX0" fmla="*/ 0 w 2493088"/>
              <a:gd name="connsiteY0" fmla="*/ 0 h 756373"/>
              <a:gd name="connsiteX1" fmla="*/ 2493088 w 2493088"/>
              <a:gd name="connsiteY1" fmla="*/ 756373 h 756373"/>
              <a:gd name="connsiteX0" fmla="*/ 0 w 2482210"/>
              <a:gd name="connsiteY0" fmla="*/ 0 h 772947"/>
              <a:gd name="connsiteX1" fmla="*/ 2482210 w 2482210"/>
              <a:gd name="connsiteY1" fmla="*/ 772947 h 772947"/>
              <a:gd name="connsiteX0" fmla="*/ 0 w 2221133"/>
              <a:gd name="connsiteY0" fmla="*/ 0 h 1377550"/>
              <a:gd name="connsiteX1" fmla="*/ 2221133 w 2221133"/>
              <a:gd name="connsiteY1" fmla="*/ 1377550 h 1377550"/>
              <a:gd name="connsiteX0" fmla="*/ 0 w 2221133"/>
              <a:gd name="connsiteY0" fmla="*/ 0 h 1377550"/>
              <a:gd name="connsiteX1" fmla="*/ 2221133 w 2221133"/>
              <a:gd name="connsiteY1" fmla="*/ 1377550 h 1377550"/>
              <a:gd name="connsiteX0" fmla="*/ 0 w 2273348"/>
              <a:gd name="connsiteY0" fmla="*/ 0 h 1377550"/>
              <a:gd name="connsiteX1" fmla="*/ 2273348 w 2273348"/>
              <a:gd name="connsiteY1" fmla="*/ 1377550 h 1377550"/>
              <a:gd name="connsiteX0" fmla="*/ 0 w 2273348"/>
              <a:gd name="connsiteY0" fmla="*/ 0 h 1377550"/>
              <a:gd name="connsiteX1" fmla="*/ 2273348 w 2273348"/>
              <a:gd name="connsiteY1" fmla="*/ 1377550 h 1377550"/>
              <a:gd name="connsiteX0" fmla="*/ 0 w 2257031"/>
              <a:gd name="connsiteY0" fmla="*/ 0 h 1367606"/>
              <a:gd name="connsiteX1" fmla="*/ 2257031 w 2257031"/>
              <a:gd name="connsiteY1" fmla="*/ 1367606 h 1367606"/>
              <a:gd name="connsiteX0" fmla="*/ 0 w 2257031"/>
              <a:gd name="connsiteY0" fmla="*/ 0 h 1367606"/>
              <a:gd name="connsiteX1" fmla="*/ 2257031 w 2257031"/>
              <a:gd name="connsiteY1" fmla="*/ 1367606 h 1367606"/>
              <a:gd name="connsiteX0" fmla="*/ 0 w 2257031"/>
              <a:gd name="connsiteY0" fmla="*/ 0 h 1367606"/>
              <a:gd name="connsiteX1" fmla="*/ 2257031 w 2257031"/>
              <a:gd name="connsiteY1" fmla="*/ 1367606 h 1367606"/>
              <a:gd name="connsiteX0" fmla="*/ 0 w 2518108"/>
              <a:gd name="connsiteY0" fmla="*/ 0 h 1712336"/>
              <a:gd name="connsiteX1" fmla="*/ 2518108 w 2518108"/>
              <a:gd name="connsiteY1" fmla="*/ 1712336 h 1712336"/>
              <a:gd name="connsiteX0" fmla="*/ 0 w 2518108"/>
              <a:gd name="connsiteY0" fmla="*/ 0 h 1712336"/>
              <a:gd name="connsiteX1" fmla="*/ 2518108 w 2518108"/>
              <a:gd name="connsiteY1" fmla="*/ 1712336 h 1712336"/>
              <a:gd name="connsiteX0" fmla="*/ 0 w 2518108"/>
              <a:gd name="connsiteY0" fmla="*/ 0 h 1712336"/>
              <a:gd name="connsiteX1" fmla="*/ 2518108 w 2518108"/>
              <a:gd name="connsiteY1" fmla="*/ 1712336 h 1712336"/>
              <a:gd name="connsiteX0" fmla="*/ 0 w 2561621"/>
              <a:gd name="connsiteY0" fmla="*/ 0 h 1705707"/>
              <a:gd name="connsiteX1" fmla="*/ 2561621 w 2561621"/>
              <a:gd name="connsiteY1" fmla="*/ 1705707 h 1705707"/>
              <a:gd name="connsiteX0" fmla="*/ 0 w 3094653"/>
              <a:gd name="connsiteY0" fmla="*/ 0 h 1838295"/>
              <a:gd name="connsiteX1" fmla="*/ 3094653 w 3094653"/>
              <a:gd name="connsiteY1" fmla="*/ 1838295 h 1838295"/>
              <a:gd name="connsiteX0" fmla="*/ 0 w 3094653"/>
              <a:gd name="connsiteY0" fmla="*/ 0 h 1838295"/>
              <a:gd name="connsiteX1" fmla="*/ 3094653 w 3094653"/>
              <a:gd name="connsiteY1" fmla="*/ 1838295 h 1838295"/>
              <a:gd name="connsiteX0" fmla="*/ 0 w 3062018"/>
              <a:gd name="connsiteY0" fmla="*/ 0 h 1818407"/>
              <a:gd name="connsiteX1" fmla="*/ 3062018 w 3062018"/>
              <a:gd name="connsiteY1" fmla="*/ 1818407 h 1818407"/>
              <a:gd name="connsiteX0" fmla="*/ 0 w 3062018"/>
              <a:gd name="connsiteY0" fmla="*/ 0 h 1818407"/>
              <a:gd name="connsiteX1" fmla="*/ 3062018 w 3062018"/>
              <a:gd name="connsiteY1" fmla="*/ 1818407 h 1818407"/>
              <a:gd name="connsiteX0" fmla="*/ 0 w 3121356"/>
              <a:gd name="connsiteY0" fmla="*/ 0 h 1858986"/>
              <a:gd name="connsiteX1" fmla="*/ 3121356 w 3121356"/>
              <a:gd name="connsiteY1" fmla="*/ 1858986 h 1858986"/>
              <a:gd name="connsiteX0" fmla="*/ 0 w 3143961"/>
              <a:gd name="connsiteY0" fmla="*/ 0 h 1858986"/>
              <a:gd name="connsiteX1" fmla="*/ 3143961 w 3143961"/>
              <a:gd name="connsiteY1" fmla="*/ 1858986 h 1858986"/>
              <a:gd name="connsiteX0" fmla="*/ 0 w 3143961"/>
              <a:gd name="connsiteY0" fmla="*/ 0 h 1858986"/>
              <a:gd name="connsiteX1" fmla="*/ 3143961 w 3143961"/>
              <a:gd name="connsiteY1" fmla="*/ 1858986 h 1858986"/>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57539"/>
              <a:gd name="connsiteX1" fmla="*/ 2680568 w 2680568"/>
              <a:gd name="connsiteY1" fmla="*/ 1757539 h 1757539"/>
              <a:gd name="connsiteX0" fmla="*/ 0 w 2680568"/>
              <a:gd name="connsiteY0" fmla="*/ 0 h 1777828"/>
              <a:gd name="connsiteX1" fmla="*/ 2680568 w 2680568"/>
              <a:gd name="connsiteY1" fmla="*/ 1777828 h 1777828"/>
              <a:gd name="connsiteX0" fmla="*/ 0 w 1561644"/>
              <a:gd name="connsiteY0" fmla="*/ 0 h 1507302"/>
              <a:gd name="connsiteX1" fmla="*/ 1561644 w 1561644"/>
              <a:gd name="connsiteY1" fmla="*/ 1507302 h 1507302"/>
              <a:gd name="connsiteX0" fmla="*/ 0 w 1561644"/>
              <a:gd name="connsiteY0" fmla="*/ 0 h 1507302"/>
              <a:gd name="connsiteX1" fmla="*/ 1561644 w 1561644"/>
              <a:gd name="connsiteY1" fmla="*/ 1507302 h 1507302"/>
              <a:gd name="connsiteX0" fmla="*/ 0 w 1561644"/>
              <a:gd name="connsiteY0" fmla="*/ 0 h 1507302"/>
              <a:gd name="connsiteX1" fmla="*/ 1561644 w 1561644"/>
              <a:gd name="connsiteY1" fmla="*/ 1507302 h 1507302"/>
              <a:gd name="connsiteX0" fmla="*/ 0 w 1539039"/>
              <a:gd name="connsiteY0" fmla="*/ 0 h 1500539"/>
              <a:gd name="connsiteX1" fmla="*/ 1539039 w 1539039"/>
              <a:gd name="connsiteY1" fmla="*/ 1500539 h 1500539"/>
              <a:gd name="connsiteX0" fmla="*/ 0 w 1528011"/>
              <a:gd name="connsiteY0" fmla="*/ 0 h 1490461"/>
              <a:gd name="connsiteX1" fmla="*/ 1528011 w 1528011"/>
              <a:gd name="connsiteY1" fmla="*/ 1490461 h 1490461"/>
              <a:gd name="connsiteX0" fmla="*/ 0 w 1528011"/>
              <a:gd name="connsiteY0" fmla="*/ 0 h 1490461"/>
              <a:gd name="connsiteX1" fmla="*/ 1528011 w 1528011"/>
              <a:gd name="connsiteY1" fmla="*/ 1490461 h 1490461"/>
              <a:gd name="connsiteX0" fmla="*/ 3080799 w 3090213"/>
              <a:gd name="connsiteY0" fmla="*/ 0 h 2226950"/>
              <a:gd name="connsiteX1" fmla="*/ 78511 w 3090213"/>
              <a:gd name="connsiteY1" fmla="*/ 2226950 h 2226950"/>
              <a:gd name="connsiteX0" fmla="*/ 3321263 w 3321263"/>
              <a:gd name="connsiteY0" fmla="*/ 267285 h 2494235"/>
              <a:gd name="connsiteX1" fmla="*/ 318975 w 3321263"/>
              <a:gd name="connsiteY1" fmla="*/ 2494235 h 2494235"/>
              <a:gd name="connsiteX0" fmla="*/ 5023856 w 5023856"/>
              <a:gd name="connsiteY0" fmla="*/ 776106 h 776106"/>
              <a:gd name="connsiteX1" fmla="*/ 128627 w 5023856"/>
              <a:gd name="connsiteY1" fmla="*/ 351698 h 776106"/>
              <a:gd name="connsiteX0" fmla="*/ 4895228 w 4895228"/>
              <a:gd name="connsiteY0" fmla="*/ 761159 h 761159"/>
              <a:gd name="connsiteX1" fmla="*/ -1 w 4895228"/>
              <a:gd name="connsiteY1" fmla="*/ 336751 h 761159"/>
              <a:gd name="connsiteX0" fmla="*/ 5171732 w 5171732"/>
              <a:gd name="connsiteY0" fmla="*/ 754664 h 754664"/>
              <a:gd name="connsiteX1" fmla="*/ 0 w 5171732"/>
              <a:gd name="connsiteY1" fmla="*/ 343645 h 754664"/>
              <a:gd name="connsiteX0" fmla="*/ 5171732 w 5171732"/>
              <a:gd name="connsiteY0" fmla="*/ 835843 h 835843"/>
              <a:gd name="connsiteX1" fmla="*/ 0 w 5171732"/>
              <a:gd name="connsiteY1" fmla="*/ 424824 h 835843"/>
              <a:gd name="connsiteX0" fmla="*/ 5171732 w 5171732"/>
              <a:gd name="connsiteY0" fmla="*/ 709665 h 709665"/>
              <a:gd name="connsiteX1" fmla="*/ 0 w 5171732"/>
              <a:gd name="connsiteY1" fmla="*/ 298646 h 709665"/>
              <a:gd name="connsiteX0" fmla="*/ 5320608 w 5320608"/>
              <a:gd name="connsiteY0" fmla="*/ 692367 h 692367"/>
              <a:gd name="connsiteX1" fmla="*/ 0 w 5320608"/>
              <a:gd name="connsiteY1" fmla="*/ 308133 h 692367"/>
              <a:gd name="connsiteX0" fmla="*/ 5320608 w 5320608"/>
              <a:gd name="connsiteY0" fmla="*/ 703884 h 703884"/>
              <a:gd name="connsiteX1" fmla="*/ 0 w 5320608"/>
              <a:gd name="connsiteY1" fmla="*/ 319650 h 703884"/>
              <a:gd name="connsiteX0" fmla="*/ 2889934 w 2889938"/>
              <a:gd name="connsiteY0" fmla="*/ 251649 h 1263062"/>
              <a:gd name="connsiteX1" fmla="*/ 0 w 2889938"/>
              <a:gd name="connsiteY1" fmla="*/ 1263061 h 1263062"/>
              <a:gd name="connsiteX0" fmla="*/ 2889934 w 2889938"/>
              <a:gd name="connsiteY0" fmla="*/ 1 h 1011414"/>
              <a:gd name="connsiteX1" fmla="*/ 0 w 2889938"/>
              <a:gd name="connsiteY1" fmla="*/ 1011413 h 1011414"/>
              <a:gd name="connsiteX0" fmla="*/ 752739 w 752743"/>
              <a:gd name="connsiteY0" fmla="*/ 1 h 1935252"/>
              <a:gd name="connsiteX1" fmla="*/ 3 w 752743"/>
              <a:gd name="connsiteY1" fmla="*/ 1935252 h 1935252"/>
              <a:gd name="connsiteX0" fmla="*/ 1160558 w 1160562"/>
              <a:gd name="connsiteY0" fmla="*/ 1 h 1935252"/>
              <a:gd name="connsiteX1" fmla="*/ 407822 w 1160562"/>
              <a:gd name="connsiteY1" fmla="*/ 1935252 h 1935252"/>
              <a:gd name="connsiteX0" fmla="*/ 1205658 w 1205662"/>
              <a:gd name="connsiteY0" fmla="*/ 1 h 1862610"/>
              <a:gd name="connsiteX1" fmla="*/ 384793 w 1205662"/>
              <a:gd name="connsiteY1" fmla="*/ 1862612 h 1862610"/>
              <a:gd name="connsiteX0" fmla="*/ 1190716 w 1190720"/>
              <a:gd name="connsiteY0" fmla="*/ 1 h 1883273"/>
              <a:gd name="connsiteX1" fmla="*/ 392148 w 1190720"/>
              <a:gd name="connsiteY1" fmla="*/ 1883273 h 1883273"/>
              <a:gd name="connsiteX0" fmla="*/ 1189098 w 1189102"/>
              <a:gd name="connsiteY0" fmla="*/ 1 h 1883273"/>
              <a:gd name="connsiteX1" fmla="*/ 390530 w 1189102"/>
              <a:gd name="connsiteY1" fmla="*/ 1883273 h 1883273"/>
              <a:gd name="connsiteX0" fmla="*/ 1164575 w 1164575"/>
              <a:gd name="connsiteY0" fmla="*/ 0 h 1860619"/>
              <a:gd name="connsiteX1" fmla="*/ 403194 w 1164575"/>
              <a:gd name="connsiteY1" fmla="*/ 1860619 h 1860619"/>
              <a:gd name="connsiteX0" fmla="*/ 1164909 w 1164909"/>
              <a:gd name="connsiteY0" fmla="*/ 0 h 1860619"/>
              <a:gd name="connsiteX1" fmla="*/ 403528 w 1164909"/>
              <a:gd name="connsiteY1" fmla="*/ 1860619 h 1860619"/>
              <a:gd name="connsiteX0" fmla="*/ 1215490 w 1215490"/>
              <a:gd name="connsiteY0" fmla="*/ 0 h 1860619"/>
              <a:gd name="connsiteX1" fmla="*/ 454109 w 1215490"/>
              <a:gd name="connsiteY1" fmla="*/ 1860619 h 1860619"/>
              <a:gd name="connsiteX0" fmla="*/ 1157822 w 1157826"/>
              <a:gd name="connsiteY0" fmla="*/ 2 h 1943256"/>
              <a:gd name="connsiteX1" fmla="*/ 485627 w 1157826"/>
              <a:gd name="connsiteY1" fmla="*/ 1943256 h 1943256"/>
              <a:gd name="connsiteX0" fmla="*/ 1105906 w 1105910"/>
              <a:gd name="connsiteY0" fmla="*/ 2 h 1943256"/>
              <a:gd name="connsiteX1" fmla="*/ 433711 w 1105910"/>
              <a:gd name="connsiteY1" fmla="*/ 1943256 h 1943256"/>
              <a:gd name="connsiteX0" fmla="*/ 1206089 w 1206088"/>
              <a:gd name="connsiteY0" fmla="*/ -2 h 1848170"/>
              <a:gd name="connsiteX1" fmla="*/ 390188 w 1206088"/>
              <a:gd name="connsiteY1" fmla="*/ 1848170 h 1848170"/>
              <a:gd name="connsiteX0" fmla="*/ 1086473 w 1086472"/>
              <a:gd name="connsiteY0" fmla="*/ -2 h 1848170"/>
              <a:gd name="connsiteX1" fmla="*/ 270572 w 1086472"/>
              <a:gd name="connsiteY1" fmla="*/ 1848170 h 1848170"/>
              <a:gd name="connsiteX0" fmla="*/ 8038878 w 8038877"/>
              <a:gd name="connsiteY0" fmla="*/ -2 h 3615278"/>
              <a:gd name="connsiteX1" fmla="*/ 49728 w 8038877"/>
              <a:gd name="connsiteY1" fmla="*/ 3615276 h 3615278"/>
              <a:gd name="connsiteX0" fmla="*/ 7989148 w 7989147"/>
              <a:gd name="connsiteY0" fmla="*/ -2 h 3615278"/>
              <a:gd name="connsiteX1" fmla="*/ -2 w 7989147"/>
              <a:gd name="connsiteY1" fmla="*/ 3615276 h 3615278"/>
              <a:gd name="connsiteX0" fmla="*/ 7852029 w 7852028"/>
              <a:gd name="connsiteY0" fmla="*/ -2 h 3653503"/>
              <a:gd name="connsiteX1" fmla="*/ 0 w 7852028"/>
              <a:gd name="connsiteY1" fmla="*/ 3653504 h 3653503"/>
              <a:gd name="connsiteX0" fmla="*/ 7852029 w 7852028"/>
              <a:gd name="connsiteY0" fmla="*/ -2 h 3653503"/>
              <a:gd name="connsiteX1" fmla="*/ 0 w 7852028"/>
              <a:gd name="connsiteY1" fmla="*/ 3653504 h 3653503"/>
              <a:gd name="connsiteX0" fmla="*/ 8045309 w 8045309"/>
              <a:gd name="connsiteY0" fmla="*/ 0 h 3588622"/>
              <a:gd name="connsiteX1" fmla="*/ 0 w 8045309"/>
              <a:gd name="connsiteY1" fmla="*/ 3588623 h 3588622"/>
              <a:gd name="connsiteX0" fmla="*/ 8045309 w 8045309"/>
              <a:gd name="connsiteY0" fmla="*/ 0 h 3588622"/>
              <a:gd name="connsiteX1" fmla="*/ 0 w 8045309"/>
              <a:gd name="connsiteY1" fmla="*/ 3588623 h 3588622"/>
              <a:gd name="connsiteX0" fmla="*/ 8045309 w 8045309"/>
              <a:gd name="connsiteY0" fmla="*/ 0 h 3588622"/>
              <a:gd name="connsiteX1" fmla="*/ 0 w 8045309"/>
              <a:gd name="connsiteY1" fmla="*/ 3588623 h 3588622"/>
              <a:gd name="connsiteX0" fmla="*/ 8179140 w 8179141"/>
              <a:gd name="connsiteY0" fmla="*/ 0 h 3578833"/>
              <a:gd name="connsiteX1" fmla="*/ 0 w 8179141"/>
              <a:gd name="connsiteY1" fmla="*/ 3578834 h 3578833"/>
              <a:gd name="connsiteX0" fmla="*/ 8179140 w 8179141"/>
              <a:gd name="connsiteY0" fmla="*/ 0 h 3578833"/>
              <a:gd name="connsiteX1" fmla="*/ 0 w 8179141"/>
              <a:gd name="connsiteY1" fmla="*/ 3578834 h 3578833"/>
              <a:gd name="connsiteX0" fmla="*/ 8288176 w 8288179"/>
              <a:gd name="connsiteY0" fmla="*/ 0 h 3553940"/>
              <a:gd name="connsiteX1" fmla="*/ 0 w 8288179"/>
              <a:gd name="connsiteY1" fmla="*/ 3553941 h 3553940"/>
              <a:gd name="connsiteX0" fmla="*/ 8238107 w 8238103"/>
              <a:gd name="connsiteY0" fmla="*/ -1 h 3553134"/>
              <a:gd name="connsiteX1" fmla="*/ 0 w 8238103"/>
              <a:gd name="connsiteY1" fmla="*/ 3553135 h 3553134"/>
              <a:gd name="connsiteX0" fmla="*/ 8238107 w 8305339"/>
              <a:gd name="connsiteY0" fmla="*/ -1 h 3553134"/>
              <a:gd name="connsiteX1" fmla="*/ 0 w 8305339"/>
              <a:gd name="connsiteY1" fmla="*/ 3553135 h 3553134"/>
              <a:gd name="connsiteX0" fmla="*/ 12251389 w 12288614"/>
              <a:gd name="connsiteY0" fmla="*/ -1 h 4841777"/>
              <a:gd name="connsiteX1" fmla="*/ 2 w 12288614"/>
              <a:gd name="connsiteY1" fmla="*/ 4841777 h 4841777"/>
              <a:gd name="connsiteX0" fmla="*/ 12251389 w 12300718"/>
              <a:gd name="connsiteY0" fmla="*/ -1 h 4841777"/>
              <a:gd name="connsiteX1" fmla="*/ 2 w 12300718"/>
              <a:gd name="connsiteY1" fmla="*/ 4841777 h 4841777"/>
              <a:gd name="connsiteX0" fmla="*/ 12107399 w 12157791"/>
              <a:gd name="connsiteY0" fmla="*/ -2 h 4813412"/>
              <a:gd name="connsiteX1" fmla="*/ 2 w 12157791"/>
              <a:gd name="connsiteY1" fmla="*/ 4813412 h 4813412"/>
              <a:gd name="connsiteX0" fmla="*/ 12107399 w 12115490"/>
              <a:gd name="connsiteY0" fmla="*/ -2 h 4813412"/>
              <a:gd name="connsiteX1" fmla="*/ 2 w 12115490"/>
              <a:gd name="connsiteY1" fmla="*/ 4813412 h 4813412"/>
              <a:gd name="connsiteX0" fmla="*/ 12107399 w 12107392"/>
              <a:gd name="connsiteY0" fmla="*/ -2 h 9321579"/>
              <a:gd name="connsiteX1" fmla="*/ 2 w 12107392"/>
              <a:gd name="connsiteY1" fmla="*/ 4813412 h 9321579"/>
              <a:gd name="connsiteX0" fmla="*/ 12107399 w 12107392"/>
              <a:gd name="connsiteY0" fmla="*/ -2 h 14043873"/>
              <a:gd name="connsiteX1" fmla="*/ 2 w 12107392"/>
              <a:gd name="connsiteY1" fmla="*/ 4813412 h 14043873"/>
              <a:gd name="connsiteX0" fmla="*/ 12107399 w 12107392"/>
              <a:gd name="connsiteY0" fmla="*/ -2 h 11195268"/>
              <a:gd name="connsiteX1" fmla="*/ 2 w 12107392"/>
              <a:gd name="connsiteY1" fmla="*/ 4813412 h 11195268"/>
              <a:gd name="connsiteX0" fmla="*/ 12107399 w 12107392"/>
              <a:gd name="connsiteY0" fmla="*/ -2 h 8541755"/>
              <a:gd name="connsiteX1" fmla="*/ 2 w 12107392"/>
              <a:gd name="connsiteY1" fmla="*/ 4813412 h 8541755"/>
              <a:gd name="connsiteX0" fmla="*/ 11502943 w 11502936"/>
              <a:gd name="connsiteY0" fmla="*/ -2 h 7884940"/>
              <a:gd name="connsiteX1" fmla="*/ -2 w 11502936"/>
              <a:gd name="connsiteY1" fmla="*/ 3829140 h 7884940"/>
              <a:gd name="connsiteX0" fmla="*/ 11502943 w 11502936"/>
              <a:gd name="connsiteY0" fmla="*/ -2 h 7654755"/>
              <a:gd name="connsiteX1" fmla="*/ -2 w 11502936"/>
              <a:gd name="connsiteY1" fmla="*/ 3829140 h 7654755"/>
              <a:gd name="connsiteX0" fmla="*/ 12088109 w 12088102"/>
              <a:gd name="connsiteY0" fmla="*/ -2 h 12734696"/>
              <a:gd name="connsiteX1" fmla="*/ 1 w 12088102"/>
              <a:gd name="connsiteY1" fmla="*/ 10369273 h 12734696"/>
            </a:gdLst>
            <a:ahLst/>
            <a:cxnLst>
              <a:cxn ang="0">
                <a:pos x="connsiteX0" y="connsiteY0"/>
              </a:cxn>
              <a:cxn ang="0">
                <a:pos x="connsiteX1" y="connsiteY1"/>
              </a:cxn>
            </a:cxnLst>
            <a:rect l="l" t="t" r="r" b="b"/>
            <a:pathLst>
              <a:path w="12088102" h="12734696">
                <a:moveTo>
                  <a:pt x="12088109" y="-2"/>
                </a:moveTo>
                <a:cubicBezTo>
                  <a:pt x="8651134" y="7566896"/>
                  <a:pt x="7277610" y="17286786"/>
                  <a:pt x="1" y="10369273"/>
                </a:cubicBezTo>
              </a:path>
            </a:pathLst>
          </a:custGeom>
          <a:noFill/>
          <a:ln w="15875" cap="flat" cmpd="sng" algn="ctr">
            <a:solidFill>
              <a:srgbClr val="B8690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7" name="Freeform 103"/>
          <p:cNvSpPr/>
          <p:nvPr/>
        </p:nvSpPr>
        <p:spPr bwMode="auto">
          <a:xfrm rot="16441414" flipH="1">
            <a:off x="3088877" y="2701463"/>
            <a:ext cx="597914" cy="1620480"/>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2875322"/>
              <a:gd name="connsiteY0" fmla="*/ 0 h 1850561"/>
              <a:gd name="connsiteX1" fmla="*/ 2875322 w 2875322"/>
              <a:gd name="connsiteY1" fmla="*/ 1850561 h 1850561"/>
              <a:gd name="connsiteX0" fmla="*/ 0 w 2875322"/>
              <a:gd name="connsiteY0" fmla="*/ 0 h 1850561"/>
              <a:gd name="connsiteX1" fmla="*/ 2875322 w 2875322"/>
              <a:gd name="connsiteY1" fmla="*/ 1850561 h 1850561"/>
              <a:gd name="connsiteX0" fmla="*/ 0 w 2894703"/>
              <a:gd name="connsiteY0" fmla="*/ 0 h 1850561"/>
              <a:gd name="connsiteX1" fmla="*/ 2894703 w 2894703"/>
              <a:gd name="connsiteY1" fmla="*/ 1850561 h 1850561"/>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0239"/>
              <a:gd name="connsiteY0" fmla="*/ 0 h 2300301"/>
              <a:gd name="connsiteX1" fmla="*/ 3480239 w 3480239"/>
              <a:gd name="connsiteY1" fmla="*/ 2300301 h 2300301"/>
              <a:gd name="connsiteX0" fmla="*/ 0 w 3480239"/>
              <a:gd name="connsiteY0" fmla="*/ 0 h 2300301"/>
              <a:gd name="connsiteX1" fmla="*/ 3480239 w 348023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521439"/>
              <a:gd name="connsiteY0" fmla="*/ 0 h 2232170"/>
              <a:gd name="connsiteX1" fmla="*/ 3521439 w 3521439"/>
              <a:gd name="connsiteY1" fmla="*/ 2232170 h 2232170"/>
              <a:gd name="connsiteX0" fmla="*/ 0 w 3521439"/>
              <a:gd name="connsiteY0" fmla="*/ 0 h 2232170"/>
              <a:gd name="connsiteX1" fmla="*/ 3521439 w 3521439"/>
              <a:gd name="connsiteY1" fmla="*/ 2232170 h 2232170"/>
              <a:gd name="connsiteX0" fmla="*/ 0 w 3521439"/>
              <a:gd name="connsiteY0" fmla="*/ 0 h 2209460"/>
              <a:gd name="connsiteX1" fmla="*/ 3521439 w 3521439"/>
              <a:gd name="connsiteY1" fmla="*/ 2209460 h 2209460"/>
              <a:gd name="connsiteX0" fmla="*/ 0 w 3521439"/>
              <a:gd name="connsiteY0" fmla="*/ 0 h 2209460"/>
              <a:gd name="connsiteX1" fmla="*/ 3521439 w 3521439"/>
              <a:gd name="connsiteY1" fmla="*/ 2209460 h 2209460"/>
              <a:gd name="connsiteX0" fmla="*/ 0 w 3166484"/>
              <a:gd name="connsiteY0" fmla="*/ 0 h 1509983"/>
              <a:gd name="connsiteX1" fmla="*/ 3166484 w 3166484"/>
              <a:gd name="connsiteY1" fmla="*/ 1509983 h 1509983"/>
              <a:gd name="connsiteX0" fmla="*/ 0 w 2028493"/>
              <a:gd name="connsiteY0" fmla="*/ 0 h 405367"/>
              <a:gd name="connsiteX1" fmla="*/ 2028493 w 2028493"/>
              <a:gd name="connsiteY1" fmla="*/ 62202 h 405367"/>
              <a:gd name="connsiteX0" fmla="*/ 0 w 2028493"/>
              <a:gd name="connsiteY0" fmla="*/ 0 h 410101"/>
              <a:gd name="connsiteX1" fmla="*/ 2028493 w 2028493"/>
              <a:gd name="connsiteY1" fmla="*/ 62202 h 410101"/>
              <a:gd name="connsiteX0" fmla="*/ 0 w 2049034"/>
              <a:gd name="connsiteY0" fmla="*/ 0 h 413154"/>
              <a:gd name="connsiteX1" fmla="*/ 2049034 w 2049034"/>
              <a:gd name="connsiteY1" fmla="*/ 76396 h 413154"/>
              <a:gd name="connsiteX0" fmla="*/ 0 w 2049034"/>
              <a:gd name="connsiteY0" fmla="*/ 143813 h 220209"/>
              <a:gd name="connsiteX1" fmla="*/ 2049034 w 2049034"/>
              <a:gd name="connsiteY1" fmla="*/ 220209 h 220209"/>
              <a:gd name="connsiteX0" fmla="*/ 0 w 2049034"/>
              <a:gd name="connsiteY0" fmla="*/ 154753 h 231149"/>
              <a:gd name="connsiteX1" fmla="*/ 2049034 w 2049034"/>
              <a:gd name="connsiteY1" fmla="*/ 231149 h 231149"/>
              <a:gd name="connsiteX0" fmla="*/ 0 w 2057250"/>
              <a:gd name="connsiteY0" fmla="*/ 145732 h 242000"/>
              <a:gd name="connsiteX1" fmla="*/ 2057250 w 2057250"/>
              <a:gd name="connsiteY1" fmla="*/ 242000 h 242000"/>
              <a:gd name="connsiteX0" fmla="*/ 0 w 2057250"/>
              <a:gd name="connsiteY0" fmla="*/ 155638 h 251906"/>
              <a:gd name="connsiteX1" fmla="*/ 2057250 w 2057250"/>
              <a:gd name="connsiteY1" fmla="*/ 251906 h 251906"/>
              <a:gd name="connsiteX0" fmla="*/ 0 w 2057250"/>
              <a:gd name="connsiteY0" fmla="*/ 154153 h 250421"/>
              <a:gd name="connsiteX1" fmla="*/ 2057250 w 2057250"/>
              <a:gd name="connsiteY1" fmla="*/ 250421 h 250421"/>
              <a:gd name="connsiteX0" fmla="*/ 0 w 2057250"/>
              <a:gd name="connsiteY0" fmla="*/ 175529 h 271797"/>
              <a:gd name="connsiteX1" fmla="*/ 2057250 w 2057250"/>
              <a:gd name="connsiteY1" fmla="*/ 271797 h 271797"/>
              <a:gd name="connsiteX0" fmla="*/ 0 w 1925785"/>
              <a:gd name="connsiteY0" fmla="*/ 146190 h 318159"/>
              <a:gd name="connsiteX1" fmla="*/ 1925785 w 1925785"/>
              <a:gd name="connsiteY1" fmla="*/ 318159 h 318159"/>
              <a:gd name="connsiteX0" fmla="*/ 0 w 1942218"/>
              <a:gd name="connsiteY0" fmla="*/ 143309 h 323795"/>
              <a:gd name="connsiteX1" fmla="*/ 1942218 w 1942218"/>
              <a:gd name="connsiteY1" fmla="*/ 323795 h 323795"/>
              <a:gd name="connsiteX0" fmla="*/ 0 w 1942218"/>
              <a:gd name="connsiteY0" fmla="*/ 1 h 180487"/>
              <a:gd name="connsiteX1" fmla="*/ 1942218 w 1942218"/>
              <a:gd name="connsiteY1" fmla="*/ 180487 h 180487"/>
              <a:gd name="connsiteX0" fmla="*/ 0 w 1966867"/>
              <a:gd name="connsiteY0" fmla="*/ 0 h 171970"/>
              <a:gd name="connsiteX1" fmla="*/ 1966867 w 1966867"/>
              <a:gd name="connsiteY1" fmla="*/ 171971 h 171970"/>
              <a:gd name="connsiteX0" fmla="*/ 0 w 1966867"/>
              <a:gd name="connsiteY0" fmla="*/ 0 h 171971"/>
              <a:gd name="connsiteX1" fmla="*/ 1966867 w 1966867"/>
              <a:gd name="connsiteY1" fmla="*/ 171971 h 171971"/>
              <a:gd name="connsiteX0" fmla="*/ 0 w 1958651"/>
              <a:gd name="connsiteY0" fmla="*/ 0 h 186165"/>
              <a:gd name="connsiteX1" fmla="*/ 1958651 w 1958651"/>
              <a:gd name="connsiteY1" fmla="*/ 186165 h 186165"/>
              <a:gd name="connsiteX0" fmla="*/ 0 w 1954543"/>
              <a:gd name="connsiteY0" fmla="*/ 0 h 203197"/>
              <a:gd name="connsiteX1" fmla="*/ 1954543 w 1954543"/>
              <a:gd name="connsiteY1" fmla="*/ 203197 h 203197"/>
              <a:gd name="connsiteX0" fmla="*/ 0 w 2324286"/>
              <a:gd name="connsiteY0" fmla="*/ 0 h 475721"/>
              <a:gd name="connsiteX1" fmla="*/ 2324286 w 2324286"/>
              <a:gd name="connsiteY1" fmla="*/ 475721 h 475721"/>
              <a:gd name="connsiteX0" fmla="*/ 0 w 2324286"/>
              <a:gd name="connsiteY0" fmla="*/ 0 h 479624"/>
              <a:gd name="connsiteX1" fmla="*/ 2324286 w 2324286"/>
              <a:gd name="connsiteY1" fmla="*/ 475721 h 479624"/>
              <a:gd name="connsiteX0" fmla="*/ 0 w 2324286"/>
              <a:gd name="connsiteY0" fmla="*/ 0 h 480172"/>
              <a:gd name="connsiteX1" fmla="*/ 2324286 w 2324286"/>
              <a:gd name="connsiteY1" fmla="*/ 475721 h 480172"/>
              <a:gd name="connsiteX0" fmla="*/ 0 w 2324286"/>
              <a:gd name="connsiteY0" fmla="*/ 0 h 475721"/>
              <a:gd name="connsiteX1" fmla="*/ 2324286 w 2324286"/>
              <a:gd name="connsiteY1" fmla="*/ 475721 h 475721"/>
              <a:gd name="connsiteX0" fmla="*/ 0 w 2316069"/>
              <a:gd name="connsiteY0" fmla="*/ 0 h 498431"/>
              <a:gd name="connsiteX1" fmla="*/ 2316069 w 2316069"/>
              <a:gd name="connsiteY1" fmla="*/ 498431 h 498431"/>
              <a:gd name="connsiteX0" fmla="*/ 0 w 2316069"/>
              <a:gd name="connsiteY0" fmla="*/ 0 h 498431"/>
              <a:gd name="connsiteX1" fmla="*/ 2316069 w 2316069"/>
              <a:gd name="connsiteY1" fmla="*/ 498431 h 49843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04754"/>
              <a:gd name="connsiteY0" fmla="*/ 0 h 1015091"/>
              <a:gd name="connsiteX1" fmla="*/ 4604754 w 4604754"/>
              <a:gd name="connsiteY1" fmla="*/ 1015091 h 1015091"/>
              <a:gd name="connsiteX0" fmla="*/ 0 w 4604754"/>
              <a:gd name="connsiteY0" fmla="*/ 0 h 1015091"/>
              <a:gd name="connsiteX1" fmla="*/ 4604754 w 4604754"/>
              <a:gd name="connsiteY1" fmla="*/ 1015091 h 1015091"/>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23432 h 1021455"/>
              <a:gd name="connsiteX1" fmla="*/ 4604754 w 4604754"/>
              <a:gd name="connsiteY1" fmla="*/ 1021455 h 1021455"/>
              <a:gd name="connsiteX0" fmla="*/ 0 w 4621488"/>
              <a:gd name="connsiteY0" fmla="*/ 28563 h 866964"/>
              <a:gd name="connsiteX1" fmla="*/ 4621488 w 4621488"/>
              <a:gd name="connsiteY1" fmla="*/ 866966 h 866964"/>
              <a:gd name="connsiteX0" fmla="*/ 0 w 4621488"/>
              <a:gd name="connsiteY0" fmla="*/ 35875 h 874276"/>
              <a:gd name="connsiteX1" fmla="*/ 4621488 w 4621488"/>
              <a:gd name="connsiteY1" fmla="*/ 874278 h 874276"/>
              <a:gd name="connsiteX0" fmla="*/ 2 w 4634037"/>
              <a:gd name="connsiteY0" fmla="*/ 44537 h 763234"/>
              <a:gd name="connsiteX1" fmla="*/ 4634037 w 4634037"/>
              <a:gd name="connsiteY1" fmla="*/ 763236 h 763234"/>
              <a:gd name="connsiteX0" fmla="*/ 2 w 4634037"/>
              <a:gd name="connsiteY0" fmla="*/ -3 h 718694"/>
              <a:gd name="connsiteX1" fmla="*/ 4634037 w 4634037"/>
              <a:gd name="connsiteY1" fmla="*/ 718696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1413475"/>
              <a:gd name="connsiteY0" fmla="*/ 606407 h 728390"/>
              <a:gd name="connsiteX1" fmla="*/ 1413474 w 1413475"/>
              <a:gd name="connsiteY1" fmla="*/ 126977 h 728390"/>
              <a:gd name="connsiteX0" fmla="*/ 2 w 1413475"/>
              <a:gd name="connsiteY0" fmla="*/ 479431 h 721543"/>
              <a:gd name="connsiteX1" fmla="*/ 1413474 w 1413475"/>
              <a:gd name="connsiteY1" fmla="*/ 1 h 721543"/>
              <a:gd name="connsiteX0" fmla="*/ 3 w 1605506"/>
              <a:gd name="connsiteY0" fmla="*/ 487353 h 727739"/>
              <a:gd name="connsiteX1" fmla="*/ 1605505 w 1605506"/>
              <a:gd name="connsiteY1" fmla="*/ 1 h 727739"/>
              <a:gd name="connsiteX0" fmla="*/ 3 w 1605506"/>
              <a:gd name="connsiteY0" fmla="*/ 487353 h 595674"/>
              <a:gd name="connsiteX1" fmla="*/ 1605505 w 1605506"/>
              <a:gd name="connsiteY1" fmla="*/ 1 h 595674"/>
              <a:gd name="connsiteX0" fmla="*/ 3 w 1573179"/>
              <a:gd name="connsiteY0" fmla="*/ 635014 h 720486"/>
              <a:gd name="connsiteX1" fmla="*/ 1573180 w 1573179"/>
              <a:gd name="connsiteY1" fmla="*/ 1 h 720486"/>
              <a:gd name="connsiteX0" fmla="*/ 3 w 1573179"/>
              <a:gd name="connsiteY0" fmla="*/ 635014 h 727984"/>
              <a:gd name="connsiteX1" fmla="*/ 1573180 w 1573179"/>
              <a:gd name="connsiteY1" fmla="*/ 1 h 727984"/>
              <a:gd name="connsiteX0" fmla="*/ 3 w 1619069"/>
              <a:gd name="connsiteY0" fmla="*/ 464741 h 589089"/>
              <a:gd name="connsiteX1" fmla="*/ 1619069 w 1619069"/>
              <a:gd name="connsiteY1" fmla="*/ 1 h 589089"/>
              <a:gd name="connsiteX0" fmla="*/ 3 w 1619069"/>
              <a:gd name="connsiteY0" fmla="*/ 464741 h 644508"/>
              <a:gd name="connsiteX1" fmla="*/ 1619069 w 1619069"/>
              <a:gd name="connsiteY1" fmla="*/ 1 h 644508"/>
              <a:gd name="connsiteX0" fmla="*/ 3 w 1619069"/>
              <a:gd name="connsiteY0" fmla="*/ 464741 h 573752"/>
              <a:gd name="connsiteX1" fmla="*/ 1619069 w 1619069"/>
              <a:gd name="connsiteY1" fmla="*/ 1 h 573752"/>
              <a:gd name="connsiteX0" fmla="*/ 3 w 1619069"/>
              <a:gd name="connsiteY0" fmla="*/ 496657 h 598698"/>
              <a:gd name="connsiteX1" fmla="*/ 1619069 w 1619069"/>
              <a:gd name="connsiteY1" fmla="*/ 0 h 598698"/>
              <a:gd name="connsiteX0" fmla="*/ 3 w 7916977"/>
              <a:gd name="connsiteY0" fmla="*/ 2826772 h 2841912"/>
              <a:gd name="connsiteX1" fmla="*/ 7916977 w 7916977"/>
              <a:gd name="connsiteY1" fmla="*/ 0 h 2841912"/>
              <a:gd name="connsiteX0" fmla="*/ 3 w 7916977"/>
              <a:gd name="connsiteY0" fmla="*/ 2826772 h 2846255"/>
              <a:gd name="connsiteX1" fmla="*/ 7916977 w 7916977"/>
              <a:gd name="connsiteY1" fmla="*/ 0 h 2846255"/>
              <a:gd name="connsiteX0" fmla="*/ 3 w 7916977"/>
              <a:gd name="connsiteY0" fmla="*/ 2826772 h 3052074"/>
              <a:gd name="connsiteX1" fmla="*/ 7916977 w 7916977"/>
              <a:gd name="connsiteY1" fmla="*/ 0 h 3052074"/>
              <a:gd name="connsiteX0" fmla="*/ 3 w 7916977"/>
              <a:gd name="connsiteY0" fmla="*/ 2826772 h 3005674"/>
              <a:gd name="connsiteX1" fmla="*/ 7916977 w 7916977"/>
              <a:gd name="connsiteY1" fmla="*/ 0 h 3005674"/>
              <a:gd name="connsiteX0" fmla="*/ 0 w 7916977"/>
              <a:gd name="connsiteY0" fmla="*/ 2778890 h 2960467"/>
              <a:gd name="connsiteX1" fmla="*/ 7916977 w 7916977"/>
              <a:gd name="connsiteY1" fmla="*/ 0 h 2960467"/>
              <a:gd name="connsiteX0" fmla="*/ 0 w 7933419"/>
              <a:gd name="connsiteY0" fmla="*/ 2794848 h 2975527"/>
              <a:gd name="connsiteX1" fmla="*/ 7933419 w 7933419"/>
              <a:gd name="connsiteY1" fmla="*/ 0 h 2975527"/>
              <a:gd name="connsiteX0" fmla="*/ 0 w 7933419"/>
              <a:gd name="connsiteY0" fmla="*/ 2794848 h 3006384"/>
              <a:gd name="connsiteX1" fmla="*/ 7933419 w 7933419"/>
              <a:gd name="connsiteY1" fmla="*/ 0 h 3006384"/>
              <a:gd name="connsiteX0" fmla="*/ 0 w 7867644"/>
              <a:gd name="connsiteY0" fmla="*/ 2794848 h 3006384"/>
              <a:gd name="connsiteX1" fmla="*/ 7867644 w 7867644"/>
              <a:gd name="connsiteY1" fmla="*/ 0 h 3006384"/>
              <a:gd name="connsiteX0" fmla="*/ 0 w 3197651"/>
              <a:gd name="connsiteY0" fmla="*/ 0 h 1011361"/>
              <a:gd name="connsiteX1" fmla="*/ 3197651 w 3197651"/>
              <a:gd name="connsiteY1" fmla="*/ 349213 h 1011361"/>
              <a:gd name="connsiteX0" fmla="*/ 0 w 3197651"/>
              <a:gd name="connsiteY0" fmla="*/ 0 h 551058"/>
              <a:gd name="connsiteX1" fmla="*/ 3197651 w 3197651"/>
              <a:gd name="connsiteY1" fmla="*/ 349213 h 551058"/>
              <a:gd name="connsiteX0" fmla="*/ 0 w 3197651"/>
              <a:gd name="connsiteY0" fmla="*/ 0 h 499390"/>
              <a:gd name="connsiteX1" fmla="*/ 3197651 w 3197651"/>
              <a:gd name="connsiteY1" fmla="*/ 349213 h 499390"/>
              <a:gd name="connsiteX0" fmla="*/ 0 w 3197651"/>
              <a:gd name="connsiteY0" fmla="*/ 0 h 421477"/>
              <a:gd name="connsiteX1" fmla="*/ 3197651 w 3197651"/>
              <a:gd name="connsiteY1" fmla="*/ 349213 h 421477"/>
              <a:gd name="connsiteX0" fmla="*/ 0 w 3197651"/>
              <a:gd name="connsiteY0" fmla="*/ 0 h 480912"/>
              <a:gd name="connsiteX1" fmla="*/ 3197651 w 3197651"/>
              <a:gd name="connsiteY1" fmla="*/ 349213 h 480912"/>
              <a:gd name="connsiteX0" fmla="*/ 0 w 3181202"/>
              <a:gd name="connsiteY0" fmla="*/ 0 h 617329"/>
              <a:gd name="connsiteX1" fmla="*/ 3181202 w 3181202"/>
              <a:gd name="connsiteY1" fmla="*/ 540729 h 617329"/>
              <a:gd name="connsiteX0" fmla="*/ 0 w 3181202"/>
              <a:gd name="connsiteY0" fmla="*/ 0 h 589454"/>
              <a:gd name="connsiteX1" fmla="*/ 3181202 w 3181202"/>
              <a:gd name="connsiteY1" fmla="*/ 540729 h 589454"/>
              <a:gd name="connsiteX0" fmla="*/ 0 w 3164753"/>
              <a:gd name="connsiteY0" fmla="*/ 0 h 602523"/>
              <a:gd name="connsiteX1" fmla="*/ 3164753 w 3164753"/>
              <a:gd name="connsiteY1" fmla="*/ 556687 h 602523"/>
              <a:gd name="connsiteX0" fmla="*/ 0 w 3164753"/>
              <a:gd name="connsiteY0" fmla="*/ 0 h 585741"/>
              <a:gd name="connsiteX1" fmla="*/ 3164753 w 3164753"/>
              <a:gd name="connsiteY1" fmla="*/ 556687 h 585741"/>
              <a:gd name="connsiteX0" fmla="*/ 0 w 3164753"/>
              <a:gd name="connsiteY0" fmla="*/ 0 h 588616"/>
              <a:gd name="connsiteX1" fmla="*/ 3164753 w 3164753"/>
              <a:gd name="connsiteY1" fmla="*/ 556687 h 588616"/>
              <a:gd name="connsiteX0" fmla="*/ 0 w 4184262"/>
              <a:gd name="connsiteY0" fmla="*/ 0 h 1346832"/>
              <a:gd name="connsiteX1" fmla="*/ 4184262 w 4184262"/>
              <a:gd name="connsiteY1" fmla="*/ 1338715 h 1346832"/>
              <a:gd name="connsiteX0" fmla="*/ 0 w 4184262"/>
              <a:gd name="connsiteY0" fmla="*/ 0 h 1338716"/>
              <a:gd name="connsiteX1" fmla="*/ 4184262 w 4184262"/>
              <a:gd name="connsiteY1" fmla="*/ 1338715 h 1338716"/>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7922444"/>
              <a:gd name="connsiteY0" fmla="*/ 0 h 1354674"/>
              <a:gd name="connsiteX1" fmla="*/ 7922444 w 7922444"/>
              <a:gd name="connsiteY1" fmla="*/ 1354674 h 1354674"/>
              <a:gd name="connsiteX0" fmla="*/ 0 w 7922444"/>
              <a:gd name="connsiteY0" fmla="*/ 0 h 1354674"/>
              <a:gd name="connsiteX1" fmla="*/ 7922444 w 7922444"/>
              <a:gd name="connsiteY1" fmla="*/ 1354674 h 1354674"/>
              <a:gd name="connsiteX0" fmla="*/ 0 w 7922444"/>
              <a:gd name="connsiteY0" fmla="*/ 0 h 1967324"/>
              <a:gd name="connsiteX1" fmla="*/ 7922444 w 7922444"/>
              <a:gd name="connsiteY1" fmla="*/ 1354674 h 1967324"/>
              <a:gd name="connsiteX0" fmla="*/ 0 w 7856669"/>
              <a:gd name="connsiteY0" fmla="*/ 0 h 1882889"/>
              <a:gd name="connsiteX1" fmla="*/ 7856669 w 7856669"/>
              <a:gd name="connsiteY1" fmla="*/ 1120598 h 1882889"/>
              <a:gd name="connsiteX0" fmla="*/ 0 w 7856669"/>
              <a:gd name="connsiteY0" fmla="*/ 0 h 1907225"/>
              <a:gd name="connsiteX1" fmla="*/ 7856669 w 7856669"/>
              <a:gd name="connsiteY1" fmla="*/ 1120598 h 1907225"/>
              <a:gd name="connsiteX0" fmla="*/ 0 w 7856669"/>
              <a:gd name="connsiteY0" fmla="*/ 0 h 1953216"/>
              <a:gd name="connsiteX1" fmla="*/ 7856669 w 7856669"/>
              <a:gd name="connsiteY1" fmla="*/ 1120598 h 1953216"/>
              <a:gd name="connsiteX0" fmla="*/ 0 w 6146531"/>
              <a:gd name="connsiteY0" fmla="*/ 0 h 2377876"/>
              <a:gd name="connsiteX1" fmla="*/ 6146531 w 6146531"/>
              <a:gd name="connsiteY1" fmla="*/ 2120738 h 2377876"/>
              <a:gd name="connsiteX0" fmla="*/ 0 w 6146531"/>
              <a:gd name="connsiteY0" fmla="*/ 0 h 2353527"/>
              <a:gd name="connsiteX1" fmla="*/ 6146531 w 6146531"/>
              <a:gd name="connsiteY1" fmla="*/ 2120738 h 2353527"/>
              <a:gd name="connsiteX0" fmla="*/ 0 w 6146531"/>
              <a:gd name="connsiteY0" fmla="*/ 0 h 2120739"/>
              <a:gd name="connsiteX1" fmla="*/ 6146531 w 6146531"/>
              <a:gd name="connsiteY1" fmla="*/ 2120738 h 2120739"/>
              <a:gd name="connsiteX0" fmla="*/ 0 w 6124606"/>
              <a:gd name="connsiteY0" fmla="*/ 0 h 2227137"/>
              <a:gd name="connsiteX1" fmla="*/ 6124606 w 6124606"/>
              <a:gd name="connsiteY1" fmla="*/ 2227137 h 2227137"/>
              <a:gd name="connsiteX0" fmla="*/ 0 w 6124606"/>
              <a:gd name="connsiteY0" fmla="*/ 0 h 2227137"/>
              <a:gd name="connsiteX1" fmla="*/ 6124606 w 6124606"/>
              <a:gd name="connsiteY1" fmla="*/ 2227137 h 2227137"/>
              <a:gd name="connsiteX0" fmla="*/ 0 w 6080756"/>
              <a:gd name="connsiteY0" fmla="*/ 0 h 1993062"/>
              <a:gd name="connsiteX1" fmla="*/ 6080756 w 6080756"/>
              <a:gd name="connsiteY1" fmla="*/ 1993062 h 1993062"/>
              <a:gd name="connsiteX0" fmla="*/ 0 w 6080756"/>
              <a:gd name="connsiteY0" fmla="*/ 0 h 2056901"/>
              <a:gd name="connsiteX1" fmla="*/ 6080756 w 6080756"/>
              <a:gd name="connsiteY1" fmla="*/ 2056901 h 2056901"/>
              <a:gd name="connsiteX0" fmla="*/ 0 w 6080756"/>
              <a:gd name="connsiteY0" fmla="*/ 0 h 2056901"/>
              <a:gd name="connsiteX1" fmla="*/ 6080756 w 6080756"/>
              <a:gd name="connsiteY1" fmla="*/ 2056901 h 2056901"/>
              <a:gd name="connsiteX0" fmla="*/ 0 w 6080756"/>
              <a:gd name="connsiteY0" fmla="*/ 0 h 2056901"/>
              <a:gd name="connsiteX1" fmla="*/ 6080756 w 6080756"/>
              <a:gd name="connsiteY1" fmla="*/ 2056901 h 2056901"/>
              <a:gd name="connsiteX0" fmla="*/ 0 w 6064314"/>
              <a:gd name="connsiteY0" fmla="*/ 0 h 2072866"/>
              <a:gd name="connsiteX1" fmla="*/ 6064314 w 6064314"/>
              <a:gd name="connsiteY1" fmla="*/ 2072866 h 2072866"/>
              <a:gd name="connsiteX0" fmla="*/ 0 w 7215365"/>
              <a:gd name="connsiteY0" fmla="*/ 0 h 3493277"/>
              <a:gd name="connsiteX1" fmla="*/ 7215365 w 7215365"/>
              <a:gd name="connsiteY1" fmla="*/ 3493277 h 3493277"/>
              <a:gd name="connsiteX0" fmla="*/ 0 w 7215365"/>
              <a:gd name="connsiteY0" fmla="*/ 0 h 3493277"/>
              <a:gd name="connsiteX1" fmla="*/ 7215365 w 7215365"/>
              <a:gd name="connsiteY1" fmla="*/ 3493277 h 3493277"/>
              <a:gd name="connsiteX0" fmla="*/ 0 w 7182481"/>
              <a:gd name="connsiteY0" fmla="*/ 0 h 3493277"/>
              <a:gd name="connsiteX1" fmla="*/ 7182481 w 7182481"/>
              <a:gd name="connsiteY1" fmla="*/ 3493277 h 3493277"/>
              <a:gd name="connsiteX0" fmla="*/ 0 w 7182481"/>
              <a:gd name="connsiteY0" fmla="*/ 0 h 3493277"/>
              <a:gd name="connsiteX1" fmla="*/ 7182481 w 7182481"/>
              <a:gd name="connsiteY1" fmla="*/ 3493277 h 3493277"/>
              <a:gd name="connsiteX0" fmla="*/ 0 w 7264704"/>
              <a:gd name="connsiteY0" fmla="*/ 0 h 3397516"/>
              <a:gd name="connsiteX1" fmla="*/ 7264704 w 7264704"/>
              <a:gd name="connsiteY1" fmla="*/ 3397516 h 3397516"/>
              <a:gd name="connsiteX0" fmla="*/ 0 w 7346927"/>
              <a:gd name="connsiteY0" fmla="*/ 0 h 3237916"/>
              <a:gd name="connsiteX1" fmla="*/ 7346927 w 7346927"/>
              <a:gd name="connsiteY1" fmla="*/ 3237916 h 3237916"/>
              <a:gd name="connsiteX0" fmla="*/ 0 w 7346927"/>
              <a:gd name="connsiteY0" fmla="*/ 0 h 3237916"/>
              <a:gd name="connsiteX1" fmla="*/ 7346927 w 7346927"/>
              <a:gd name="connsiteY1" fmla="*/ 3237916 h 3237916"/>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3625180"/>
              <a:gd name="connsiteY0" fmla="*/ 0 h 2062210"/>
              <a:gd name="connsiteX1" fmla="*/ 3625180 w 3625180"/>
              <a:gd name="connsiteY1" fmla="*/ 2062210 h 2062210"/>
              <a:gd name="connsiteX0" fmla="*/ 0 w 3625180"/>
              <a:gd name="connsiteY0" fmla="*/ 0 h 2062210"/>
              <a:gd name="connsiteX1" fmla="*/ 3625180 w 3625180"/>
              <a:gd name="connsiteY1" fmla="*/ 2062210 h 2062210"/>
              <a:gd name="connsiteX0" fmla="*/ 0 w 2997182"/>
              <a:gd name="connsiteY0" fmla="*/ 0 h 2670861"/>
              <a:gd name="connsiteX1" fmla="*/ 2997184 w 2997182"/>
              <a:gd name="connsiteY1" fmla="*/ 2670860 h 2670861"/>
              <a:gd name="connsiteX0" fmla="*/ 0 w 2997182"/>
              <a:gd name="connsiteY0" fmla="*/ 0 h 2670861"/>
              <a:gd name="connsiteX1" fmla="*/ 2997184 w 2997182"/>
              <a:gd name="connsiteY1" fmla="*/ 2670860 h 2670861"/>
              <a:gd name="connsiteX0" fmla="*/ 0 w 5064869"/>
              <a:gd name="connsiteY0" fmla="*/ 0 h 5702709"/>
              <a:gd name="connsiteX1" fmla="*/ 5064872 w 5064869"/>
              <a:gd name="connsiteY1" fmla="*/ 5702710 h 5702709"/>
              <a:gd name="connsiteX0" fmla="*/ 0 w 5064869"/>
              <a:gd name="connsiteY0" fmla="*/ 0 h 5702709"/>
              <a:gd name="connsiteX1" fmla="*/ 3910907 w 5064869"/>
              <a:gd name="connsiteY1" fmla="*/ 2543897 h 5702709"/>
              <a:gd name="connsiteX2" fmla="*/ 5064872 w 5064869"/>
              <a:gd name="connsiteY2" fmla="*/ 5702710 h 5702709"/>
              <a:gd name="connsiteX0" fmla="*/ 0 w 5064869"/>
              <a:gd name="connsiteY0" fmla="*/ 0 h 5702709"/>
              <a:gd name="connsiteX1" fmla="*/ 3910907 w 5064869"/>
              <a:gd name="connsiteY1" fmla="*/ 2543897 h 5702709"/>
              <a:gd name="connsiteX2" fmla="*/ 5064872 w 5064869"/>
              <a:gd name="connsiteY2" fmla="*/ 5702710 h 5702709"/>
              <a:gd name="connsiteX0" fmla="*/ 0 w 5064869"/>
              <a:gd name="connsiteY0" fmla="*/ 0 h 5702709"/>
              <a:gd name="connsiteX1" fmla="*/ 3910907 w 5064869"/>
              <a:gd name="connsiteY1" fmla="*/ 2543897 h 5702709"/>
              <a:gd name="connsiteX2" fmla="*/ 5064872 w 5064869"/>
              <a:gd name="connsiteY2" fmla="*/ 5702710 h 5702709"/>
              <a:gd name="connsiteX0" fmla="*/ 0 w 5064869"/>
              <a:gd name="connsiteY0" fmla="*/ 0 h 5702709"/>
              <a:gd name="connsiteX1" fmla="*/ 3910907 w 5064869"/>
              <a:gd name="connsiteY1" fmla="*/ 2543897 h 5702709"/>
              <a:gd name="connsiteX2" fmla="*/ 5064872 w 5064869"/>
              <a:gd name="connsiteY2" fmla="*/ 5702710 h 5702709"/>
            </a:gdLst>
            <a:ahLst/>
            <a:cxnLst>
              <a:cxn ang="0">
                <a:pos x="connsiteX0" y="connsiteY0"/>
              </a:cxn>
              <a:cxn ang="0">
                <a:pos x="connsiteX1" y="connsiteY1"/>
              </a:cxn>
              <a:cxn ang="0">
                <a:pos x="connsiteX2" y="connsiteY2"/>
              </a:cxn>
            </a:cxnLst>
            <a:rect l="l" t="t" r="r" b="b"/>
            <a:pathLst>
              <a:path w="5064869" h="5702709">
                <a:moveTo>
                  <a:pt x="0" y="0"/>
                </a:moveTo>
                <a:cubicBezTo>
                  <a:pt x="809848" y="416488"/>
                  <a:pt x="3256746" y="1361323"/>
                  <a:pt x="3910907" y="2543897"/>
                </a:cubicBezTo>
                <a:cubicBezTo>
                  <a:pt x="4517485" y="3806383"/>
                  <a:pt x="4426312" y="3726650"/>
                  <a:pt x="5064872" y="5702710"/>
                </a:cubicBezTo>
              </a:path>
            </a:pathLst>
          </a:custGeom>
          <a:noFill/>
          <a:ln w="12700" cap="flat" cmpd="sng" algn="ctr">
            <a:solidFill>
              <a:srgbClr val="13835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de-DE"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3" name="Oval 30"/>
          <p:cNvSpPr/>
          <p:nvPr/>
        </p:nvSpPr>
        <p:spPr bwMode="auto">
          <a:xfrm>
            <a:off x="4187588" y="3290263"/>
            <a:ext cx="187200" cy="187200"/>
          </a:xfrm>
          <a:prstGeom prst="ellipse">
            <a:avLst/>
          </a:prstGeom>
          <a:gradFill>
            <a:gsLst>
              <a:gs pos="100000">
                <a:srgbClr val="B889DB"/>
              </a:gs>
              <a:gs pos="0">
                <a:srgbClr val="E4D2F2"/>
              </a:gs>
            </a:gsLst>
            <a:lin ang="5400000" scaled="1"/>
          </a:gradFill>
          <a:ln w="15875" cap="flat" cmpd="sng" algn="ctr">
            <a:solidFill>
              <a:srgbClr val="5F2987"/>
            </a:solidFill>
            <a:prstDash val="solid"/>
            <a:round/>
            <a:headEnd type="none" w="med" len="med"/>
            <a:tailEnd type="none" w="med" len="med"/>
          </a:ln>
          <a:effectLst/>
        </p:spPr>
        <p:txBody>
          <a:bodyPr vert="horz" wrap="non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1050" b="1" i="0" u="none" strike="noStrike" kern="1200" cap="none" spc="0" normalizeH="0" baseline="0" noProof="0" dirty="0" smtClean="0">
                <a:ln>
                  <a:noFill/>
                </a:ln>
                <a:solidFill>
                  <a:srgbClr val="5F2987"/>
                </a:solidFill>
                <a:effectLst/>
                <a:uLnTx/>
                <a:uFillTx/>
                <a:latin typeface="Arial" panose="020B0604020202020204" pitchFamily="34" charset="0"/>
                <a:ea typeface="+mn-ea"/>
                <a:cs typeface="Arial" panose="020B0604020202020204" pitchFamily="34" charset="0"/>
              </a:rPr>
              <a:t>16</a:t>
            </a:r>
          </a:p>
        </p:txBody>
      </p:sp>
      <p:cxnSp>
        <p:nvCxnSpPr>
          <p:cNvPr id="174" name="Straight Connector 63"/>
          <p:cNvCxnSpPr>
            <a:cxnSpLocks/>
            <a:endCxn id="173" idx="5"/>
          </p:cNvCxnSpPr>
          <p:nvPr/>
        </p:nvCxnSpPr>
        <p:spPr bwMode="auto">
          <a:xfrm flipH="1" flipV="1">
            <a:off x="4347373" y="3450048"/>
            <a:ext cx="72000" cy="92760"/>
          </a:xfrm>
          <a:prstGeom prst="line">
            <a:avLst/>
          </a:prstGeom>
          <a:solidFill>
            <a:schemeClr val="accent1"/>
          </a:solidFill>
          <a:ln w="9525" cap="flat" cmpd="sng" algn="ctr">
            <a:solidFill>
              <a:srgbClr val="5F2987"/>
            </a:solidFill>
            <a:prstDash val="solid"/>
            <a:round/>
            <a:headEnd type="none" w="med" len="med"/>
            <a:tailEnd type="none" w="med" len="med"/>
          </a:ln>
          <a:effectLst/>
        </p:spPr>
      </p:cxnSp>
      <p:sp>
        <p:nvSpPr>
          <p:cNvPr id="175" name="Rectangle 87"/>
          <p:cNvSpPr/>
          <p:nvPr/>
        </p:nvSpPr>
        <p:spPr>
          <a:xfrm>
            <a:off x="4429023" y="3318566"/>
            <a:ext cx="1350251" cy="498598"/>
          </a:xfrm>
          <a:prstGeom prst="rect">
            <a:avLst/>
          </a:prstGeom>
        </p:spPr>
        <p:txBody>
          <a:bodyPr wrap="square" lIns="0" tIns="0" rIns="0" bIns="0">
            <a:spAutoFit/>
          </a:bodyPr>
          <a:lstStyle/>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1200" cap="none" spc="0" normalizeH="0" baseline="0" noProof="0" dirty="0">
                <a:ln>
                  <a:noFill/>
                </a:ln>
                <a:solidFill>
                  <a:srgbClr val="5F2987"/>
                </a:solidFill>
                <a:effectLst/>
                <a:uLnTx/>
                <a:uFillTx/>
                <a:latin typeface="Arial" panose="020B0604020202020204" pitchFamily="34" charset="0"/>
                <a:ea typeface="+mn-ea"/>
                <a:cs typeface="Arial" panose="020B0604020202020204" pitchFamily="34" charset="0"/>
              </a:rPr>
              <a:t>Bewusstseins-</a:t>
            </a:r>
          </a:p>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1200" cap="none" spc="0" normalizeH="0" baseline="0" noProof="0" dirty="0" err="1">
                <a:ln>
                  <a:noFill/>
                </a:ln>
                <a:solidFill>
                  <a:srgbClr val="5F2987"/>
                </a:solidFill>
                <a:effectLst/>
                <a:uLnTx/>
                <a:uFillTx/>
                <a:latin typeface="Arial" panose="020B0604020202020204" pitchFamily="34" charset="0"/>
                <a:ea typeface="+mn-ea"/>
                <a:cs typeface="Arial" panose="020B0604020202020204" pitchFamily="34" charset="0"/>
              </a:rPr>
              <a:t>bildung</a:t>
            </a:r>
            <a:r>
              <a:rPr kumimoji="0" lang="de-DE" sz="900" b="1" i="0" u="none" strike="noStrike" kern="1200" cap="none" spc="0" normalizeH="0" baseline="0" noProof="0" dirty="0">
                <a:ln>
                  <a:noFill/>
                </a:ln>
                <a:solidFill>
                  <a:srgbClr val="5F2987"/>
                </a:solidFill>
                <a:effectLst/>
                <a:uLnTx/>
                <a:uFillTx/>
                <a:latin typeface="Arial" panose="020B0604020202020204" pitchFamily="34" charset="0"/>
                <a:ea typeface="+mn-ea"/>
                <a:cs typeface="Arial" panose="020B0604020202020204" pitchFamily="34" charset="0"/>
              </a:rPr>
              <a:t> und </a:t>
            </a:r>
          </a:p>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1200" cap="none" spc="0" normalizeH="0" baseline="0" noProof="0" dirty="0">
                <a:ln>
                  <a:noFill/>
                </a:ln>
                <a:solidFill>
                  <a:srgbClr val="5F2987"/>
                </a:solidFill>
                <a:effectLst/>
                <a:uLnTx/>
                <a:uFillTx/>
                <a:latin typeface="Arial" panose="020B0604020202020204" pitchFamily="34" charset="0"/>
                <a:ea typeface="+mn-ea"/>
                <a:cs typeface="Arial" panose="020B0604020202020204" pitchFamily="34" charset="0"/>
              </a:rPr>
              <a:t>Veränderungs-bereitschaft </a:t>
            </a:r>
          </a:p>
        </p:txBody>
      </p:sp>
      <p:sp>
        <p:nvSpPr>
          <p:cNvPr id="176" name="Oval 30"/>
          <p:cNvSpPr/>
          <p:nvPr/>
        </p:nvSpPr>
        <p:spPr bwMode="auto">
          <a:xfrm>
            <a:off x="4030377" y="3299379"/>
            <a:ext cx="187200" cy="187200"/>
          </a:xfrm>
          <a:prstGeom prst="ellipse">
            <a:avLst/>
          </a:prstGeom>
          <a:gradFill>
            <a:gsLst>
              <a:gs pos="100000">
                <a:srgbClr val="B889DB"/>
              </a:gs>
              <a:gs pos="0">
                <a:srgbClr val="E4D2F2"/>
              </a:gs>
            </a:gsLst>
            <a:lin ang="5400000" scaled="1"/>
          </a:gradFill>
          <a:ln w="15875" cap="flat" cmpd="sng" algn="ctr">
            <a:solidFill>
              <a:srgbClr val="5F2987"/>
            </a:solidFill>
            <a:prstDash val="solid"/>
            <a:round/>
            <a:headEnd type="none" w="med" len="med"/>
            <a:tailEnd type="none" w="med" len="med"/>
          </a:ln>
          <a:effectLst/>
        </p:spPr>
        <p:txBody>
          <a:bodyPr vert="horz" wrap="non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1050" b="1" i="0" u="none" strike="noStrike" kern="1200" cap="none" spc="0" normalizeH="0" baseline="0" noProof="0" dirty="0" smtClean="0">
                <a:ln>
                  <a:noFill/>
                </a:ln>
                <a:solidFill>
                  <a:srgbClr val="5F2987"/>
                </a:solidFill>
                <a:effectLst/>
                <a:uLnTx/>
                <a:uFillTx/>
                <a:latin typeface="Arial" panose="020B0604020202020204" pitchFamily="34" charset="0"/>
                <a:ea typeface="+mn-ea"/>
                <a:cs typeface="Arial" panose="020B0604020202020204" pitchFamily="34" charset="0"/>
              </a:rPr>
              <a:t>13</a:t>
            </a:r>
          </a:p>
        </p:txBody>
      </p:sp>
      <p:sp>
        <p:nvSpPr>
          <p:cNvPr id="177" name="Rectangle 87"/>
          <p:cNvSpPr/>
          <p:nvPr/>
        </p:nvSpPr>
        <p:spPr>
          <a:xfrm>
            <a:off x="3573648" y="3484836"/>
            <a:ext cx="845725" cy="249299"/>
          </a:xfrm>
          <a:prstGeom prst="rect">
            <a:avLst/>
          </a:prstGeom>
        </p:spPr>
        <p:txBody>
          <a:bodyPr wrap="square" lIns="0" tIns="0" rIns="0" bIns="0">
            <a:spAutoFit/>
          </a:bodyPr>
          <a:lstStyle/>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1200" cap="none" spc="0" normalizeH="0" baseline="0" noProof="0" dirty="0">
                <a:ln>
                  <a:noFill/>
                </a:ln>
                <a:solidFill>
                  <a:srgbClr val="5F2987"/>
                </a:solidFill>
                <a:effectLst/>
                <a:uLnTx/>
                <a:uFillTx/>
                <a:latin typeface="Arial" panose="020B0604020202020204" pitchFamily="34" charset="0"/>
                <a:ea typeface="+mn-ea"/>
                <a:cs typeface="Arial" panose="020B0604020202020204" pitchFamily="34" charset="0"/>
              </a:rPr>
              <a:t>Community Building</a:t>
            </a:r>
          </a:p>
        </p:txBody>
      </p:sp>
      <p:sp>
        <p:nvSpPr>
          <p:cNvPr id="178" name="Oval 30"/>
          <p:cNvSpPr/>
          <p:nvPr/>
        </p:nvSpPr>
        <p:spPr bwMode="auto">
          <a:xfrm>
            <a:off x="3345232" y="3486206"/>
            <a:ext cx="187200" cy="187200"/>
          </a:xfrm>
          <a:prstGeom prst="ellipse">
            <a:avLst/>
          </a:prstGeom>
          <a:gradFill>
            <a:gsLst>
              <a:gs pos="100000">
                <a:srgbClr val="B889DB"/>
              </a:gs>
              <a:gs pos="0">
                <a:srgbClr val="E4D2F2"/>
              </a:gs>
            </a:gsLst>
            <a:lin ang="5400000" scaled="1"/>
          </a:gradFill>
          <a:ln w="15875" cap="flat" cmpd="sng" algn="ctr">
            <a:solidFill>
              <a:srgbClr val="5F2987"/>
            </a:solidFill>
            <a:prstDash val="solid"/>
            <a:round/>
            <a:headEnd type="none" w="med" len="med"/>
            <a:tailEnd type="none" w="med" len="med"/>
          </a:ln>
          <a:effectLst/>
        </p:spPr>
        <p:txBody>
          <a:bodyPr vert="horz" wrap="non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1050" b="1" i="0" u="none" strike="noStrike" kern="1200" cap="none" spc="0" normalizeH="0" baseline="0" noProof="0" dirty="0" smtClean="0">
                <a:ln>
                  <a:noFill/>
                </a:ln>
                <a:solidFill>
                  <a:srgbClr val="5F2987"/>
                </a:solidFill>
                <a:effectLst/>
                <a:uLnTx/>
                <a:uFillTx/>
                <a:latin typeface="Arial" panose="020B0604020202020204" pitchFamily="34" charset="0"/>
                <a:ea typeface="+mn-ea"/>
                <a:cs typeface="Arial" panose="020B0604020202020204" pitchFamily="34" charset="0"/>
              </a:rPr>
              <a:t>1</a:t>
            </a:r>
            <a:r>
              <a:rPr kumimoji="0" lang="de-DE" sz="1050" b="1" i="0" u="none" strike="noStrike" kern="1200" cap="none" spc="0" normalizeH="0" baseline="0" noProof="0" dirty="0">
                <a:ln>
                  <a:noFill/>
                </a:ln>
                <a:solidFill>
                  <a:srgbClr val="5F2987"/>
                </a:solidFill>
                <a:effectLst/>
                <a:uLnTx/>
                <a:uFillTx/>
                <a:latin typeface="Arial" panose="020B0604020202020204" pitchFamily="34" charset="0"/>
                <a:ea typeface="+mn-ea"/>
                <a:cs typeface="Arial" panose="020B0604020202020204" pitchFamily="34" charset="0"/>
              </a:rPr>
              <a:t>8</a:t>
            </a:r>
            <a:endParaRPr kumimoji="0" lang="de-DE" sz="1050" b="1" i="0" u="none" strike="noStrike" kern="1200" cap="none" spc="0" normalizeH="0" baseline="0" noProof="0" dirty="0" smtClean="0">
              <a:ln>
                <a:noFill/>
              </a:ln>
              <a:solidFill>
                <a:srgbClr val="5F2987"/>
              </a:solidFill>
              <a:effectLst/>
              <a:uLnTx/>
              <a:uFillTx/>
              <a:latin typeface="Arial" panose="020B0604020202020204" pitchFamily="34" charset="0"/>
              <a:ea typeface="+mn-ea"/>
              <a:cs typeface="Arial" panose="020B0604020202020204" pitchFamily="34" charset="0"/>
            </a:endParaRPr>
          </a:p>
        </p:txBody>
      </p:sp>
      <p:cxnSp>
        <p:nvCxnSpPr>
          <p:cNvPr id="179" name="Straight Connector 63"/>
          <p:cNvCxnSpPr>
            <a:cxnSpLocks/>
          </p:cNvCxnSpPr>
          <p:nvPr/>
        </p:nvCxnSpPr>
        <p:spPr bwMode="auto">
          <a:xfrm flipH="1">
            <a:off x="3462583" y="3262118"/>
            <a:ext cx="45678" cy="211102"/>
          </a:xfrm>
          <a:prstGeom prst="line">
            <a:avLst/>
          </a:prstGeom>
          <a:solidFill>
            <a:schemeClr val="accent1"/>
          </a:solidFill>
          <a:ln w="9525" cap="flat" cmpd="sng" algn="ctr">
            <a:solidFill>
              <a:srgbClr val="5F2987"/>
            </a:solidFill>
            <a:prstDash val="solid"/>
            <a:round/>
            <a:headEnd type="none" w="med" len="med"/>
            <a:tailEnd type="none" w="med" len="med"/>
          </a:ln>
          <a:effectLst/>
        </p:spPr>
      </p:cxnSp>
      <p:sp>
        <p:nvSpPr>
          <p:cNvPr id="180" name="Rectangle 87"/>
          <p:cNvSpPr/>
          <p:nvPr/>
        </p:nvSpPr>
        <p:spPr>
          <a:xfrm>
            <a:off x="3186527" y="3130162"/>
            <a:ext cx="971701" cy="124650"/>
          </a:xfrm>
          <a:prstGeom prst="rect">
            <a:avLst/>
          </a:prstGeom>
        </p:spPr>
        <p:txBody>
          <a:bodyPr wrap="square" lIns="0" tIns="0" rIns="0" bIns="0">
            <a:spAutoFit/>
          </a:bodyPr>
          <a:lstStyle/>
          <a:p>
            <a:pPr marL="0" marR="0" lvl="0" indent="0" algn="l" defTabSz="914400" rtl="0" eaLnBrk="0" fontAlgn="base" latinLnBrk="0" hangingPunct="0">
              <a:lnSpc>
                <a:spcPct val="90000"/>
              </a:lnSpc>
              <a:spcBef>
                <a:spcPct val="0"/>
              </a:spcBef>
              <a:spcAft>
                <a:spcPts val="0"/>
              </a:spcAft>
              <a:buClrTx/>
              <a:buSzTx/>
              <a:buFontTx/>
              <a:buNone/>
              <a:tabLst/>
              <a:defRPr/>
            </a:pPr>
            <a:r>
              <a:rPr kumimoji="0" lang="de-DE" sz="900" b="1" i="0" u="none" strike="noStrike" kern="1200" cap="none" spc="0" normalizeH="0" baseline="0" noProof="0" dirty="0" smtClean="0">
                <a:ln>
                  <a:noFill/>
                </a:ln>
                <a:solidFill>
                  <a:srgbClr val="5F2987"/>
                </a:solidFill>
                <a:effectLst/>
                <a:uLnTx/>
                <a:uFillTx/>
                <a:latin typeface="Arial" panose="020B0604020202020204" pitchFamily="34" charset="0"/>
                <a:ea typeface="+mn-ea"/>
                <a:cs typeface="Arial" panose="020B0604020202020204" pitchFamily="34" charset="0"/>
              </a:rPr>
              <a:t>Finanzierung</a:t>
            </a:r>
            <a:endParaRPr kumimoji="0" lang="de-DE" sz="900" b="1" i="0" u="none" strike="noStrike" kern="1200" cap="none" spc="0" normalizeH="0" baseline="0" noProof="0" dirty="0">
              <a:ln>
                <a:noFill/>
              </a:ln>
              <a:solidFill>
                <a:srgbClr val="5F2987"/>
              </a:solidFill>
              <a:effectLst/>
              <a:uLnTx/>
              <a:uFillTx/>
              <a:latin typeface="Arial" panose="020B0604020202020204" pitchFamily="34" charset="0"/>
              <a:ea typeface="+mn-ea"/>
              <a:cs typeface="Arial" panose="020B0604020202020204" pitchFamily="34" charset="0"/>
            </a:endParaRPr>
          </a:p>
        </p:txBody>
      </p:sp>
      <p:cxnSp>
        <p:nvCxnSpPr>
          <p:cNvPr id="181" name="Straight Connector 63"/>
          <p:cNvCxnSpPr>
            <a:cxnSpLocks/>
          </p:cNvCxnSpPr>
          <p:nvPr/>
        </p:nvCxnSpPr>
        <p:spPr bwMode="auto">
          <a:xfrm flipV="1">
            <a:off x="4021680" y="3459164"/>
            <a:ext cx="36000" cy="36000"/>
          </a:xfrm>
          <a:prstGeom prst="line">
            <a:avLst/>
          </a:prstGeom>
          <a:solidFill>
            <a:schemeClr val="accent1"/>
          </a:solidFill>
          <a:ln w="9525" cap="flat" cmpd="sng" algn="ctr">
            <a:solidFill>
              <a:srgbClr val="5F2987"/>
            </a:solidFill>
            <a:prstDash val="solid"/>
            <a:round/>
            <a:headEnd type="none" w="med" len="med"/>
            <a:tailEnd type="none" w="med" len="med"/>
          </a:ln>
          <a:effectLst/>
        </p:spPr>
      </p:cxnSp>
      <p:sp>
        <p:nvSpPr>
          <p:cNvPr id="150" name="Freeform 103"/>
          <p:cNvSpPr/>
          <p:nvPr/>
        </p:nvSpPr>
        <p:spPr bwMode="auto">
          <a:xfrm rot="1635044">
            <a:off x="2814730" y="2813494"/>
            <a:ext cx="752466" cy="416652"/>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2875322"/>
              <a:gd name="connsiteY0" fmla="*/ 0 h 1850561"/>
              <a:gd name="connsiteX1" fmla="*/ 2875322 w 2875322"/>
              <a:gd name="connsiteY1" fmla="*/ 1850561 h 1850561"/>
              <a:gd name="connsiteX0" fmla="*/ 0 w 2875322"/>
              <a:gd name="connsiteY0" fmla="*/ 0 h 1850561"/>
              <a:gd name="connsiteX1" fmla="*/ 2875322 w 2875322"/>
              <a:gd name="connsiteY1" fmla="*/ 1850561 h 1850561"/>
              <a:gd name="connsiteX0" fmla="*/ 0 w 2894703"/>
              <a:gd name="connsiteY0" fmla="*/ 0 h 1850561"/>
              <a:gd name="connsiteX1" fmla="*/ 2894703 w 2894703"/>
              <a:gd name="connsiteY1" fmla="*/ 1850561 h 1850561"/>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0239"/>
              <a:gd name="connsiteY0" fmla="*/ 0 h 2300301"/>
              <a:gd name="connsiteX1" fmla="*/ 3480239 w 3480239"/>
              <a:gd name="connsiteY1" fmla="*/ 2300301 h 2300301"/>
              <a:gd name="connsiteX0" fmla="*/ 0 w 3480239"/>
              <a:gd name="connsiteY0" fmla="*/ 0 h 2300301"/>
              <a:gd name="connsiteX1" fmla="*/ 3480239 w 348023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521439"/>
              <a:gd name="connsiteY0" fmla="*/ 0 h 2232170"/>
              <a:gd name="connsiteX1" fmla="*/ 3521439 w 3521439"/>
              <a:gd name="connsiteY1" fmla="*/ 2232170 h 2232170"/>
              <a:gd name="connsiteX0" fmla="*/ 0 w 3521439"/>
              <a:gd name="connsiteY0" fmla="*/ 0 h 2232170"/>
              <a:gd name="connsiteX1" fmla="*/ 3521439 w 3521439"/>
              <a:gd name="connsiteY1" fmla="*/ 2232170 h 2232170"/>
              <a:gd name="connsiteX0" fmla="*/ 0 w 3521439"/>
              <a:gd name="connsiteY0" fmla="*/ 0 h 2209460"/>
              <a:gd name="connsiteX1" fmla="*/ 3521439 w 3521439"/>
              <a:gd name="connsiteY1" fmla="*/ 2209460 h 2209460"/>
              <a:gd name="connsiteX0" fmla="*/ 0 w 3521439"/>
              <a:gd name="connsiteY0" fmla="*/ 0 h 2209460"/>
              <a:gd name="connsiteX1" fmla="*/ 3521439 w 3521439"/>
              <a:gd name="connsiteY1" fmla="*/ 2209460 h 2209460"/>
              <a:gd name="connsiteX0" fmla="*/ 0 w 3166484"/>
              <a:gd name="connsiteY0" fmla="*/ 0 h 1509983"/>
              <a:gd name="connsiteX1" fmla="*/ 3166484 w 3166484"/>
              <a:gd name="connsiteY1" fmla="*/ 1509983 h 1509983"/>
              <a:gd name="connsiteX0" fmla="*/ 0 w 2028493"/>
              <a:gd name="connsiteY0" fmla="*/ 0 h 405367"/>
              <a:gd name="connsiteX1" fmla="*/ 2028493 w 2028493"/>
              <a:gd name="connsiteY1" fmla="*/ 62202 h 405367"/>
              <a:gd name="connsiteX0" fmla="*/ 0 w 2028493"/>
              <a:gd name="connsiteY0" fmla="*/ 0 h 410101"/>
              <a:gd name="connsiteX1" fmla="*/ 2028493 w 2028493"/>
              <a:gd name="connsiteY1" fmla="*/ 62202 h 410101"/>
              <a:gd name="connsiteX0" fmla="*/ 0 w 2049034"/>
              <a:gd name="connsiteY0" fmla="*/ 0 h 413154"/>
              <a:gd name="connsiteX1" fmla="*/ 2049034 w 2049034"/>
              <a:gd name="connsiteY1" fmla="*/ 76396 h 413154"/>
              <a:gd name="connsiteX0" fmla="*/ 0 w 2049034"/>
              <a:gd name="connsiteY0" fmla="*/ 143813 h 220209"/>
              <a:gd name="connsiteX1" fmla="*/ 2049034 w 2049034"/>
              <a:gd name="connsiteY1" fmla="*/ 220209 h 220209"/>
              <a:gd name="connsiteX0" fmla="*/ 0 w 2049034"/>
              <a:gd name="connsiteY0" fmla="*/ 154753 h 231149"/>
              <a:gd name="connsiteX1" fmla="*/ 2049034 w 2049034"/>
              <a:gd name="connsiteY1" fmla="*/ 231149 h 231149"/>
              <a:gd name="connsiteX0" fmla="*/ 0 w 2057250"/>
              <a:gd name="connsiteY0" fmla="*/ 145732 h 242000"/>
              <a:gd name="connsiteX1" fmla="*/ 2057250 w 2057250"/>
              <a:gd name="connsiteY1" fmla="*/ 242000 h 242000"/>
              <a:gd name="connsiteX0" fmla="*/ 0 w 2057250"/>
              <a:gd name="connsiteY0" fmla="*/ 155638 h 251906"/>
              <a:gd name="connsiteX1" fmla="*/ 2057250 w 2057250"/>
              <a:gd name="connsiteY1" fmla="*/ 251906 h 251906"/>
              <a:gd name="connsiteX0" fmla="*/ 0 w 2057250"/>
              <a:gd name="connsiteY0" fmla="*/ 154153 h 250421"/>
              <a:gd name="connsiteX1" fmla="*/ 2057250 w 2057250"/>
              <a:gd name="connsiteY1" fmla="*/ 250421 h 250421"/>
              <a:gd name="connsiteX0" fmla="*/ 0 w 2057250"/>
              <a:gd name="connsiteY0" fmla="*/ 175529 h 271797"/>
              <a:gd name="connsiteX1" fmla="*/ 2057250 w 2057250"/>
              <a:gd name="connsiteY1" fmla="*/ 271797 h 271797"/>
              <a:gd name="connsiteX0" fmla="*/ 0 w 1925785"/>
              <a:gd name="connsiteY0" fmla="*/ 146190 h 318159"/>
              <a:gd name="connsiteX1" fmla="*/ 1925785 w 1925785"/>
              <a:gd name="connsiteY1" fmla="*/ 318159 h 318159"/>
              <a:gd name="connsiteX0" fmla="*/ 0 w 1942218"/>
              <a:gd name="connsiteY0" fmla="*/ 143309 h 323795"/>
              <a:gd name="connsiteX1" fmla="*/ 1942218 w 1942218"/>
              <a:gd name="connsiteY1" fmla="*/ 323795 h 323795"/>
              <a:gd name="connsiteX0" fmla="*/ 0 w 1942218"/>
              <a:gd name="connsiteY0" fmla="*/ 1 h 180487"/>
              <a:gd name="connsiteX1" fmla="*/ 1942218 w 1942218"/>
              <a:gd name="connsiteY1" fmla="*/ 180487 h 180487"/>
              <a:gd name="connsiteX0" fmla="*/ 0 w 1966867"/>
              <a:gd name="connsiteY0" fmla="*/ 0 h 171970"/>
              <a:gd name="connsiteX1" fmla="*/ 1966867 w 1966867"/>
              <a:gd name="connsiteY1" fmla="*/ 171971 h 171970"/>
              <a:gd name="connsiteX0" fmla="*/ 0 w 1966867"/>
              <a:gd name="connsiteY0" fmla="*/ 0 h 171971"/>
              <a:gd name="connsiteX1" fmla="*/ 1966867 w 1966867"/>
              <a:gd name="connsiteY1" fmla="*/ 171971 h 171971"/>
              <a:gd name="connsiteX0" fmla="*/ 0 w 1958651"/>
              <a:gd name="connsiteY0" fmla="*/ 0 h 186165"/>
              <a:gd name="connsiteX1" fmla="*/ 1958651 w 1958651"/>
              <a:gd name="connsiteY1" fmla="*/ 186165 h 186165"/>
              <a:gd name="connsiteX0" fmla="*/ 0 w 1954543"/>
              <a:gd name="connsiteY0" fmla="*/ 0 h 203197"/>
              <a:gd name="connsiteX1" fmla="*/ 1954543 w 1954543"/>
              <a:gd name="connsiteY1" fmla="*/ 203197 h 203197"/>
              <a:gd name="connsiteX0" fmla="*/ 0 w 2324286"/>
              <a:gd name="connsiteY0" fmla="*/ 0 h 475721"/>
              <a:gd name="connsiteX1" fmla="*/ 2324286 w 2324286"/>
              <a:gd name="connsiteY1" fmla="*/ 475721 h 475721"/>
              <a:gd name="connsiteX0" fmla="*/ 0 w 2324286"/>
              <a:gd name="connsiteY0" fmla="*/ 0 h 479624"/>
              <a:gd name="connsiteX1" fmla="*/ 2324286 w 2324286"/>
              <a:gd name="connsiteY1" fmla="*/ 475721 h 479624"/>
              <a:gd name="connsiteX0" fmla="*/ 0 w 2324286"/>
              <a:gd name="connsiteY0" fmla="*/ 0 h 480172"/>
              <a:gd name="connsiteX1" fmla="*/ 2324286 w 2324286"/>
              <a:gd name="connsiteY1" fmla="*/ 475721 h 480172"/>
              <a:gd name="connsiteX0" fmla="*/ 0 w 2324286"/>
              <a:gd name="connsiteY0" fmla="*/ 0 h 475721"/>
              <a:gd name="connsiteX1" fmla="*/ 2324286 w 2324286"/>
              <a:gd name="connsiteY1" fmla="*/ 475721 h 475721"/>
              <a:gd name="connsiteX0" fmla="*/ 0 w 2316069"/>
              <a:gd name="connsiteY0" fmla="*/ 0 h 498431"/>
              <a:gd name="connsiteX1" fmla="*/ 2316069 w 2316069"/>
              <a:gd name="connsiteY1" fmla="*/ 498431 h 498431"/>
              <a:gd name="connsiteX0" fmla="*/ 0 w 2316069"/>
              <a:gd name="connsiteY0" fmla="*/ 0 h 498431"/>
              <a:gd name="connsiteX1" fmla="*/ 2316069 w 2316069"/>
              <a:gd name="connsiteY1" fmla="*/ 498431 h 49843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04754"/>
              <a:gd name="connsiteY0" fmla="*/ 0 h 1015091"/>
              <a:gd name="connsiteX1" fmla="*/ 4604754 w 4604754"/>
              <a:gd name="connsiteY1" fmla="*/ 1015091 h 1015091"/>
              <a:gd name="connsiteX0" fmla="*/ 0 w 4604754"/>
              <a:gd name="connsiteY0" fmla="*/ 0 h 1015091"/>
              <a:gd name="connsiteX1" fmla="*/ 4604754 w 4604754"/>
              <a:gd name="connsiteY1" fmla="*/ 1015091 h 1015091"/>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23432 h 1021455"/>
              <a:gd name="connsiteX1" fmla="*/ 4604754 w 4604754"/>
              <a:gd name="connsiteY1" fmla="*/ 1021455 h 1021455"/>
              <a:gd name="connsiteX0" fmla="*/ 0 w 4621488"/>
              <a:gd name="connsiteY0" fmla="*/ 28563 h 866964"/>
              <a:gd name="connsiteX1" fmla="*/ 4621488 w 4621488"/>
              <a:gd name="connsiteY1" fmla="*/ 866966 h 866964"/>
              <a:gd name="connsiteX0" fmla="*/ 0 w 4621488"/>
              <a:gd name="connsiteY0" fmla="*/ 35875 h 874276"/>
              <a:gd name="connsiteX1" fmla="*/ 4621488 w 4621488"/>
              <a:gd name="connsiteY1" fmla="*/ 874278 h 874276"/>
              <a:gd name="connsiteX0" fmla="*/ 2 w 4634037"/>
              <a:gd name="connsiteY0" fmla="*/ 44537 h 763234"/>
              <a:gd name="connsiteX1" fmla="*/ 4634037 w 4634037"/>
              <a:gd name="connsiteY1" fmla="*/ 763236 h 763234"/>
              <a:gd name="connsiteX0" fmla="*/ 2 w 4634037"/>
              <a:gd name="connsiteY0" fmla="*/ -3 h 718694"/>
              <a:gd name="connsiteX1" fmla="*/ 4634037 w 4634037"/>
              <a:gd name="connsiteY1" fmla="*/ 718696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1413475"/>
              <a:gd name="connsiteY0" fmla="*/ 606407 h 728390"/>
              <a:gd name="connsiteX1" fmla="*/ 1413474 w 1413475"/>
              <a:gd name="connsiteY1" fmla="*/ 126977 h 728390"/>
              <a:gd name="connsiteX0" fmla="*/ 2 w 1413475"/>
              <a:gd name="connsiteY0" fmla="*/ 479431 h 721543"/>
              <a:gd name="connsiteX1" fmla="*/ 1413474 w 1413475"/>
              <a:gd name="connsiteY1" fmla="*/ 1 h 721543"/>
              <a:gd name="connsiteX0" fmla="*/ 3 w 1605506"/>
              <a:gd name="connsiteY0" fmla="*/ 487353 h 727739"/>
              <a:gd name="connsiteX1" fmla="*/ 1605505 w 1605506"/>
              <a:gd name="connsiteY1" fmla="*/ 1 h 727739"/>
              <a:gd name="connsiteX0" fmla="*/ 3 w 1605506"/>
              <a:gd name="connsiteY0" fmla="*/ 487353 h 595674"/>
              <a:gd name="connsiteX1" fmla="*/ 1605505 w 1605506"/>
              <a:gd name="connsiteY1" fmla="*/ 1 h 595674"/>
              <a:gd name="connsiteX0" fmla="*/ 3 w 1573179"/>
              <a:gd name="connsiteY0" fmla="*/ 635014 h 720486"/>
              <a:gd name="connsiteX1" fmla="*/ 1573180 w 1573179"/>
              <a:gd name="connsiteY1" fmla="*/ 1 h 720486"/>
              <a:gd name="connsiteX0" fmla="*/ 3 w 1573179"/>
              <a:gd name="connsiteY0" fmla="*/ 635014 h 727984"/>
              <a:gd name="connsiteX1" fmla="*/ 1573180 w 1573179"/>
              <a:gd name="connsiteY1" fmla="*/ 1 h 727984"/>
              <a:gd name="connsiteX0" fmla="*/ 3 w 1619069"/>
              <a:gd name="connsiteY0" fmla="*/ 464741 h 589089"/>
              <a:gd name="connsiteX1" fmla="*/ 1619069 w 1619069"/>
              <a:gd name="connsiteY1" fmla="*/ 1 h 589089"/>
              <a:gd name="connsiteX0" fmla="*/ 3 w 1619069"/>
              <a:gd name="connsiteY0" fmla="*/ 464741 h 644508"/>
              <a:gd name="connsiteX1" fmla="*/ 1619069 w 1619069"/>
              <a:gd name="connsiteY1" fmla="*/ 1 h 644508"/>
              <a:gd name="connsiteX0" fmla="*/ 3 w 1619069"/>
              <a:gd name="connsiteY0" fmla="*/ 464741 h 573752"/>
              <a:gd name="connsiteX1" fmla="*/ 1619069 w 1619069"/>
              <a:gd name="connsiteY1" fmla="*/ 1 h 573752"/>
              <a:gd name="connsiteX0" fmla="*/ 3 w 1619069"/>
              <a:gd name="connsiteY0" fmla="*/ 496657 h 598698"/>
              <a:gd name="connsiteX1" fmla="*/ 1619069 w 1619069"/>
              <a:gd name="connsiteY1" fmla="*/ 0 h 598698"/>
              <a:gd name="connsiteX0" fmla="*/ 3 w 7916977"/>
              <a:gd name="connsiteY0" fmla="*/ 2826772 h 2841912"/>
              <a:gd name="connsiteX1" fmla="*/ 7916977 w 7916977"/>
              <a:gd name="connsiteY1" fmla="*/ 0 h 2841912"/>
              <a:gd name="connsiteX0" fmla="*/ 3 w 7916977"/>
              <a:gd name="connsiteY0" fmla="*/ 2826772 h 2846255"/>
              <a:gd name="connsiteX1" fmla="*/ 7916977 w 7916977"/>
              <a:gd name="connsiteY1" fmla="*/ 0 h 2846255"/>
              <a:gd name="connsiteX0" fmla="*/ 3 w 7916977"/>
              <a:gd name="connsiteY0" fmla="*/ 2826772 h 3052074"/>
              <a:gd name="connsiteX1" fmla="*/ 7916977 w 7916977"/>
              <a:gd name="connsiteY1" fmla="*/ 0 h 3052074"/>
              <a:gd name="connsiteX0" fmla="*/ 3 w 7916977"/>
              <a:gd name="connsiteY0" fmla="*/ 2826772 h 3005674"/>
              <a:gd name="connsiteX1" fmla="*/ 7916977 w 7916977"/>
              <a:gd name="connsiteY1" fmla="*/ 0 h 3005674"/>
              <a:gd name="connsiteX0" fmla="*/ 0 w 7916977"/>
              <a:gd name="connsiteY0" fmla="*/ 2778890 h 2960467"/>
              <a:gd name="connsiteX1" fmla="*/ 7916977 w 7916977"/>
              <a:gd name="connsiteY1" fmla="*/ 0 h 2960467"/>
              <a:gd name="connsiteX0" fmla="*/ 0 w 7933419"/>
              <a:gd name="connsiteY0" fmla="*/ 2794848 h 2975527"/>
              <a:gd name="connsiteX1" fmla="*/ 7933419 w 7933419"/>
              <a:gd name="connsiteY1" fmla="*/ 0 h 2975527"/>
              <a:gd name="connsiteX0" fmla="*/ 0 w 7933419"/>
              <a:gd name="connsiteY0" fmla="*/ 2794848 h 3006384"/>
              <a:gd name="connsiteX1" fmla="*/ 7933419 w 7933419"/>
              <a:gd name="connsiteY1" fmla="*/ 0 h 3006384"/>
              <a:gd name="connsiteX0" fmla="*/ 0 w 7867644"/>
              <a:gd name="connsiteY0" fmla="*/ 2794848 h 3006384"/>
              <a:gd name="connsiteX1" fmla="*/ 7867644 w 7867644"/>
              <a:gd name="connsiteY1" fmla="*/ 0 h 3006384"/>
              <a:gd name="connsiteX0" fmla="*/ 0 w 3197651"/>
              <a:gd name="connsiteY0" fmla="*/ 0 h 1011361"/>
              <a:gd name="connsiteX1" fmla="*/ 3197651 w 3197651"/>
              <a:gd name="connsiteY1" fmla="*/ 349213 h 1011361"/>
              <a:gd name="connsiteX0" fmla="*/ 0 w 3197651"/>
              <a:gd name="connsiteY0" fmla="*/ 0 h 551058"/>
              <a:gd name="connsiteX1" fmla="*/ 3197651 w 3197651"/>
              <a:gd name="connsiteY1" fmla="*/ 349213 h 551058"/>
              <a:gd name="connsiteX0" fmla="*/ 0 w 3197651"/>
              <a:gd name="connsiteY0" fmla="*/ 0 h 499390"/>
              <a:gd name="connsiteX1" fmla="*/ 3197651 w 3197651"/>
              <a:gd name="connsiteY1" fmla="*/ 349213 h 499390"/>
              <a:gd name="connsiteX0" fmla="*/ 0 w 3197651"/>
              <a:gd name="connsiteY0" fmla="*/ 0 h 421477"/>
              <a:gd name="connsiteX1" fmla="*/ 3197651 w 3197651"/>
              <a:gd name="connsiteY1" fmla="*/ 349213 h 421477"/>
              <a:gd name="connsiteX0" fmla="*/ 0 w 3197651"/>
              <a:gd name="connsiteY0" fmla="*/ 0 h 480912"/>
              <a:gd name="connsiteX1" fmla="*/ 3197651 w 3197651"/>
              <a:gd name="connsiteY1" fmla="*/ 349213 h 480912"/>
              <a:gd name="connsiteX0" fmla="*/ 0 w 3181202"/>
              <a:gd name="connsiteY0" fmla="*/ 0 h 617329"/>
              <a:gd name="connsiteX1" fmla="*/ 3181202 w 3181202"/>
              <a:gd name="connsiteY1" fmla="*/ 540729 h 617329"/>
              <a:gd name="connsiteX0" fmla="*/ 0 w 3181202"/>
              <a:gd name="connsiteY0" fmla="*/ 0 h 589454"/>
              <a:gd name="connsiteX1" fmla="*/ 3181202 w 3181202"/>
              <a:gd name="connsiteY1" fmla="*/ 540729 h 589454"/>
              <a:gd name="connsiteX0" fmla="*/ 0 w 3164753"/>
              <a:gd name="connsiteY0" fmla="*/ 0 h 602523"/>
              <a:gd name="connsiteX1" fmla="*/ 3164753 w 3164753"/>
              <a:gd name="connsiteY1" fmla="*/ 556687 h 602523"/>
              <a:gd name="connsiteX0" fmla="*/ 0 w 3164753"/>
              <a:gd name="connsiteY0" fmla="*/ 0 h 585741"/>
              <a:gd name="connsiteX1" fmla="*/ 3164753 w 3164753"/>
              <a:gd name="connsiteY1" fmla="*/ 556687 h 585741"/>
              <a:gd name="connsiteX0" fmla="*/ 0 w 3164753"/>
              <a:gd name="connsiteY0" fmla="*/ 0 h 588616"/>
              <a:gd name="connsiteX1" fmla="*/ 3164753 w 3164753"/>
              <a:gd name="connsiteY1" fmla="*/ 556687 h 588616"/>
              <a:gd name="connsiteX0" fmla="*/ 0 w 4184262"/>
              <a:gd name="connsiteY0" fmla="*/ 0 h 1346832"/>
              <a:gd name="connsiteX1" fmla="*/ 4184262 w 4184262"/>
              <a:gd name="connsiteY1" fmla="*/ 1338715 h 1346832"/>
              <a:gd name="connsiteX0" fmla="*/ 0 w 4184262"/>
              <a:gd name="connsiteY0" fmla="*/ 0 h 1338716"/>
              <a:gd name="connsiteX1" fmla="*/ 4184262 w 4184262"/>
              <a:gd name="connsiteY1" fmla="*/ 1338715 h 1338716"/>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7922444"/>
              <a:gd name="connsiteY0" fmla="*/ 0 h 1354674"/>
              <a:gd name="connsiteX1" fmla="*/ 7922444 w 7922444"/>
              <a:gd name="connsiteY1" fmla="*/ 1354674 h 1354674"/>
              <a:gd name="connsiteX0" fmla="*/ 0 w 7922444"/>
              <a:gd name="connsiteY0" fmla="*/ 0 h 1354674"/>
              <a:gd name="connsiteX1" fmla="*/ 7922444 w 7922444"/>
              <a:gd name="connsiteY1" fmla="*/ 1354674 h 1354674"/>
              <a:gd name="connsiteX0" fmla="*/ 0 w 7922444"/>
              <a:gd name="connsiteY0" fmla="*/ 0 h 1967324"/>
              <a:gd name="connsiteX1" fmla="*/ 7922444 w 7922444"/>
              <a:gd name="connsiteY1" fmla="*/ 1354674 h 1967324"/>
              <a:gd name="connsiteX0" fmla="*/ 0 w 7856669"/>
              <a:gd name="connsiteY0" fmla="*/ 0 h 1882889"/>
              <a:gd name="connsiteX1" fmla="*/ 7856669 w 7856669"/>
              <a:gd name="connsiteY1" fmla="*/ 1120598 h 1882889"/>
              <a:gd name="connsiteX0" fmla="*/ 0 w 7856669"/>
              <a:gd name="connsiteY0" fmla="*/ 0 h 1907225"/>
              <a:gd name="connsiteX1" fmla="*/ 7856669 w 7856669"/>
              <a:gd name="connsiteY1" fmla="*/ 1120598 h 1907225"/>
              <a:gd name="connsiteX0" fmla="*/ 0 w 7856669"/>
              <a:gd name="connsiteY0" fmla="*/ 0 h 1953216"/>
              <a:gd name="connsiteX1" fmla="*/ 7856669 w 7856669"/>
              <a:gd name="connsiteY1" fmla="*/ 1120598 h 1953216"/>
              <a:gd name="connsiteX0" fmla="*/ 0 w 7840227"/>
              <a:gd name="connsiteY0" fmla="*/ 0 h 1914966"/>
              <a:gd name="connsiteX1" fmla="*/ 7840227 w 7840227"/>
              <a:gd name="connsiteY1" fmla="*/ 1008879 h 1914966"/>
              <a:gd name="connsiteX0" fmla="*/ 0 w 7840227"/>
              <a:gd name="connsiteY0" fmla="*/ 0 h 1817737"/>
              <a:gd name="connsiteX1" fmla="*/ 7840227 w 7840227"/>
              <a:gd name="connsiteY1" fmla="*/ 1008879 h 1817737"/>
              <a:gd name="connsiteX0" fmla="*/ 0 w 7790894"/>
              <a:gd name="connsiteY0" fmla="*/ 0 h 1806893"/>
              <a:gd name="connsiteX1" fmla="*/ 7790894 w 7790894"/>
              <a:gd name="connsiteY1" fmla="*/ 976956 h 1806893"/>
              <a:gd name="connsiteX0" fmla="*/ 0 w 7790894"/>
              <a:gd name="connsiteY0" fmla="*/ 0 h 1751365"/>
              <a:gd name="connsiteX1" fmla="*/ 7790894 w 7790894"/>
              <a:gd name="connsiteY1" fmla="*/ 976956 h 1751365"/>
              <a:gd name="connsiteX0" fmla="*/ 0 w 7790894"/>
              <a:gd name="connsiteY0" fmla="*/ 0 h 1820793"/>
              <a:gd name="connsiteX1" fmla="*/ 7790894 w 7790894"/>
              <a:gd name="connsiteY1" fmla="*/ 976956 h 1820793"/>
              <a:gd name="connsiteX0" fmla="*/ 0 w 7790894"/>
              <a:gd name="connsiteY0" fmla="*/ 0 h 1806893"/>
              <a:gd name="connsiteX1" fmla="*/ 7790894 w 7790894"/>
              <a:gd name="connsiteY1" fmla="*/ 976956 h 1806893"/>
              <a:gd name="connsiteX0" fmla="*/ 0 w 7646436"/>
              <a:gd name="connsiteY0" fmla="*/ 0 h 1749648"/>
              <a:gd name="connsiteX1" fmla="*/ 7646438 w 7646436"/>
              <a:gd name="connsiteY1" fmla="*/ 801919 h 1749648"/>
              <a:gd name="connsiteX0" fmla="*/ 0 w 7646436"/>
              <a:gd name="connsiteY0" fmla="*/ 0 h 1949180"/>
              <a:gd name="connsiteX1" fmla="*/ 7646438 w 7646436"/>
              <a:gd name="connsiteY1" fmla="*/ 801919 h 1949180"/>
              <a:gd name="connsiteX0" fmla="*/ 1 w 7654290"/>
              <a:gd name="connsiteY0" fmla="*/ 147701 h 1792575"/>
              <a:gd name="connsiteX1" fmla="*/ 7654292 w 7654290"/>
              <a:gd name="connsiteY1" fmla="*/ -1 h 1792575"/>
              <a:gd name="connsiteX0" fmla="*/ 1 w 7654290"/>
              <a:gd name="connsiteY0" fmla="*/ 147701 h 337093"/>
              <a:gd name="connsiteX1" fmla="*/ 7654292 w 7654290"/>
              <a:gd name="connsiteY1" fmla="*/ -1 h 337093"/>
              <a:gd name="connsiteX0" fmla="*/ 1 w 7654290"/>
              <a:gd name="connsiteY0" fmla="*/ 147701 h 309785"/>
              <a:gd name="connsiteX1" fmla="*/ 7654292 w 7654290"/>
              <a:gd name="connsiteY1" fmla="*/ -1 h 309785"/>
              <a:gd name="connsiteX0" fmla="*/ 1 w 7654290"/>
              <a:gd name="connsiteY0" fmla="*/ 147701 h 287229"/>
              <a:gd name="connsiteX1" fmla="*/ 7654292 w 7654290"/>
              <a:gd name="connsiteY1" fmla="*/ -1 h 287229"/>
              <a:gd name="connsiteX0" fmla="*/ 4 w 7452148"/>
              <a:gd name="connsiteY0" fmla="*/ 126512 h 274125"/>
              <a:gd name="connsiteX1" fmla="*/ 7452150 w 7452148"/>
              <a:gd name="connsiteY1" fmla="*/ -1 h 274125"/>
              <a:gd name="connsiteX0" fmla="*/ -2 w 7359956"/>
              <a:gd name="connsiteY0" fmla="*/ 175237 h 305111"/>
              <a:gd name="connsiteX1" fmla="*/ 7359958 w 7359956"/>
              <a:gd name="connsiteY1" fmla="*/ -1 h 305111"/>
              <a:gd name="connsiteX0" fmla="*/ -1 w 7465891"/>
              <a:gd name="connsiteY0" fmla="*/ 135252 h 279460"/>
              <a:gd name="connsiteX1" fmla="*/ 7465893 w 7465891"/>
              <a:gd name="connsiteY1" fmla="*/ -1 h 279460"/>
              <a:gd name="connsiteX0" fmla="*/ -1 w 11571957"/>
              <a:gd name="connsiteY0" fmla="*/ 1266380 h 1295265"/>
              <a:gd name="connsiteX1" fmla="*/ 11571957 w 11571957"/>
              <a:gd name="connsiteY1" fmla="*/ 1 h 1295265"/>
              <a:gd name="connsiteX0" fmla="*/ -1 w 11571957"/>
              <a:gd name="connsiteY0" fmla="*/ 1266380 h 1373167"/>
              <a:gd name="connsiteX1" fmla="*/ 3979169 w 11571957"/>
              <a:gd name="connsiteY1" fmla="*/ 1317909 h 1373167"/>
              <a:gd name="connsiteX2" fmla="*/ 11571957 w 11571957"/>
              <a:gd name="connsiteY2" fmla="*/ 1 h 1373167"/>
              <a:gd name="connsiteX0" fmla="*/ -1 w 11571957"/>
              <a:gd name="connsiteY0" fmla="*/ 1266380 h 1321797"/>
              <a:gd name="connsiteX1" fmla="*/ 3979169 w 11571957"/>
              <a:gd name="connsiteY1" fmla="*/ 1317909 h 1321797"/>
              <a:gd name="connsiteX2" fmla="*/ 11571957 w 11571957"/>
              <a:gd name="connsiteY2" fmla="*/ 1 h 1321797"/>
              <a:gd name="connsiteX0" fmla="*/ -1 w 11571957"/>
              <a:gd name="connsiteY0" fmla="*/ 1266380 h 1405388"/>
              <a:gd name="connsiteX1" fmla="*/ 3979169 w 11571957"/>
              <a:gd name="connsiteY1" fmla="*/ 1317909 h 1405388"/>
              <a:gd name="connsiteX2" fmla="*/ 11571957 w 11571957"/>
              <a:gd name="connsiteY2" fmla="*/ 1 h 1405388"/>
              <a:gd name="connsiteX0" fmla="*/ -1 w 11571957"/>
              <a:gd name="connsiteY0" fmla="*/ 1266380 h 1466387"/>
              <a:gd name="connsiteX1" fmla="*/ 4049395 w 11571957"/>
              <a:gd name="connsiteY1" fmla="*/ 1390915 h 1466387"/>
              <a:gd name="connsiteX2" fmla="*/ 11571957 w 11571957"/>
              <a:gd name="connsiteY2" fmla="*/ 1 h 1466387"/>
              <a:gd name="connsiteX0" fmla="*/ -1 w 11571957"/>
              <a:gd name="connsiteY0" fmla="*/ 1266380 h 1476321"/>
              <a:gd name="connsiteX1" fmla="*/ 4049395 w 11571957"/>
              <a:gd name="connsiteY1" fmla="*/ 1390915 h 1476321"/>
              <a:gd name="connsiteX2" fmla="*/ 11571957 w 11571957"/>
              <a:gd name="connsiteY2" fmla="*/ 1 h 1476321"/>
              <a:gd name="connsiteX0" fmla="*/ 2 w 11513721"/>
              <a:gd name="connsiteY0" fmla="*/ 1388864 h 1505074"/>
              <a:gd name="connsiteX1" fmla="*/ 3991159 w 11513721"/>
              <a:gd name="connsiteY1" fmla="*/ 1390914 h 1505074"/>
              <a:gd name="connsiteX2" fmla="*/ 11513721 w 11513721"/>
              <a:gd name="connsiteY2" fmla="*/ 0 h 1505074"/>
              <a:gd name="connsiteX0" fmla="*/ 2 w 11513721"/>
              <a:gd name="connsiteY0" fmla="*/ 1388864 h 1402719"/>
              <a:gd name="connsiteX1" fmla="*/ 7900822 w 11513721"/>
              <a:gd name="connsiteY1" fmla="*/ 1121534 h 1402719"/>
              <a:gd name="connsiteX2" fmla="*/ 11513721 w 11513721"/>
              <a:gd name="connsiteY2" fmla="*/ 0 h 1402719"/>
              <a:gd name="connsiteX0" fmla="*/ 2 w 11513721"/>
              <a:gd name="connsiteY0" fmla="*/ 1388864 h 1443996"/>
              <a:gd name="connsiteX1" fmla="*/ 7900822 w 11513721"/>
              <a:gd name="connsiteY1" fmla="*/ 1121534 h 1443996"/>
              <a:gd name="connsiteX2" fmla="*/ 11513721 w 11513721"/>
              <a:gd name="connsiteY2" fmla="*/ 0 h 1443996"/>
              <a:gd name="connsiteX0" fmla="*/ 2 w 11626925"/>
              <a:gd name="connsiteY0" fmla="*/ 1388864 h 1443996"/>
              <a:gd name="connsiteX1" fmla="*/ 7900822 w 11626925"/>
              <a:gd name="connsiteY1" fmla="*/ 1121534 h 1443996"/>
              <a:gd name="connsiteX2" fmla="*/ 11513721 w 11626925"/>
              <a:gd name="connsiteY2" fmla="*/ 0 h 1443996"/>
              <a:gd name="connsiteX0" fmla="*/ 2 w 11574910"/>
              <a:gd name="connsiteY0" fmla="*/ 1388864 h 1469145"/>
              <a:gd name="connsiteX1" fmla="*/ 5749023 w 11574910"/>
              <a:gd name="connsiteY1" fmla="*/ 1237437 h 1469145"/>
              <a:gd name="connsiteX2" fmla="*/ 11513721 w 11574910"/>
              <a:gd name="connsiteY2" fmla="*/ 0 h 1469145"/>
              <a:gd name="connsiteX0" fmla="*/ 2 w 11574910"/>
              <a:gd name="connsiteY0" fmla="*/ 1388864 h 1453596"/>
              <a:gd name="connsiteX1" fmla="*/ 5749023 w 11574910"/>
              <a:gd name="connsiteY1" fmla="*/ 1237437 h 1453596"/>
              <a:gd name="connsiteX2" fmla="*/ 11513721 w 11574910"/>
              <a:gd name="connsiteY2" fmla="*/ 0 h 1453596"/>
              <a:gd name="connsiteX0" fmla="*/ 2 w 11574910"/>
              <a:gd name="connsiteY0" fmla="*/ 1388864 h 1411617"/>
              <a:gd name="connsiteX1" fmla="*/ 5749023 w 11574910"/>
              <a:gd name="connsiteY1" fmla="*/ 1237437 h 1411617"/>
              <a:gd name="connsiteX2" fmla="*/ 11513721 w 11574910"/>
              <a:gd name="connsiteY2" fmla="*/ 0 h 1411617"/>
              <a:gd name="connsiteX0" fmla="*/ 2 w 9586579"/>
              <a:gd name="connsiteY0" fmla="*/ 773610 h 796363"/>
              <a:gd name="connsiteX1" fmla="*/ 5749023 w 9586579"/>
              <a:gd name="connsiteY1" fmla="*/ 622183 h 796363"/>
              <a:gd name="connsiteX2" fmla="*/ 9478252 w 9586579"/>
              <a:gd name="connsiteY2" fmla="*/ 0 h 796363"/>
              <a:gd name="connsiteX0" fmla="*/ 2 w 9478255"/>
              <a:gd name="connsiteY0" fmla="*/ 773610 h 796363"/>
              <a:gd name="connsiteX1" fmla="*/ 5749023 w 9478255"/>
              <a:gd name="connsiteY1" fmla="*/ 622183 h 796363"/>
              <a:gd name="connsiteX2" fmla="*/ 9478252 w 9478255"/>
              <a:gd name="connsiteY2" fmla="*/ 0 h 796363"/>
              <a:gd name="connsiteX0" fmla="*/ 2 w 9478255"/>
              <a:gd name="connsiteY0" fmla="*/ 773610 h 796363"/>
              <a:gd name="connsiteX1" fmla="*/ 5749018 w 9478255"/>
              <a:gd name="connsiteY1" fmla="*/ 622183 h 796363"/>
              <a:gd name="connsiteX2" fmla="*/ 9478252 w 9478255"/>
              <a:gd name="connsiteY2" fmla="*/ 0 h 796363"/>
              <a:gd name="connsiteX0" fmla="*/ 2 w 9478255"/>
              <a:gd name="connsiteY0" fmla="*/ 773610 h 796363"/>
              <a:gd name="connsiteX1" fmla="*/ 5749018 w 9478255"/>
              <a:gd name="connsiteY1" fmla="*/ 622183 h 796363"/>
              <a:gd name="connsiteX2" fmla="*/ 9478252 w 9478255"/>
              <a:gd name="connsiteY2" fmla="*/ 0 h 796363"/>
              <a:gd name="connsiteX0" fmla="*/ 2 w 9478255"/>
              <a:gd name="connsiteY0" fmla="*/ 773610 h 799963"/>
              <a:gd name="connsiteX1" fmla="*/ 5809075 w 9478255"/>
              <a:gd name="connsiteY1" fmla="*/ 640460 h 799963"/>
              <a:gd name="connsiteX2" fmla="*/ 9478252 w 9478255"/>
              <a:gd name="connsiteY2" fmla="*/ 0 h 799963"/>
            </a:gdLst>
            <a:ahLst/>
            <a:cxnLst>
              <a:cxn ang="0">
                <a:pos x="connsiteX0" y="connsiteY0"/>
              </a:cxn>
              <a:cxn ang="0">
                <a:pos x="connsiteX1" y="connsiteY1"/>
              </a:cxn>
              <a:cxn ang="0">
                <a:pos x="connsiteX2" y="connsiteY2"/>
              </a:cxn>
            </a:cxnLst>
            <a:rect l="l" t="t" r="r" b="b"/>
            <a:pathLst>
              <a:path w="9478255" h="799963">
                <a:moveTo>
                  <a:pt x="2" y="773610"/>
                </a:moveTo>
                <a:cubicBezTo>
                  <a:pt x="2201557" y="830336"/>
                  <a:pt x="3472546" y="799687"/>
                  <a:pt x="5809075" y="640460"/>
                </a:cubicBezTo>
                <a:cubicBezTo>
                  <a:pt x="7756826" y="481493"/>
                  <a:pt x="8952666" y="376111"/>
                  <a:pt x="9478252" y="0"/>
                </a:cubicBezTo>
              </a:path>
            </a:pathLst>
          </a:custGeom>
          <a:noFill/>
          <a:ln w="12700" cap="flat" cmpd="sng" algn="ctr">
            <a:solidFill>
              <a:srgbClr val="13835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de-DE"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9" name="Freeform 103"/>
          <p:cNvSpPr/>
          <p:nvPr/>
        </p:nvSpPr>
        <p:spPr bwMode="auto">
          <a:xfrm rot="1635044">
            <a:off x="2957372" y="2172630"/>
            <a:ext cx="975563" cy="1163190"/>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2875322"/>
              <a:gd name="connsiteY0" fmla="*/ 0 h 1850561"/>
              <a:gd name="connsiteX1" fmla="*/ 2875322 w 2875322"/>
              <a:gd name="connsiteY1" fmla="*/ 1850561 h 1850561"/>
              <a:gd name="connsiteX0" fmla="*/ 0 w 2875322"/>
              <a:gd name="connsiteY0" fmla="*/ 0 h 1850561"/>
              <a:gd name="connsiteX1" fmla="*/ 2875322 w 2875322"/>
              <a:gd name="connsiteY1" fmla="*/ 1850561 h 1850561"/>
              <a:gd name="connsiteX0" fmla="*/ 0 w 2894703"/>
              <a:gd name="connsiteY0" fmla="*/ 0 h 1850561"/>
              <a:gd name="connsiteX1" fmla="*/ 2894703 w 2894703"/>
              <a:gd name="connsiteY1" fmla="*/ 1850561 h 1850561"/>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0239"/>
              <a:gd name="connsiteY0" fmla="*/ 0 h 2300301"/>
              <a:gd name="connsiteX1" fmla="*/ 3480239 w 3480239"/>
              <a:gd name="connsiteY1" fmla="*/ 2300301 h 2300301"/>
              <a:gd name="connsiteX0" fmla="*/ 0 w 3480239"/>
              <a:gd name="connsiteY0" fmla="*/ 0 h 2300301"/>
              <a:gd name="connsiteX1" fmla="*/ 3480239 w 348023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521439"/>
              <a:gd name="connsiteY0" fmla="*/ 0 h 2232170"/>
              <a:gd name="connsiteX1" fmla="*/ 3521439 w 3521439"/>
              <a:gd name="connsiteY1" fmla="*/ 2232170 h 2232170"/>
              <a:gd name="connsiteX0" fmla="*/ 0 w 3521439"/>
              <a:gd name="connsiteY0" fmla="*/ 0 h 2232170"/>
              <a:gd name="connsiteX1" fmla="*/ 3521439 w 3521439"/>
              <a:gd name="connsiteY1" fmla="*/ 2232170 h 2232170"/>
              <a:gd name="connsiteX0" fmla="*/ 0 w 3521439"/>
              <a:gd name="connsiteY0" fmla="*/ 0 h 2209460"/>
              <a:gd name="connsiteX1" fmla="*/ 3521439 w 3521439"/>
              <a:gd name="connsiteY1" fmla="*/ 2209460 h 2209460"/>
              <a:gd name="connsiteX0" fmla="*/ 0 w 3521439"/>
              <a:gd name="connsiteY0" fmla="*/ 0 h 2209460"/>
              <a:gd name="connsiteX1" fmla="*/ 3521439 w 3521439"/>
              <a:gd name="connsiteY1" fmla="*/ 2209460 h 2209460"/>
              <a:gd name="connsiteX0" fmla="*/ 0 w 3166484"/>
              <a:gd name="connsiteY0" fmla="*/ 0 h 1509983"/>
              <a:gd name="connsiteX1" fmla="*/ 3166484 w 3166484"/>
              <a:gd name="connsiteY1" fmla="*/ 1509983 h 1509983"/>
              <a:gd name="connsiteX0" fmla="*/ 0 w 2028493"/>
              <a:gd name="connsiteY0" fmla="*/ 0 h 405367"/>
              <a:gd name="connsiteX1" fmla="*/ 2028493 w 2028493"/>
              <a:gd name="connsiteY1" fmla="*/ 62202 h 405367"/>
              <a:gd name="connsiteX0" fmla="*/ 0 w 2028493"/>
              <a:gd name="connsiteY0" fmla="*/ 0 h 410101"/>
              <a:gd name="connsiteX1" fmla="*/ 2028493 w 2028493"/>
              <a:gd name="connsiteY1" fmla="*/ 62202 h 410101"/>
              <a:gd name="connsiteX0" fmla="*/ 0 w 2049034"/>
              <a:gd name="connsiteY0" fmla="*/ 0 h 413154"/>
              <a:gd name="connsiteX1" fmla="*/ 2049034 w 2049034"/>
              <a:gd name="connsiteY1" fmla="*/ 76396 h 413154"/>
              <a:gd name="connsiteX0" fmla="*/ 0 w 2049034"/>
              <a:gd name="connsiteY0" fmla="*/ 143813 h 220209"/>
              <a:gd name="connsiteX1" fmla="*/ 2049034 w 2049034"/>
              <a:gd name="connsiteY1" fmla="*/ 220209 h 220209"/>
              <a:gd name="connsiteX0" fmla="*/ 0 w 2049034"/>
              <a:gd name="connsiteY0" fmla="*/ 154753 h 231149"/>
              <a:gd name="connsiteX1" fmla="*/ 2049034 w 2049034"/>
              <a:gd name="connsiteY1" fmla="*/ 231149 h 231149"/>
              <a:gd name="connsiteX0" fmla="*/ 0 w 2057250"/>
              <a:gd name="connsiteY0" fmla="*/ 145732 h 242000"/>
              <a:gd name="connsiteX1" fmla="*/ 2057250 w 2057250"/>
              <a:gd name="connsiteY1" fmla="*/ 242000 h 242000"/>
              <a:gd name="connsiteX0" fmla="*/ 0 w 2057250"/>
              <a:gd name="connsiteY0" fmla="*/ 155638 h 251906"/>
              <a:gd name="connsiteX1" fmla="*/ 2057250 w 2057250"/>
              <a:gd name="connsiteY1" fmla="*/ 251906 h 251906"/>
              <a:gd name="connsiteX0" fmla="*/ 0 w 2057250"/>
              <a:gd name="connsiteY0" fmla="*/ 154153 h 250421"/>
              <a:gd name="connsiteX1" fmla="*/ 2057250 w 2057250"/>
              <a:gd name="connsiteY1" fmla="*/ 250421 h 250421"/>
              <a:gd name="connsiteX0" fmla="*/ 0 w 2057250"/>
              <a:gd name="connsiteY0" fmla="*/ 175529 h 271797"/>
              <a:gd name="connsiteX1" fmla="*/ 2057250 w 2057250"/>
              <a:gd name="connsiteY1" fmla="*/ 271797 h 271797"/>
              <a:gd name="connsiteX0" fmla="*/ 0 w 1925785"/>
              <a:gd name="connsiteY0" fmla="*/ 146190 h 318159"/>
              <a:gd name="connsiteX1" fmla="*/ 1925785 w 1925785"/>
              <a:gd name="connsiteY1" fmla="*/ 318159 h 318159"/>
              <a:gd name="connsiteX0" fmla="*/ 0 w 1942218"/>
              <a:gd name="connsiteY0" fmla="*/ 143309 h 323795"/>
              <a:gd name="connsiteX1" fmla="*/ 1942218 w 1942218"/>
              <a:gd name="connsiteY1" fmla="*/ 323795 h 323795"/>
              <a:gd name="connsiteX0" fmla="*/ 0 w 1942218"/>
              <a:gd name="connsiteY0" fmla="*/ 1 h 180487"/>
              <a:gd name="connsiteX1" fmla="*/ 1942218 w 1942218"/>
              <a:gd name="connsiteY1" fmla="*/ 180487 h 180487"/>
              <a:gd name="connsiteX0" fmla="*/ 0 w 1966867"/>
              <a:gd name="connsiteY0" fmla="*/ 0 h 171970"/>
              <a:gd name="connsiteX1" fmla="*/ 1966867 w 1966867"/>
              <a:gd name="connsiteY1" fmla="*/ 171971 h 171970"/>
              <a:gd name="connsiteX0" fmla="*/ 0 w 1966867"/>
              <a:gd name="connsiteY0" fmla="*/ 0 h 171971"/>
              <a:gd name="connsiteX1" fmla="*/ 1966867 w 1966867"/>
              <a:gd name="connsiteY1" fmla="*/ 171971 h 171971"/>
              <a:gd name="connsiteX0" fmla="*/ 0 w 1958651"/>
              <a:gd name="connsiteY0" fmla="*/ 0 h 186165"/>
              <a:gd name="connsiteX1" fmla="*/ 1958651 w 1958651"/>
              <a:gd name="connsiteY1" fmla="*/ 186165 h 186165"/>
              <a:gd name="connsiteX0" fmla="*/ 0 w 1954543"/>
              <a:gd name="connsiteY0" fmla="*/ 0 h 203197"/>
              <a:gd name="connsiteX1" fmla="*/ 1954543 w 1954543"/>
              <a:gd name="connsiteY1" fmla="*/ 203197 h 203197"/>
              <a:gd name="connsiteX0" fmla="*/ 0 w 2324286"/>
              <a:gd name="connsiteY0" fmla="*/ 0 h 475721"/>
              <a:gd name="connsiteX1" fmla="*/ 2324286 w 2324286"/>
              <a:gd name="connsiteY1" fmla="*/ 475721 h 475721"/>
              <a:gd name="connsiteX0" fmla="*/ 0 w 2324286"/>
              <a:gd name="connsiteY0" fmla="*/ 0 h 479624"/>
              <a:gd name="connsiteX1" fmla="*/ 2324286 w 2324286"/>
              <a:gd name="connsiteY1" fmla="*/ 475721 h 479624"/>
              <a:gd name="connsiteX0" fmla="*/ 0 w 2324286"/>
              <a:gd name="connsiteY0" fmla="*/ 0 h 480172"/>
              <a:gd name="connsiteX1" fmla="*/ 2324286 w 2324286"/>
              <a:gd name="connsiteY1" fmla="*/ 475721 h 480172"/>
              <a:gd name="connsiteX0" fmla="*/ 0 w 2324286"/>
              <a:gd name="connsiteY0" fmla="*/ 0 h 475721"/>
              <a:gd name="connsiteX1" fmla="*/ 2324286 w 2324286"/>
              <a:gd name="connsiteY1" fmla="*/ 475721 h 475721"/>
              <a:gd name="connsiteX0" fmla="*/ 0 w 2316069"/>
              <a:gd name="connsiteY0" fmla="*/ 0 h 498431"/>
              <a:gd name="connsiteX1" fmla="*/ 2316069 w 2316069"/>
              <a:gd name="connsiteY1" fmla="*/ 498431 h 498431"/>
              <a:gd name="connsiteX0" fmla="*/ 0 w 2316069"/>
              <a:gd name="connsiteY0" fmla="*/ 0 h 498431"/>
              <a:gd name="connsiteX1" fmla="*/ 2316069 w 2316069"/>
              <a:gd name="connsiteY1" fmla="*/ 498431 h 49843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04754"/>
              <a:gd name="connsiteY0" fmla="*/ 0 h 1015091"/>
              <a:gd name="connsiteX1" fmla="*/ 4604754 w 4604754"/>
              <a:gd name="connsiteY1" fmla="*/ 1015091 h 1015091"/>
              <a:gd name="connsiteX0" fmla="*/ 0 w 4604754"/>
              <a:gd name="connsiteY0" fmla="*/ 0 h 1015091"/>
              <a:gd name="connsiteX1" fmla="*/ 4604754 w 4604754"/>
              <a:gd name="connsiteY1" fmla="*/ 1015091 h 1015091"/>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23432 h 1021455"/>
              <a:gd name="connsiteX1" fmla="*/ 4604754 w 4604754"/>
              <a:gd name="connsiteY1" fmla="*/ 1021455 h 1021455"/>
              <a:gd name="connsiteX0" fmla="*/ 0 w 4621488"/>
              <a:gd name="connsiteY0" fmla="*/ 28563 h 866964"/>
              <a:gd name="connsiteX1" fmla="*/ 4621488 w 4621488"/>
              <a:gd name="connsiteY1" fmla="*/ 866966 h 866964"/>
              <a:gd name="connsiteX0" fmla="*/ 0 w 4621488"/>
              <a:gd name="connsiteY0" fmla="*/ 35875 h 874276"/>
              <a:gd name="connsiteX1" fmla="*/ 4621488 w 4621488"/>
              <a:gd name="connsiteY1" fmla="*/ 874278 h 874276"/>
              <a:gd name="connsiteX0" fmla="*/ 2 w 4634037"/>
              <a:gd name="connsiteY0" fmla="*/ 44537 h 763234"/>
              <a:gd name="connsiteX1" fmla="*/ 4634037 w 4634037"/>
              <a:gd name="connsiteY1" fmla="*/ 763236 h 763234"/>
              <a:gd name="connsiteX0" fmla="*/ 2 w 4634037"/>
              <a:gd name="connsiteY0" fmla="*/ -3 h 718694"/>
              <a:gd name="connsiteX1" fmla="*/ 4634037 w 4634037"/>
              <a:gd name="connsiteY1" fmla="*/ 718696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1413475"/>
              <a:gd name="connsiteY0" fmla="*/ 606407 h 728390"/>
              <a:gd name="connsiteX1" fmla="*/ 1413474 w 1413475"/>
              <a:gd name="connsiteY1" fmla="*/ 126977 h 728390"/>
              <a:gd name="connsiteX0" fmla="*/ 2 w 1413475"/>
              <a:gd name="connsiteY0" fmla="*/ 479431 h 721543"/>
              <a:gd name="connsiteX1" fmla="*/ 1413474 w 1413475"/>
              <a:gd name="connsiteY1" fmla="*/ 1 h 721543"/>
              <a:gd name="connsiteX0" fmla="*/ 3 w 1605506"/>
              <a:gd name="connsiteY0" fmla="*/ 487353 h 727739"/>
              <a:gd name="connsiteX1" fmla="*/ 1605505 w 1605506"/>
              <a:gd name="connsiteY1" fmla="*/ 1 h 727739"/>
              <a:gd name="connsiteX0" fmla="*/ 3 w 1605506"/>
              <a:gd name="connsiteY0" fmla="*/ 487353 h 595674"/>
              <a:gd name="connsiteX1" fmla="*/ 1605505 w 1605506"/>
              <a:gd name="connsiteY1" fmla="*/ 1 h 595674"/>
              <a:gd name="connsiteX0" fmla="*/ 3 w 1573179"/>
              <a:gd name="connsiteY0" fmla="*/ 635014 h 720486"/>
              <a:gd name="connsiteX1" fmla="*/ 1573180 w 1573179"/>
              <a:gd name="connsiteY1" fmla="*/ 1 h 720486"/>
              <a:gd name="connsiteX0" fmla="*/ 3 w 1573179"/>
              <a:gd name="connsiteY0" fmla="*/ 635014 h 727984"/>
              <a:gd name="connsiteX1" fmla="*/ 1573180 w 1573179"/>
              <a:gd name="connsiteY1" fmla="*/ 1 h 727984"/>
              <a:gd name="connsiteX0" fmla="*/ 3 w 1619069"/>
              <a:gd name="connsiteY0" fmla="*/ 464741 h 589089"/>
              <a:gd name="connsiteX1" fmla="*/ 1619069 w 1619069"/>
              <a:gd name="connsiteY1" fmla="*/ 1 h 589089"/>
              <a:gd name="connsiteX0" fmla="*/ 3 w 1619069"/>
              <a:gd name="connsiteY0" fmla="*/ 464741 h 644508"/>
              <a:gd name="connsiteX1" fmla="*/ 1619069 w 1619069"/>
              <a:gd name="connsiteY1" fmla="*/ 1 h 644508"/>
              <a:gd name="connsiteX0" fmla="*/ 3 w 1619069"/>
              <a:gd name="connsiteY0" fmla="*/ 464741 h 573752"/>
              <a:gd name="connsiteX1" fmla="*/ 1619069 w 1619069"/>
              <a:gd name="connsiteY1" fmla="*/ 1 h 573752"/>
              <a:gd name="connsiteX0" fmla="*/ 3 w 1619069"/>
              <a:gd name="connsiteY0" fmla="*/ 496657 h 598698"/>
              <a:gd name="connsiteX1" fmla="*/ 1619069 w 1619069"/>
              <a:gd name="connsiteY1" fmla="*/ 0 h 598698"/>
              <a:gd name="connsiteX0" fmla="*/ 3 w 7916977"/>
              <a:gd name="connsiteY0" fmla="*/ 2826772 h 2841912"/>
              <a:gd name="connsiteX1" fmla="*/ 7916977 w 7916977"/>
              <a:gd name="connsiteY1" fmla="*/ 0 h 2841912"/>
              <a:gd name="connsiteX0" fmla="*/ 3 w 7916977"/>
              <a:gd name="connsiteY0" fmla="*/ 2826772 h 2846255"/>
              <a:gd name="connsiteX1" fmla="*/ 7916977 w 7916977"/>
              <a:gd name="connsiteY1" fmla="*/ 0 h 2846255"/>
              <a:gd name="connsiteX0" fmla="*/ 3 w 7916977"/>
              <a:gd name="connsiteY0" fmla="*/ 2826772 h 3052074"/>
              <a:gd name="connsiteX1" fmla="*/ 7916977 w 7916977"/>
              <a:gd name="connsiteY1" fmla="*/ 0 h 3052074"/>
              <a:gd name="connsiteX0" fmla="*/ 3 w 7916977"/>
              <a:gd name="connsiteY0" fmla="*/ 2826772 h 3005674"/>
              <a:gd name="connsiteX1" fmla="*/ 7916977 w 7916977"/>
              <a:gd name="connsiteY1" fmla="*/ 0 h 3005674"/>
              <a:gd name="connsiteX0" fmla="*/ 0 w 7916977"/>
              <a:gd name="connsiteY0" fmla="*/ 2778890 h 2960467"/>
              <a:gd name="connsiteX1" fmla="*/ 7916977 w 7916977"/>
              <a:gd name="connsiteY1" fmla="*/ 0 h 2960467"/>
              <a:gd name="connsiteX0" fmla="*/ 0 w 7933419"/>
              <a:gd name="connsiteY0" fmla="*/ 2794848 h 2975527"/>
              <a:gd name="connsiteX1" fmla="*/ 7933419 w 7933419"/>
              <a:gd name="connsiteY1" fmla="*/ 0 h 2975527"/>
              <a:gd name="connsiteX0" fmla="*/ 0 w 7933419"/>
              <a:gd name="connsiteY0" fmla="*/ 2794848 h 3006384"/>
              <a:gd name="connsiteX1" fmla="*/ 7933419 w 7933419"/>
              <a:gd name="connsiteY1" fmla="*/ 0 h 3006384"/>
              <a:gd name="connsiteX0" fmla="*/ 0 w 7867644"/>
              <a:gd name="connsiteY0" fmla="*/ 2794848 h 3006384"/>
              <a:gd name="connsiteX1" fmla="*/ 7867644 w 7867644"/>
              <a:gd name="connsiteY1" fmla="*/ 0 h 3006384"/>
              <a:gd name="connsiteX0" fmla="*/ 0 w 3197651"/>
              <a:gd name="connsiteY0" fmla="*/ 0 h 1011361"/>
              <a:gd name="connsiteX1" fmla="*/ 3197651 w 3197651"/>
              <a:gd name="connsiteY1" fmla="*/ 349213 h 1011361"/>
              <a:gd name="connsiteX0" fmla="*/ 0 w 3197651"/>
              <a:gd name="connsiteY0" fmla="*/ 0 h 551058"/>
              <a:gd name="connsiteX1" fmla="*/ 3197651 w 3197651"/>
              <a:gd name="connsiteY1" fmla="*/ 349213 h 551058"/>
              <a:gd name="connsiteX0" fmla="*/ 0 w 3197651"/>
              <a:gd name="connsiteY0" fmla="*/ 0 h 499390"/>
              <a:gd name="connsiteX1" fmla="*/ 3197651 w 3197651"/>
              <a:gd name="connsiteY1" fmla="*/ 349213 h 499390"/>
              <a:gd name="connsiteX0" fmla="*/ 0 w 3197651"/>
              <a:gd name="connsiteY0" fmla="*/ 0 h 421477"/>
              <a:gd name="connsiteX1" fmla="*/ 3197651 w 3197651"/>
              <a:gd name="connsiteY1" fmla="*/ 349213 h 421477"/>
              <a:gd name="connsiteX0" fmla="*/ 0 w 3197651"/>
              <a:gd name="connsiteY0" fmla="*/ 0 h 480912"/>
              <a:gd name="connsiteX1" fmla="*/ 3197651 w 3197651"/>
              <a:gd name="connsiteY1" fmla="*/ 349213 h 480912"/>
              <a:gd name="connsiteX0" fmla="*/ 0 w 3181202"/>
              <a:gd name="connsiteY0" fmla="*/ 0 h 617329"/>
              <a:gd name="connsiteX1" fmla="*/ 3181202 w 3181202"/>
              <a:gd name="connsiteY1" fmla="*/ 540729 h 617329"/>
              <a:gd name="connsiteX0" fmla="*/ 0 w 3181202"/>
              <a:gd name="connsiteY0" fmla="*/ 0 h 589454"/>
              <a:gd name="connsiteX1" fmla="*/ 3181202 w 3181202"/>
              <a:gd name="connsiteY1" fmla="*/ 540729 h 589454"/>
              <a:gd name="connsiteX0" fmla="*/ 0 w 3164753"/>
              <a:gd name="connsiteY0" fmla="*/ 0 h 602523"/>
              <a:gd name="connsiteX1" fmla="*/ 3164753 w 3164753"/>
              <a:gd name="connsiteY1" fmla="*/ 556687 h 602523"/>
              <a:gd name="connsiteX0" fmla="*/ 0 w 3164753"/>
              <a:gd name="connsiteY0" fmla="*/ 0 h 585741"/>
              <a:gd name="connsiteX1" fmla="*/ 3164753 w 3164753"/>
              <a:gd name="connsiteY1" fmla="*/ 556687 h 585741"/>
              <a:gd name="connsiteX0" fmla="*/ 0 w 3164753"/>
              <a:gd name="connsiteY0" fmla="*/ 0 h 588616"/>
              <a:gd name="connsiteX1" fmla="*/ 3164753 w 3164753"/>
              <a:gd name="connsiteY1" fmla="*/ 556687 h 588616"/>
              <a:gd name="connsiteX0" fmla="*/ 0 w 4184262"/>
              <a:gd name="connsiteY0" fmla="*/ 0 h 1346832"/>
              <a:gd name="connsiteX1" fmla="*/ 4184262 w 4184262"/>
              <a:gd name="connsiteY1" fmla="*/ 1338715 h 1346832"/>
              <a:gd name="connsiteX0" fmla="*/ 0 w 4184262"/>
              <a:gd name="connsiteY0" fmla="*/ 0 h 1338716"/>
              <a:gd name="connsiteX1" fmla="*/ 4184262 w 4184262"/>
              <a:gd name="connsiteY1" fmla="*/ 1338715 h 1338716"/>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7922444"/>
              <a:gd name="connsiteY0" fmla="*/ 0 h 1354674"/>
              <a:gd name="connsiteX1" fmla="*/ 7922444 w 7922444"/>
              <a:gd name="connsiteY1" fmla="*/ 1354674 h 1354674"/>
              <a:gd name="connsiteX0" fmla="*/ 0 w 7922444"/>
              <a:gd name="connsiteY0" fmla="*/ 0 h 1354674"/>
              <a:gd name="connsiteX1" fmla="*/ 7922444 w 7922444"/>
              <a:gd name="connsiteY1" fmla="*/ 1354674 h 1354674"/>
              <a:gd name="connsiteX0" fmla="*/ 0 w 7922444"/>
              <a:gd name="connsiteY0" fmla="*/ 0 h 1967324"/>
              <a:gd name="connsiteX1" fmla="*/ 7922444 w 7922444"/>
              <a:gd name="connsiteY1" fmla="*/ 1354674 h 1967324"/>
              <a:gd name="connsiteX0" fmla="*/ 0 w 7856669"/>
              <a:gd name="connsiteY0" fmla="*/ 0 h 1882889"/>
              <a:gd name="connsiteX1" fmla="*/ 7856669 w 7856669"/>
              <a:gd name="connsiteY1" fmla="*/ 1120598 h 1882889"/>
              <a:gd name="connsiteX0" fmla="*/ 0 w 7856669"/>
              <a:gd name="connsiteY0" fmla="*/ 0 h 1907225"/>
              <a:gd name="connsiteX1" fmla="*/ 7856669 w 7856669"/>
              <a:gd name="connsiteY1" fmla="*/ 1120598 h 1907225"/>
              <a:gd name="connsiteX0" fmla="*/ 0 w 7856669"/>
              <a:gd name="connsiteY0" fmla="*/ 0 h 1953216"/>
              <a:gd name="connsiteX1" fmla="*/ 7856669 w 7856669"/>
              <a:gd name="connsiteY1" fmla="*/ 1120598 h 1953216"/>
              <a:gd name="connsiteX0" fmla="*/ 0 w 7840227"/>
              <a:gd name="connsiteY0" fmla="*/ 0 h 1914966"/>
              <a:gd name="connsiteX1" fmla="*/ 7840227 w 7840227"/>
              <a:gd name="connsiteY1" fmla="*/ 1008879 h 1914966"/>
              <a:gd name="connsiteX0" fmla="*/ 0 w 7840227"/>
              <a:gd name="connsiteY0" fmla="*/ 0 h 1817737"/>
              <a:gd name="connsiteX1" fmla="*/ 7840227 w 7840227"/>
              <a:gd name="connsiteY1" fmla="*/ 1008879 h 1817737"/>
              <a:gd name="connsiteX0" fmla="*/ 0 w 7790894"/>
              <a:gd name="connsiteY0" fmla="*/ 0 h 1806893"/>
              <a:gd name="connsiteX1" fmla="*/ 7790894 w 7790894"/>
              <a:gd name="connsiteY1" fmla="*/ 976956 h 1806893"/>
              <a:gd name="connsiteX0" fmla="*/ 0 w 7790894"/>
              <a:gd name="connsiteY0" fmla="*/ 0 h 1751365"/>
              <a:gd name="connsiteX1" fmla="*/ 7790894 w 7790894"/>
              <a:gd name="connsiteY1" fmla="*/ 976956 h 1751365"/>
              <a:gd name="connsiteX0" fmla="*/ 0 w 7790894"/>
              <a:gd name="connsiteY0" fmla="*/ 0 h 1820793"/>
              <a:gd name="connsiteX1" fmla="*/ 7790894 w 7790894"/>
              <a:gd name="connsiteY1" fmla="*/ 976956 h 1820793"/>
              <a:gd name="connsiteX0" fmla="*/ 0 w 7790894"/>
              <a:gd name="connsiteY0" fmla="*/ 0 h 1806893"/>
              <a:gd name="connsiteX1" fmla="*/ 7790894 w 7790894"/>
              <a:gd name="connsiteY1" fmla="*/ 976956 h 1806893"/>
              <a:gd name="connsiteX0" fmla="*/ 0 w 7646436"/>
              <a:gd name="connsiteY0" fmla="*/ 0 h 1749648"/>
              <a:gd name="connsiteX1" fmla="*/ 7646438 w 7646436"/>
              <a:gd name="connsiteY1" fmla="*/ 801919 h 1749648"/>
              <a:gd name="connsiteX0" fmla="*/ 0 w 7646436"/>
              <a:gd name="connsiteY0" fmla="*/ 0 h 1949180"/>
              <a:gd name="connsiteX1" fmla="*/ 7646438 w 7646436"/>
              <a:gd name="connsiteY1" fmla="*/ 801919 h 1949180"/>
              <a:gd name="connsiteX0" fmla="*/ 1 w 7654290"/>
              <a:gd name="connsiteY0" fmla="*/ 147701 h 1792575"/>
              <a:gd name="connsiteX1" fmla="*/ 7654292 w 7654290"/>
              <a:gd name="connsiteY1" fmla="*/ -1 h 1792575"/>
              <a:gd name="connsiteX0" fmla="*/ 1 w 7654290"/>
              <a:gd name="connsiteY0" fmla="*/ 147701 h 337093"/>
              <a:gd name="connsiteX1" fmla="*/ 7654292 w 7654290"/>
              <a:gd name="connsiteY1" fmla="*/ -1 h 337093"/>
              <a:gd name="connsiteX0" fmla="*/ 1 w 7654290"/>
              <a:gd name="connsiteY0" fmla="*/ 147701 h 309785"/>
              <a:gd name="connsiteX1" fmla="*/ 7654292 w 7654290"/>
              <a:gd name="connsiteY1" fmla="*/ -1 h 309785"/>
              <a:gd name="connsiteX0" fmla="*/ 1 w 7654290"/>
              <a:gd name="connsiteY0" fmla="*/ 147701 h 287229"/>
              <a:gd name="connsiteX1" fmla="*/ 7654292 w 7654290"/>
              <a:gd name="connsiteY1" fmla="*/ -1 h 287229"/>
              <a:gd name="connsiteX0" fmla="*/ 4 w 7452148"/>
              <a:gd name="connsiteY0" fmla="*/ 126512 h 274125"/>
              <a:gd name="connsiteX1" fmla="*/ 7452150 w 7452148"/>
              <a:gd name="connsiteY1" fmla="*/ -1 h 274125"/>
              <a:gd name="connsiteX0" fmla="*/ -2 w 7359956"/>
              <a:gd name="connsiteY0" fmla="*/ 175237 h 305111"/>
              <a:gd name="connsiteX1" fmla="*/ 7359958 w 7359956"/>
              <a:gd name="connsiteY1" fmla="*/ -1 h 305111"/>
              <a:gd name="connsiteX0" fmla="*/ -1 w 7465891"/>
              <a:gd name="connsiteY0" fmla="*/ 135252 h 279460"/>
              <a:gd name="connsiteX1" fmla="*/ 7465893 w 7465891"/>
              <a:gd name="connsiteY1" fmla="*/ -1 h 279460"/>
              <a:gd name="connsiteX0" fmla="*/ -1 w 11571957"/>
              <a:gd name="connsiteY0" fmla="*/ 1266380 h 1295265"/>
              <a:gd name="connsiteX1" fmla="*/ 11571957 w 11571957"/>
              <a:gd name="connsiteY1" fmla="*/ 1 h 1295265"/>
              <a:gd name="connsiteX0" fmla="*/ -1 w 11571957"/>
              <a:gd name="connsiteY0" fmla="*/ 1266380 h 1373167"/>
              <a:gd name="connsiteX1" fmla="*/ 3979169 w 11571957"/>
              <a:gd name="connsiteY1" fmla="*/ 1317909 h 1373167"/>
              <a:gd name="connsiteX2" fmla="*/ 11571957 w 11571957"/>
              <a:gd name="connsiteY2" fmla="*/ 1 h 1373167"/>
              <a:gd name="connsiteX0" fmla="*/ -1 w 11571957"/>
              <a:gd name="connsiteY0" fmla="*/ 1266380 h 1321797"/>
              <a:gd name="connsiteX1" fmla="*/ 3979169 w 11571957"/>
              <a:gd name="connsiteY1" fmla="*/ 1317909 h 1321797"/>
              <a:gd name="connsiteX2" fmla="*/ 11571957 w 11571957"/>
              <a:gd name="connsiteY2" fmla="*/ 1 h 1321797"/>
              <a:gd name="connsiteX0" fmla="*/ -1 w 11571957"/>
              <a:gd name="connsiteY0" fmla="*/ 1266380 h 1405388"/>
              <a:gd name="connsiteX1" fmla="*/ 3979169 w 11571957"/>
              <a:gd name="connsiteY1" fmla="*/ 1317909 h 1405388"/>
              <a:gd name="connsiteX2" fmla="*/ 11571957 w 11571957"/>
              <a:gd name="connsiteY2" fmla="*/ 1 h 1405388"/>
              <a:gd name="connsiteX0" fmla="*/ -1 w 11571957"/>
              <a:gd name="connsiteY0" fmla="*/ 1266380 h 1466387"/>
              <a:gd name="connsiteX1" fmla="*/ 4049395 w 11571957"/>
              <a:gd name="connsiteY1" fmla="*/ 1390915 h 1466387"/>
              <a:gd name="connsiteX2" fmla="*/ 11571957 w 11571957"/>
              <a:gd name="connsiteY2" fmla="*/ 1 h 1466387"/>
              <a:gd name="connsiteX0" fmla="*/ -1 w 11571957"/>
              <a:gd name="connsiteY0" fmla="*/ 1266380 h 1476321"/>
              <a:gd name="connsiteX1" fmla="*/ 4049395 w 11571957"/>
              <a:gd name="connsiteY1" fmla="*/ 1390915 h 1476321"/>
              <a:gd name="connsiteX2" fmla="*/ 11571957 w 11571957"/>
              <a:gd name="connsiteY2" fmla="*/ 1 h 1476321"/>
              <a:gd name="connsiteX0" fmla="*/ 2 w 11513721"/>
              <a:gd name="connsiteY0" fmla="*/ 1388864 h 1505074"/>
              <a:gd name="connsiteX1" fmla="*/ 3991159 w 11513721"/>
              <a:gd name="connsiteY1" fmla="*/ 1390914 h 1505074"/>
              <a:gd name="connsiteX2" fmla="*/ 11513721 w 11513721"/>
              <a:gd name="connsiteY2" fmla="*/ 0 h 1505074"/>
              <a:gd name="connsiteX0" fmla="*/ 2 w 11513721"/>
              <a:gd name="connsiteY0" fmla="*/ 1388864 h 1402719"/>
              <a:gd name="connsiteX1" fmla="*/ 7900822 w 11513721"/>
              <a:gd name="connsiteY1" fmla="*/ 1121534 h 1402719"/>
              <a:gd name="connsiteX2" fmla="*/ 11513721 w 11513721"/>
              <a:gd name="connsiteY2" fmla="*/ 0 h 1402719"/>
              <a:gd name="connsiteX0" fmla="*/ 2 w 11513721"/>
              <a:gd name="connsiteY0" fmla="*/ 1388864 h 1443996"/>
              <a:gd name="connsiteX1" fmla="*/ 7900822 w 11513721"/>
              <a:gd name="connsiteY1" fmla="*/ 1121534 h 1443996"/>
              <a:gd name="connsiteX2" fmla="*/ 11513721 w 11513721"/>
              <a:gd name="connsiteY2" fmla="*/ 0 h 1443996"/>
              <a:gd name="connsiteX0" fmla="*/ 2 w 11626925"/>
              <a:gd name="connsiteY0" fmla="*/ 1388864 h 1443996"/>
              <a:gd name="connsiteX1" fmla="*/ 7900822 w 11626925"/>
              <a:gd name="connsiteY1" fmla="*/ 1121534 h 1443996"/>
              <a:gd name="connsiteX2" fmla="*/ 11513721 w 11626925"/>
              <a:gd name="connsiteY2" fmla="*/ 0 h 1443996"/>
              <a:gd name="connsiteX0" fmla="*/ 2 w 11574910"/>
              <a:gd name="connsiteY0" fmla="*/ 1388864 h 1469145"/>
              <a:gd name="connsiteX1" fmla="*/ 5749023 w 11574910"/>
              <a:gd name="connsiteY1" fmla="*/ 1237437 h 1469145"/>
              <a:gd name="connsiteX2" fmla="*/ 11513721 w 11574910"/>
              <a:gd name="connsiteY2" fmla="*/ 0 h 1469145"/>
              <a:gd name="connsiteX0" fmla="*/ 2 w 11574910"/>
              <a:gd name="connsiteY0" fmla="*/ 1388864 h 1453596"/>
              <a:gd name="connsiteX1" fmla="*/ 5749023 w 11574910"/>
              <a:gd name="connsiteY1" fmla="*/ 1237437 h 1453596"/>
              <a:gd name="connsiteX2" fmla="*/ 11513721 w 11574910"/>
              <a:gd name="connsiteY2" fmla="*/ 0 h 1453596"/>
              <a:gd name="connsiteX0" fmla="*/ 2 w 11574910"/>
              <a:gd name="connsiteY0" fmla="*/ 1388864 h 1411617"/>
              <a:gd name="connsiteX1" fmla="*/ 5749023 w 11574910"/>
              <a:gd name="connsiteY1" fmla="*/ 1237437 h 1411617"/>
              <a:gd name="connsiteX2" fmla="*/ 11513721 w 11574910"/>
              <a:gd name="connsiteY2" fmla="*/ 0 h 1411617"/>
              <a:gd name="connsiteX0" fmla="*/ 2 w 9586579"/>
              <a:gd name="connsiteY0" fmla="*/ 773610 h 796363"/>
              <a:gd name="connsiteX1" fmla="*/ 5749023 w 9586579"/>
              <a:gd name="connsiteY1" fmla="*/ 622183 h 796363"/>
              <a:gd name="connsiteX2" fmla="*/ 9478252 w 9586579"/>
              <a:gd name="connsiteY2" fmla="*/ 0 h 796363"/>
              <a:gd name="connsiteX0" fmla="*/ 2 w 9478255"/>
              <a:gd name="connsiteY0" fmla="*/ 773610 h 796363"/>
              <a:gd name="connsiteX1" fmla="*/ 5749023 w 9478255"/>
              <a:gd name="connsiteY1" fmla="*/ 622183 h 796363"/>
              <a:gd name="connsiteX2" fmla="*/ 9478252 w 9478255"/>
              <a:gd name="connsiteY2" fmla="*/ 0 h 796363"/>
              <a:gd name="connsiteX0" fmla="*/ 2 w 9478255"/>
              <a:gd name="connsiteY0" fmla="*/ 773610 h 796363"/>
              <a:gd name="connsiteX1" fmla="*/ 5749018 w 9478255"/>
              <a:gd name="connsiteY1" fmla="*/ 622183 h 796363"/>
              <a:gd name="connsiteX2" fmla="*/ 9478252 w 9478255"/>
              <a:gd name="connsiteY2" fmla="*/ 0 h 796363"/>
              <a:gd name="connsiteX0" fmla="*/ 2 w 9478255"/>
              <a:gd name="connsiteY0" fmla="*/ 773610 h 796363"/>
              <a:gd name="connsiteX1" fmla="*/ 5749018 w 9478255"/>
              <a:gd name="connsiteY1" fmla="*/ 622183 h 796363"/>
              <a:gd name="connsiteX2" fmla="*/ 9478252 w 9478255"/>
              <a:gd name="connsiteY2" fmla="*/ 0 h 796363"/>
              <a:gd name="connsiteX0" fmla="*/ 2 w 9478255"/>
              <a:gd name="connsiteY0" fmla="*/ 773610 h 799963"/>
              <a:gd name="connsiteX1" fmla="*/ 5809075 w 9478255"/>
              <a:gd name="connsiteY1" fmla="*/ 640460 h 799963"/>
              <a:gd name="connsiteX2" fmla="*/ 9478252 w 9478255"/>
              <a:gd name="connsiteY2" fmla="*/ 0 h 799963"/>
              <a:gd name="connsiteX0" fmla="*/ 2 w 9255551"/>
              <a:gd name="connsiteY0" fmla="*/ 761935 h 788287"/>
              <a:gd name="connsiteX1" fmla="*/ 5809075 w 9255551"/>
              <a:gd name="connsiteY1" fmla="*/ 628785 h 788287"/>
              <a:gd name="connsiteX2" fmla="*/ 9255550 w 9255551"/>
              <a:gd name="connsiteY2" fmla="*/ 0 h 788287"/>
              <a:gd name="connsiteX0" fmla="*/ 2 w 9352889"/>
              <a:gd name="connsiteY0" fmla="*/ 761935 h 788287"/>
              <a:gd name="connsiteX1" fmla="*/ 5809075 w 9352889"/>
              <a:gd name="connsiteY1" fmla="*/ 628785 h 788287"/>
              <a:gd name="connsiteX2" fmla="*/ 9255550 w 9352889"/>
              <a:gd name="connsiteY2" fmla="*/ 0 h 788287"/>
              <a:gd name="connsiteX0" fmla="*/ 2 w 9663800"/>
              <a:gd name="connsiteY0" fmla="*/ 761935 h 781001"/>
              <a:gd name="connsiteX1" fmla="*/ 8116677 w 9663800"/>
              <a:gd name="connsiteY1" fmla="*/ 586291 h 781001"/>
              <a:gd name="connsiteX2" fmla="*/ 9255550 w 9663800"/>
              <a:gd name="connsiteY2" fmla="*/ 0 h 781001"/>
              <a:gd name="connsiteX0" fmla="*/ -1 w 9516914"/>
              <a:gd name="connsiteY0" fmla="*/ 766412 h 784905"/>
              <a:gd name="connsiteX1" fmla="*/ 7969791 w 9516914"/>
              <a:gd name="connsiteY1" fmla="*/ 586291 h 784905"/>
              <a:gd name="connsiteX2" fmla="*/ 9108664 w 9516914"/>
              <a:gd name="connsiteY2" fmla="*/ 0 h 784905"/>
              <a:gd name="connsiteX0" fmla="*/ -1 w 9516914"/>
              <a:gd name="connsiteY0" fmla="*/ 766412 h 773677"/>
              <a:gd name="connsiteX1" fmla="*/ 7969791 w 9516914"/>
              <a:gd name="connsiteY1" fmla="*/ 586291 h 773677"/>
              <a:gd name="connsiteX2" fmla="*/ 9108664 w 9516914"/>
              <a:gd name="connsiteY2" fmla="*/ 0 h 773677"/>
            </a:gdLst>
            <a:ahLst/>
            <a:cxnLst>
              <a:cxn ang="0">
                <a:pos x="connsiteX0" y="connsiteY0"/>
              </a:cxn>
              <a:cxn ang="0">
                <a:pos x="connsiteX1" y="connsiteY1"/>
              </a:cxn>
              <a:cxn ang="0">
                <a:pos x="connsiteX2" y="connsiteY2"/>
              </a:cxn>
            </a:cxnLst>
            <a:rect l="l" t="t" r="r" b="b"/>
            <a:pathLst>
              <a:path w="9516914" h="773677">
                <a:moveTo>
                  <a:pt x="-1" y="766412"/>
                </a:moveTo>
                <a:cubicBezTo>
                  <a:pt x="2376212" y="793878"/>
                  <a:pt x="5633262" y="745518"/>
                  <a:pt x="7969791" y="586291"/>
                </a:cubicBezTo>
                <a:cubicBezTo>
                  <a:pt x="9917542" y="427324"/>
                  <a:pt x="9683055" y="368318"/>
                  <a:pt x="9108664" y="0"/>
                </a:cubicBezTo>
              </a:path>
            </a:pathLst>
          </a:custGeom>
          <a:noFill/>
          <a:ln w="12700" cap="flat" cmpd="sng" algn="ctr">
            <a:solidFill>
              <a:srgbClr val="13835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de-DE"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8" name="Freeform 103"/>
          <p:cNvSpPr/>
          <p:nvPr/>
        </p:nvSpPr>
        <p:spPr bwMode="auto">
          <a:xfrm rot="1635044">
            <a:off x="2781326" y="2771033"/>
            <a:ext cx="1116837" cy="601374"/>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2875322"/>
              <a:gd name="connsiteY0" fmla="*/ 0 h 1850561"/>
              <a:gd name="connsiteX1" fmla="*/ 2875322 w 2875322"/>
              <a:gd name="connsiteY1" fmla="*/ 1850561 h 1850561"/>
              <a:gd name="connsiteX0" fmla="*/ 0 w 2875322"/>
              <a:gd name="connsiteY0" fmla="*/ 0 h 1850561"/>
              <a:gd name="connsiteX1" fmla="*/ 2875322 w 2875322"/>
              <a:gd name="connsiteY1" fmla="*/ 1850561 h 1850561"/>
              <a:gd name="connsiteX0" fmla="*/ 0 w 2894703"/>
              <a:gd name="connsiteY0" fmla="*/ 0 h 1850561"/>
              <a:gd name="connsiteX1" fmla="*/ 2894703 w 2894703"/>
              <a:gd name="connsiteY1" fmla="*/ 1850561 h 1850561"/>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0239"/>
              <a:gd name="connsiteY0" fmla="*/ 0 h 2300301"/>
              <a:gd name="connsiteX1" fmla="*/ 3480239 w 3480239"/>
              <a:gd name="connsiteY1" fmla="*/ 2300301 h 2300301"/>
              <a:gd name="connsiteX0" fmla="*/ 0 w 3480239"/>
              <a:gd name="connsiteY0" fmla="*/ 0 h 2300301"/>
              <a:gd name="connsiteX1" fmla="*/ 3480239 w 348023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521439"/>
              <a:gd name="connsiteY0" fmla="*/ 0 h 2232170"/>
              <a:gd name="connsiteX1" fmla="*/ 3521439 w 3521439"/>
              <a:gd name="connsiteY1" fmla="*/ 2232170 h 2232170"/>
              <a:gd name="connsiteX0" fmla="*/ 0 w 3521439"/>
              <a:gd name="connsiteY0" fmla="*/ 0 h 2232170"/>
              <a:gd name="connsiteX1" fmla="*/ 3521439 w 3521439"/>
              <a:gd name="connsiteY1" fmla="*/ 2232170 h 2232170"/>
              <a:gd name="connsiteX0" fmla="*/ 0 w 3521439"/>
              <a:gd name="connsiteY0" fmla="*/ 0 h 2209460"/>
              <a:gd name="connsiteX1" fmla="*/ 3521439 w 3521439"/>
              <a:gd name="connsiteY1" fmla="*/ 2209460 h 2209460"/>
              <a:gd name="connsiteX0" fmla="*/ 0 w 3521439"/>
              <a:gd name="connsiteY0" fmla="*/ 0 h 2209460"/>
              <a:gd name="connsiteX1" fmla="*/ 3521439 w 3521439"/>
              <a:gd name="connsiteY1" fmla="*/ 2209460 h 2209460"/>
              <a:gd name="connsiteX0" fmla="*/ 0 w 3166484"/>
              <a:gd name="connsiteY0" fmla="*/ 0 h 1509983"/>
              <a:gd name="connsiteX1" fmla="*/ 3166484 w 3166484"/>
              <a:gd name="connsiteY1" fmla="*/ 1509983 h 1509983"/>
              <a:gd name="connsiteX0" fmla="*/ 0 w 2028493"/>
              <a:gd name="connsiteY0" fmla="*/ 0 h 405367"/>
              <a:gd name="connsiteX1" fmla="*/ 2028493 w 2028493"/>
              <a:gd name="connsiteY1" fmla="*/ 62202 h 405367"/>
              <a:gd name="connsiteX0" fmla="*/ 0 w 2028493"/>
              <a:gd name="connsiteY0" fmla="*/ 0 h 410101"/>
              <a:gd name="connsiteX1" fmla="*/ 2028493 w 2028493"/>
              <a:gd name="connsiteY1" fmla="*/ 62202 h 410101"/>
              <a:gd name="connsiteX0" fmla="*/ 0 w 2049034"/>
              <a:gd name="connsiteY0" fmla="*/ 0 h 413154"/>
              <a:gd name="connsiteX1" fmla="*/ 2049034 w 2049034"/>
              <a:gd name="connsiteY1" fmla="*/ 76396 h 413154"/>
              <a:gd name="connsiteX0" fmla="*/ 0 w 2049034"/>
              <a:gd name="connsiteY0" fmla="*/ 143813 h 220209"/>
              <a:gd name="connsiteX1" fmla="*/ 2049034 w 2049034"/>
              <a:gd name="connsiteY1" fmla="*/ 220209 h 220209"/>
              <a:gd name="connsiteX0" fmla="*/ 0 w 2049034"/>
              <a:gd name="connsiteY0" fmla="*/ 154753 h 231149"/>
              <a:gd name="connsiteX1" fmla="*/ 2049034 w 2049034"/>
              <a:gd name="connsiteY1" fmla="*/ 231149 h 231149"/>
              <a:gd name="connsiteX0" fmla="*/ 0 w 2057250"/>
              <a:gd name="connsiteY0" fmla="*/ 145732 h 242000"/>
              <a:gd name="connsiteX1" fmla="*/ 2057250 w 2057250"/>
              <a:gd name="connsiteY1" fmla="*/ 242000 h 242000"/>
              <a:gd name="connsiteX0" fmla="*/ 0 w 2057250"/>
              <a:gd name="connsiteY0" fmla="*/ 155638 h 251906"/>
              <a:gd name="connsiteX1" fmla="*/ 2057250 w 2057250"/>
              <a:gd name="connsiteY1" fmla="*/ 251906 h 251906"/>
              <a:gd name="connsiteX0" fmla="*/ 0 w 2057250"/>
              <a:gd name="connsiteY0" fmla="*/ 154153 h 250421"/>
              <a:gd name="connsiteX1" fmla="*/ 2057250 w 2057250"/>
              <a:gd name="connsiteY1" fmla="*/ 250421 h 250421"/>
              <a:gd name="connsiteX0" fmla="*/ 0 w 2057250"/>
              <a:gd name="connsiteY0" fmla="*/ 175529 h 271797"/>
              <a:gd name="connsiteX1" fmla="*/ 2057250 w 2057250"/>
              <a:gd name="connsiteY1" fmla="*/ 271797 h 271797"/>
              <a:gd name="connsiteX0" fmla="*/ 0 w 1925785"/>
              <a:gd name="connsiteY0" fmla="*/ 146190 h 318159"/>
              <a:gd name="connsiteX1" fmla="*/ 1925785 w 1925785"/>
              <a:gd name="connsiteY1" fmla="*/ 318159 h 318159"/>
              <a:gd name="connsiteX0" fmla="*/ 0 w 1942218"/>
              <a:gd name="connsiteY0" fmla="*/ 143309 h 323795"/>
              <a:gd name="connsiteX1" fmla="*/ 1942218 w 1942218"/>
              <a:gd name="connsiteY1" fmla="*/ 323795 h 323795"/>
              <a:gd name="connsiteX0" fmla="*/ 0 w 1942218"/>
              <a:gd name="connsiteY0" fmla="*/ 1 h 180487"/>
              <a:gd name="connsiteX1" fmla="*/ 1942218 w 1942218"/>
              <a:gd name="connsiteY1" fmla="*/ 180487 h 180487"/>
              <a:gd name="connsiteX0" fmla="*/ 0 w 1966867"/>
              <a:gd name="connsiteY0" fmla="*/ 0 h 171970"/>
              <a:gd name="connsiteX1" fmla="*/ 1966867 w 1966867"/>
              <a:gd name="connsiteY1" fmla="*/ 171971 h 171970"/>
              <a:gd name="connsiteX0" fmla="*/ 0 w 1966867"/>
              <a:gd name="connsiteY0" fmla="*/ 0 h 171971"/>
              <a:gd name="connsiteX1" fmla="*/ 1966867 w 1966867"/>
              <a:gd name="connsiteY1" fmla="*/ 171971 h 171971"/>
              <a:gd name="connsiteX0" fmla="*/ 0 w 1958651"/>
              <a:gd name="connsiteY0" fmla="*/ 0 h 186165"/>
              <a:gd name="connsiteX1" fmla="*/ 1958651 w 1958651"/>
              <a:gd name="connsiteY1" fmla="*/ 186165 h 186165"/>
              <a:gd name="connsiteX0" fmla="*/ 0 w 1954543"/>
              <a:gd name="connsiteY0" fmla="*/ 0 h 203197"/>
              <a:gd name="connsiteX1" fmla="*/ 1954543 w 1954543"/>
              <a:gd name="connsiteY1" fmla="*/ 203197 h 203197"/>
              <a:gd name="connsiteX0" fmla="*/ 0 w 2324286"/>
              <a:gd name="connsiteY0" fmla="*/ 0 h 475721"/>
              <a:gd name="connsiteX1" fmla="*/ 2324286 w 2324286"/>
              <a:gd name="connsiteY1" fmla="*/ 475721 h 475721"/>
              <a:gd name="connsiteX0" fmla="*/ 0 w 2324286"/>
              <a:gd name="connsiteY0" fmla="*/ 0 h 479624"/>
              <a:gd name="connsiteX1" fmla="*/ 2324286 w 2324286"/>
              <a:gd name="connsiteY1" fmla="*/ 475721 h 479624"/>
              <a:gd name="connsiteX0" fmla="*/ 0 w 2324286"/>
              <a:gd name="connsiteY0" fmla="*/ 0 h 480172"/>
              <a:gd name="connsiteX1" fmla="*/ 2324286 w 2324286"/>
              <a:gd name="connsiteY1" fmla="*/ 475721 h 480172"/>
              <a:gd name="connsiteX0" fmla="*/ 0 w 2324286"/>
              <a:gd name="connsiteY0" fmla="*/ 0 h 475721"/>
              <a:gd name="connsiteX1" fmla="*/ 2324286 w 2324286"/>
              <a:gd name="connsiteY1" fmla="*/ 475721 h 475721"/>
              <a:gd name="connsiteX0" fmla="*/ 0 w 2316069"/>
              <a:gd name="connsiteY0" fmla="*/ 0 h 498431"/>
              <a:gd name="connsiteX1" fmla="*/ 2316069 w 2316069"/>
              <a:gd name="connsiteY1" fmla="*/ 498431 h 498431"/>
              <a:gd name="connsiteX0" fmla="*/ 0 w 2316069"/>
              <a:gd name="connsiteY0" fmla="*/ 0 h 498431"/>
              <a:gd name="connsiteX1" fmla="*/ 2316069 w 2316069"/>
              <a:gd name="connsiteY1" fmla="*/ 498431 h 49843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04754"/>
              <a:gd name="connsiteY0" fmla="*/ 0 h 1015091"/>
              <a:gd name="connsiteX1" fmla="*/ 4604754 w 4604754"/>
              <a:gd name="connsiteY1" fmla="*/ 1015091 h 1015091"/>
              <a:gd name="connsiteX0" fmla="*/ 0 w 4604754"/>
              <a:gd name="connsiteY0" fmla="*/ 0 h 1015091"/>
              <a:gd name="connsiteX1" fmla="*/ 4604754 w 4604754"/>
              <a:gd name="connsiteY1" fmla="*/ 1015091 h 1015091"/>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23432 h 1021455"/>
              <a:gd name="connsiteX1" fmla="*/ 4604754 w 4604754"/>
              <a:gd name="connsiteY1" fmla="*/ 1021455 h 1021455"/>
              <a:gd name="connsiteX0" fmla="*/ 0 w 4621488"/>
              <a:gd name="connsiteY0" fmla="*/ 28563 h 866964"/>
              <a:gd name="connsiteX1" fmla="*/ 4621488 w 4621488"/>
              <a:gd name="connsiteY1" fmla="*/ 866966 h 866964"/>
              <a:gd name="connsiteX0" fmla="*/ 0 w 4621488"/>
              <a:gd name="connsiteY0" fmla="*/ 35875 h 874276"/>
              <a:gd name="connsiteX1" fmla="*/ 4621488 w 4621488"/>
              <a:gd name="connsiteY1" fmla="*/ 874278 h 874276"/>
              <a:gd name="connsiteX0" fmla="*/ 2 w 4634037"/>
              <a:gd name="connsiteY0" fmla="*/ 44537 h 763234"/>
              <a:gd name="connsiteX1" fmla="*/ 4634037 w 4634037"/>
              <a:gd name="connsiteY1" fmla="*/ 763236 h 763234"/>
              <a:gd name="connsiteX0" fmla="*/ 2 w 4634037"/>
              <a:gd name="connsiteY0" fmla="*/ -3 h 718694"/>
              <a:gd name="connsiteX1" fmla="*/ 4634037 w 4634037"/>
              <a:gd name="connsiteY1" fmla="*/ 718696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1413475"/>
              <a:gd name="connsiteY0" fmla="*/ 606407 h 728390"/>
              <a:gd name="connsiteX1" fmla="*/ 1413474 w 1413475"/>
              <a:gd name="connsiteY1" fmla="*/ 126977 h 728390"/>
              <a:gd name="connsiteX0" fmla="*/ 2 w 1413475"/>
              <a:gd name="connsiteY0" fmla="*/ 479431 h 721543"/>
              <a:gd name="connsiteX1" fmla="*/ 1413474 w 1413475"/>
              <a:gd name="connsiteY1" fmla="*/ 1 h 721543"/>
              <a:gd name="connsiteX0" fmla="*/ 3 w 1605506"/>
              <a:gd name="connsiteY0" fmla="*/ 487353 h 727739"/>
              <a:gd name="connsiteX1" fmla="*/ 1605505 w 1605506"/>
              <a:gd name="connsiteY1" fmla="*/ 1 h 727739"/>
              <a:gd name="connsiteX0" fmla="*/ 3 w 1605506"/>
              <a:gd name="connsiteY0" fmla="*/ 487353 h 595674"/>
              <a:gd name="connsiteX1" fmla="*/ 1605505 w 1605506"/>
              <a:gd name="connsiteY1" fmla="*/ 1 h 595674"/>
              <a:gd name="connsiteX0" fmla="*/ 3 w 1573179"/>
              <a:gd name="connsiteY0" fmla="*/ 635014 h 720486"/>
              <a:gd name="connsiteX1" fmla="*/ 1573180 w 1573179"/>
              <a:gd name="connsiteY1" fmla="*/ 1 h 720486"/>
              <a:gd name="connsiteX0" fmla="*/ 3 w 1573179"/>
              <a:gd name="connsiteY0" fmla="*/ 635014 h 727984"/>
              <a:gd name="connsiteX1" fmla="*/ 1573180 w 1573179"/>
              <a:gd name="connsiteY1" fmla="*/ 1 h 727984"/>
              <a:gd name="connsiteX0" fmla="*/ 3 w 1619069"/>
              <a:gd name="connsiteY0" fmla="*/ 464741 h 589089"/>
              <a:gd name="connsiteX1" fmla="*/ 1619069 w 1619069"/>
              <a:gd name="connsiteY1" fmla="*/ 1 h 589089"/>
              <a:gd name="connsiteX0" fmla="*/ 3 w 1619069"/>
              <a:gd name="connsiteY0" fmla="*/ 464741 h 644508"/>
              <a:gd name="connsiteX1" fmla="*/ 1619069 w 1619069"/>
              <a:gd name="connsiteY1" fmla="*/ 1 h 644508"/>
              <a:gd name="connsiteX0" fmla="*/ 3 w 1619069"/>
              <a:gd name="connsiteY0" fmla="*/ 464741 h 573752"/>
              <a:gd name="connsiteX1" fmla="*/ 1619069 w 1619069"/>
              <a:gd name="connsiteY1" fmla="*/ 1 h 573752"/>
              <a:gd name="connsiteX0" fmla="*/ 3 w 1619069"/>
              <a:gd name="connsiteY0" fmla="*/ 496657 h 598698"/>
              <a:gd name="connsiteX1" fmla="*/ 1619069 w 1619069"/>
              <a:gd name="connsiteY1" fmla="*/ 0 h 598698"/>
              <a:gd name="connsiteX0" fmla="*/ 3 w 7916977"/>
              <a:gd name="connsiteY0" fmla="*/ 2826772 h 2841912"/>
              <a:gd name="connsiteX1" fmla="*/ 7916977 w 7916977"/>
              <a:gd name="connsiteY1" fmla="*/ 0 h 2841912"/>
              <a:gd name="connsiteX0" fmla="*/ 3 w 7916977"/>
              <a:gd name="connsiteY0" fmla="*/ 2826772 h 2846255"/>
              <a:gd name="connsiteX1" fmla="*/ 7916977 w 7916977"/>
              <a:gd name="connsiteY1" fmla="*/ 0 h 2846255"/>
              <a:gd name="connsiteX0" fmla="*/ 3 w 7916977"/>
              <a:gd name="connsiteY0" fmla="*/ 2826772 h 3052074"/>
              <a:gd name="connsiteX1" fmla="*/ 7916977 w 7916977"/>
              <a:gd name="connsiteY1" fmla="*/ 0 h 3052074"/>
              <a:gd name="connsiteX0" fmla="*/ 3 w 7916977"/>
              <a:gd name="connsiteY0" fmla="*/ 2826772 h 3005674"/>
              <a:gd name="connsiteX1" fmla="*/ 7916977 w 7916977"/>
              <a:gd name="connsiteY1" fmla="*/ 0 h 3005674"/>
              <a:gd name="connsiteX0" fmla="*/ 0 w 7916977"/>
              <a:gd name="connsiteY0" fmla="*/ 2778890 h 2960467"/>
              <a:gd name="connsiteX1" fmla="*/ 7916977 w 7916977"/>
              <a:gd name="connsiteY1" fmla="*/ 0 h 2960467"/>
              <a:gd name="connsiteX0" fmla="*/ 0 w 7933419"/>
              <a:gd name="connsiteY0" fmla="*/ 2794848 h 2975527"/>
              <a:gd name="connsiteX1" fmla="*/ 7933419 w 7933419"/>
              <a:gd name="connsiteY1" fmla="*/ 0 h 2975527"/>
              <a:gd name="connsiteX0" fmla="*/ 0 w 7933419"/>
              <a:gd name="connsiteY0" fmla="*/ 2794848 h 3006384"/>
              <a:gd name="connsiteX1" fmla="*/ 7933419 w 7933419"/>
              <a:gd name="connsiteY1" fmla="*/ 0 h 3006384"/>
              <a:gd name="connsiteX0" fmla="*/ 0 w 7867644"/>
              <a:gd name="connsiteY0" fmla="*/ 2794848 h 3006384"/>
              <a:gd name="connsiteX1" fmla="*/ 7867644 w 7867644"/>
              <a:gd name="connsiteY1" fmla="*/ 0 h 3006384"/>
              <a:gd name="connsiteX0" fmla="*/ 0 w 3197651"/>
              <a:gd name="connsiteY0" fmla="*/ 0 h 1011361"/>
              <a:gd name="connsiteX1" fmla="*/ 3197651 w 3197651"/>
              <a:gd name="connsiteY1" fmla="*/ 349213 h 1011361"/>
              <a:gd name="connsiteX0" fmla="*/ 0 w 3197651"/>
              <a:gd name="connsiteY0" fmla="*/ 0 h 551058"/>
              <a:gd name="connsiteX1" fmla="*/ 3197651 w 3197651"/>
              <a:gd name="connsiteY1" fmla="*/ 349213 h 551058"/>
              <a:gd name="connsiteX0" fmla="*/ 0 w 3197651"/>
              <a:gd name="connsiteY0" fmla="*/ 0 h 499390"/>
              <a:gd name="connsiteX1" fmla="*/ 3197651 w 3197651"/>
              <a:gd name="connsiteY1" fmla="*/ 349213 h 499390"/>
              <a:gd name="connsiteX0" fmla="*/ 0 w 3197651"/>
              <a:gd name="connsiteY0" fmla="*/ 0 h 421477"/>
              <a:gd name="connsiteX1" fmla="*/ 3197651 w 3197651"/>
              <a:gd name="connsiteY1" fmla="*/ 349213 h 421477"/>
              <a:gd name="connsiteX0" fmla="*/ 0 w 3197651"/>
              <a:gd name="connsiteY0" fmla="*/ 0 h 480912"/>
              <a:gd name="connsiteX1" fmla="*/ 3197651 w 3197651"/>
              <a:gd name="connsiteY1" fmla="*/ 349213 h 480912"/>
              <a:gd name="connsiteX0" fmla="*/ 0 w 3181202"/>
              <a:gd name="connsiteY0" fmla="*/ 0 h 617329"/>
              <a:gd name="connsiteX1" fmla="*/ 3181202 w 3181202"/>
              <a:gd name="connsiteY1" fmla="*/ 540729 h 617329"/>
              <a:gd name="connsiteX0" fmla="*/ 0 w 3181202"/>
              <a:gd name="connsiteY0" fmla="*/ 0 h 589454"/>
              <a:gd name="connsiteX1" fmla="*/ 3181202 w 3181202"/>
              <a:gd name="connsiteY1" fmla="*/ 540729 h 589454"/>
              <a:gd name="connsiteX0" fmla="*/ 0 w 3164753"/>
              <a:gd name="connsiteY0" fmla="*/ 0 h 602523"/>
              <a:gd name="connsiteX1" fmla="*/ 3164753 w 3164753"/>
              <a:gd name="connsiteY1" fmla="*/ 556687 h 602523"/>
              <a:gd name="connsiteX0" fmla="*/ 0 w 3164753"/>
              <a:gd name="connsiteY0" fmla="*/ 0 h 585741"/>
              <a:gd name="connsiteX1" fmla="*/ 3164753 w 3164753"/>
              <a:gd name="connsiteY1" fmla="*/ 556687 h 585741"/>
              <a:gd name="connsiteX0" fmla="*/ 0 w 3164753"/>
              <a:gd name="connsiteY0" fmla="*/ 0 h 588616"/>
              <a:gd name="connsiteX1" fmla="*/ 3164753 w 3164753"/>
              <a:gd name="connsiteY1" fmla="*/ 556687 h 588616"/>
              <a:gd name="connsiteX0" fmla="*/ 0 w 4184262"/>
              <a:gd name="connsiteY0" fmla="*/ 0 h 1346832"/>
              <a:gd name="connsiteX1" fmla="*/ 4184262 w 4184262"/>
              <a:gd name="connsiteY1" fmla="*/ 1338715 h 1346832"/>
              <a:gd name="connsiteX0" fmla="*/ 0 w 4184262"/>
              <a:gd name="connsiteY0" fmla="*/ 0 h 1338716"/>
              <a:gd name="connsiteX1" fmla="*/ 4184262 w 4184262"/>
              <a:gd name="connsiteY1" fmla="*/ 1338715 h 1338716"/>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7922444"/>
              <a:gd name="connsiteY0" fmla="*/ 0 h 1354674"/>
              <a:gd name="connsiteX1" fmla="*/ 7922444 w 7922444"/>
              <a:gd name="connsiteY1" fmla="*/ 1354674 h 1354674"/>
              <a:gd name="connsiteX0" fmla="*/ 0 w 7922444"/>
              <a:gd name="connsiteY0" fmla="*/ 0 h 1354674"/>
              <a:gd name="connsiteX1" fmla="*/ 7922444 w 7922444"/>
              <a:gd name="connsiteY1" fmla="*/ 1354674 h 1354674"/>
              <a:gd name="connsiteX0" fmla="*/ 0 w 7922444"/>
              <a:gd name="connsiteY0" fmla="*/ 0 h 1967324"/>
              <a:gd name="connsiteX1" fmla="*/ 7922444 w 7922444"/>
              <a:gd name="connsiteY1" fmla="*/ 1354674 h 1967324"/>
              <a:gd name="connsiteX0" fmla="*/ 0 w 7856669"/>
              <a:gd name="connsiteY0" fmla="*/ 0 h 1882889"/>
              <a:gd name="connsiteX1" fmla="*/ 7856669 w 7856669"/>
              <a:gd name="connsiteY1" fmla="*/ 1120598 h 1882889"/>
              <a:gd name="connsiteX0" fmla="*/ 0 w 7856669"/>
              <a:gd name="connsiteY0" fmla="*/ 0 h 1907225"/>
              <a:gd name="connsiteX1" fmla="*/ 7856669 w 7856669"/>
              <a:gd name="connsiteY1" fmla="*/ 1120598 h 1907225"/>
              <a:gd name="connsiteX0" fmla="*/ 0 w 7856669"/>
              <a:gd name="connsiteY0" fmla="*/ 0 h 1953216"/>
              <a:gd name="connsiteX1" fmla="*/ 7856669 w 7856669"/>
              <a:gd name="connsiteY1" fmla="*/ 1120598 h 1953216"/>
              <a:gd name="connsiteX0" fmla="*/ 0 w 7840227"/>
              <a:gd name="connsiteY0" fmla="*/ 0 h 1914966"/>
              <a:gd name="connsiteX1" fmla="*/ 7840227 w 7840227"/>
              <a:gd name="connsiteY1" fmla="*/ 1008879 h 1914966"/>
              <a:gd name="connsiteX0" fmla="*/ 0 w 7840227"/>
              <a:gd name="connsiteY0" fmla="*/ 0 h 1817737"/>
              <a:gd name="connsiteX1" fmla="*/ 7840227 w 7840227"/>
              <a:gd name="connsiteY1" fmla="*/ 1008879 h 1817737"/>
              <a:gd name="connsiteX0" fmla="*/ 0 w 7790894"/>
              <a:gd name="connsiteY0" fmla="*/ 0 h 1806893"/>
              <a:gd name="connsiteX1" fmla="*/ 7790894 w 7790894"/>
              <a:gd name="connsiteY1" fmla="*/ 976956 h 1806893"/>
              <a:gd name="connsiteX0" fmla="*/ 0 w 7790894"/>
              <a:gd name="connsiteY0" fmla="*/ 0 h 1751365"/>
              <a:gd name="connsiteX1" fmla="*/ 7790894 w 7790894"/>
              <a:gd name="connsiteY1" fmla="*/ 976956 h 1751365"/>
              <a:gd name="connsiteX0" fmla="*/ 0 w 7790894"/>
              <a:gd name="connsiteY0" fmla="*/ 0 h 1820793"/>
              <a:gd name="connsiteX1" fmla="*/ 7790894 w 7790894"/>
              <a:gd name="connsiteY1" fmla="*/ 976956 h 1820793"/>
              <a:gd name="connsiteX0" fmla="*/ 0 w 7790894"/>
              <a:gd name="connsiteY0" fmla="*/ 0 h 1806893"/>
              <a:gd name="connsiteX1" fmla="*/ 7790894 w 7790894"/>
              <a:gd name="connsiteY1" fmla="*/ 976956 h 1806893"/>
              <a:gd name="connsiteX0" fmla="*/ 0 w 7646436"/>
              <a:gd name="connsiteY0" fmla="*/ 0 h 1749648"/>
              <a:gd name="connsiteX1" fmla="*/ 7646438 w 7646436"/>
              <a:gd name="connsiteY1" fmla="*/ 801919 h 1749648"/>
              <a:gd name="connsiteX0" fmla="*/ 0 w 7646436"/>
              <a:gd name="connsiteY0" fmla="*/ 0 h 1949180"/>
              <a:gd name="connsiteX1" fmla="*/ 7646438 w 7646436"/>
              <a:gd name="connsiteY1" fmla="*/ 801919 h 1949180"/>
              <a:gd name="connsiteX0" fmla="*/ 1 w 7654290"/>
              <a:gd name="connsiteY0" fmla="*/ 147701 h 1792575"/>
              <a:gd name="connsiteX1" fmla="*/ 7654292 w 7654290"/>
              <a:gd name="connsiteY1" fmla="*/ -1 h 1792575"/>
              <a:gd name="connsiteX0" fmla="*/ 1 w 7654290"/>
              <a:gd name="connsiteY0" fmla="*/ 147701 h 337093"/>
              <a:gd name="connsiteX1" fmla="*/ 7654292 w 7654290"/>
              <a:gd name="connsiteY1" fmla="*/ -1 h 337093"/>
              <a:gd name="connsiteX0" fmla="*/ 1 w 7654290"/>
              <a:gd name="connsiteY0" fmla="*/ 147701 h 309785"/>
              <a:gd name="connsiteX1" fmla="*/ 7654292 w 7654290"/>
              <a:gd name="connsiteY1" fmla="*/ -1 h 309785"/>
              <a:gd name="connsiteX0" fmla="*/ 1 w 7654290"/>
              <a:gd name="connsiteY0" fmla="*/ 147701 h 287229"/>
              <a:gd name="connsiteX1" fmla="*/ 7654292 w 7654290"/>
              <a:gd name="connsiteY1" fmla="*/ -1 h 287229"/>
              <a:gd name="connsiteX0" fmla="*/ 4 w 7452148"/>
              <a:gd name="connsiteY0" fmla="*/ 126512 h 274125"/>
              <a:gd name="connsiteX1" fmla="*/ 7452150 w 7452148"/>
              <a:gd name="connsiteY1" fmla="*/ -1 h 274125"/>
              <a:gd name="connsiteX0" fmla="*/ -2 w 7359956"/>
              <a:gd name="connsiteY0" fmla="*/ 175237 h 305111"/>
              <a:gd name="connsiteX1" fmla="*/ 7359958 w 7359956"/>
              <a:gd name="connsiteY1" fmla="*/ -1 h 305111"/>
              <a:gd name="connsiteX0" fmla="*/ -1 w 7465891"/>
              <a:gd name="connsiteY0" fmla="*/ 135252 h 279460"/>
              <a:gd name="connsiteX1" fmla="*/ 7465893 w 7465891"/>
              <a:gd name="connsiteY1" fmla="*/ -1 h 279460"/>
              <a:gd name="connsiteX0" fmla="*/ -1 w 11571957"/>
              <a:gd name="connsiteY0" fmla="*/ 1266380 h 1295265"/>
              <a:gd name="connsiteX1" fmla="*/ 11571957 w 11571957"/>
              <a:gd name="connsiteY1" fmla="*/ 1 h 1295265"/>
              <a:gd name="connsiteX0" fmla="*/ -1 w 11571957"/>
              <a:gd name="connsiteY0" fmla="*/ 1266380 h 1373167"/>
              <a:gd name="connsiteX1" fmla="*/ 3979169 w 11571957"/>
              <a:gd name="connsiteY1" fmla="*/ 1317909 h 1373167"/>
              <a:gd name="connsiteX2" fmla="*/ 11571957 w 11571957"/>
              <a:gd name="connsiteY2" fmla="*/ 1 h 1373167"/>
              <a:gd name="connsiteX0" fmla="*/ -1 w 11571957"/>
              <a:gd name="connsiteY0" fmla="*/ 1266380 h 1321797"/>
              <a:gd name="connsiteX1" fmla="*/ 3979169 w 11571957"/>
              <a:gd name="connsiteY1" fmla="*/ 1317909 h 1321797"/>
              <a:gd name="connsiteX2" fmla="*/ 11571957 w 11571957"/>
              <a:gd name="connsiteY2" fmla="*/ 1 h 1321797"/>
              <a:gd name="connsiteX0" fmla="*/ -1 w 11571957"/>
              <a:gd name="connsiteY0" fmla="*/ 1266380 h 1405388"/>
              <a:gd name="connsiteX1" fmla="*/ 3979169 w 11571957"/>
              <a:gd name="connsiteY1" fmla="*/ 1317909 h 1405388"/>
              <a:gd name="connsiteX2" fmla="*/ 11571957 w 11571957"/>
              <a:gd name="connsiteY2" fmla="*/ 1 h 1405388"/>
              <a:gd name="connsiteX0" fmla="*/ -1 w 11571957"/>
              <a:gd name="connsiteY0" fmla="*/ 1266380 h 1466387"/>
              <a:gd name="connsiteX1" fmla="*/ 4049395 w 11571957"/>
              <a:gd name="connsiteY1" fmla="*/ 1390915 h 1466387"/>
              <a:gd name="connsiteX2" fmla="*/ 11571957 w 11571957"/>
              <a:gd name="connsiteY2" fmla="*/ 1 h 1466387"/>
              <a:gd name="connsiteX0" fmla="*/ -1 w 11571957"/>
              <a:gd name="connsiteY0" fmla="*/ 1266380 h 1476321"/>
              <a:gd name="connsiteX1" fmla="*/ 4049395 w 11571957"/>
              <a:gd name="connsiteY1" fmla="*/ 1390915 h 1476321"/>
              <a:gd name="connsiteX2" fmla="*/ 11571957 w 11571957"/>
              <a:gd name="connsiteY2" fmla="*/ 1 h 1476321"/>
              <a:gd name="connsiteX0" fmla="*/ 2 w 11513721"/>
              <a:gd name="connsiteY0" fmla="*/ 1388864 h 1505074"/>
              <a:gd name="connsiteX1" fmla="*/ 3991159 w 11513721"/>
              <a:gd name="connsiteY1" fmla="*/ 1390914 h 1505074"/>
              <a:gd name="connsiteX2" fmla="*/ 11513721 w 11513721"/>
              <a:gd name="connsiteY2" fmla="*/ 0 h 1505074"/>
              <a:gd name="connsiteX0" fmla="*/ 2 w 11513721"/>
              <a:gd name="connsiteY0" fmla="*/ 1388864 h 1402719"/>
              <a:gd name="connsiteX1" fmla="*/ 7900822 w 11513721"/>
              <a:gd name="connsiteY1" fmla="*/ 1121534 h 1402719"/>
              <a:gd name="connsiteX2" fmla="*/ 11513721 w 11513721"/>
              <a:gd name="connsiteY2" fmla="*/ 0 h 1402719"/>
              <a:gd name="connsiteX0" fmla="*/ 2 w 11513721"/>
              <a:gd name="connsiteY0" fmla="*/ 1388864 h 1443996"/>
              <a:gd name="connsiteX1" fmla="*/ 7900822 w 11513721"/>
              <a:gd name="connsiteY1" fmla="*/ 1121534 h 1443996"/>
              <a:gd name="connsiteX2" fmla="*/ 11513721 w 11513721"/>
              <a:gd name="connsiteY2" fmla="*/ 0 h 1443996"/>
              <a:gd name="connsiteX0" fmla="*/ 2 w 11626925"/>
              <a:gd name="connsiteY0" fmla="*/ 1388864 h 1443996"/>
              <a:gd name="connsiteX1" fmla="*/ 7900822 w 11626925"/>
              <a:gd name="connsiteY1" fmla="*/ 1121534 h 1443996"/>
              <a:gd name="connsiteX2" fmla="*/ 11513721 w 11626925"/>
              <a:gd name="connsiteY2" fmla="*/ 0 h 1443996"/>
              <a:gd name="connsiteX0" fmla="*/ 2 w 11574910"/>
              <a:gd name="connsiteY0" fmla="*/ 1388864 h 1469145"/>
              <a:gd name="connsiteX1" fmla="*/ 5749023 w 11574910"/>
              <a:gd name="connsiteY1" fmla="*/ 1237437 h 1469145"/>
              <a:gd name="connsiteX2" fmla="*/ 11513721 w 11574910"/>
              <a:gd name="connsiteY2" fmla="*/ 0 h 1469145"/>
              <a:gd name="connsiteX0" fmla="*/ 2 w 11574910"/>
              <a:gd name="connsiteY0" fmla="*/ 1388864 h 1453596"/>
              <a:gd name="connsiteX1" fmla="*/ 5749023 w 11574910"/>
              <a:gd name="connsiteY1" fmla="*/ 1237437 h 1453596"/>
              <a:gd name="connsiteX2" fmla="*/ 11513721 w 11574910"/>
              <a:gd name="connsiteY2" fmla="*/ 0 h 1453596"/>
              <a:gd name="connsiteX0" fmla="*/ 2 w 11574910"/>
              <a:gd name="connsiteY0" fmla="*/ 1388864 h 1411617"/>
              <a:gd name="connsiteX1" fmla="*/ 5749023 w 11574910"/>
              <a:gd name="connsiteY1" fmla="*/ 1237437 h 1411617"/>
              <a:gd name="connsiteX2" fmla="*/ 11513721 w 11574910"/>
              <a:gd name="connsiteY2" fmla="*/ 0 h 1411617"/>
              <a:gd name="connsiteX0" fmla="*/ 2 w 9586579"/>
              <a:gd name="connsiteY0" fmla="*/ 773610 h 796363"/>
              <a:gd name="connsiteX1" fmla="*/ 5749023 w 9586579"/>
              <a:gd name="connsiteY1" fmla="*/ 622183 h 796363"/>
              <a:gd name="connsiteX2" fmla="*/ 9478252 w 9586579"/>
              <a:gd name="connsiteY2" fmla="*/ 0 h 796363"/>
              <a:gd name="connsiteX0" fmla="*/ 2 w 9478255"/>
              <a:gd name="connsiteY0" fmla="*/ 773610 h 796363"/>
              <a:gd name="connsiteX1" fmla="*/ 5749023 w 9478255"/>
              <a:gd name="connsiteY1" fmla="*/ 622183 h 796363"/>
              <a:gd name="connsiteX2" fmla="*/ 9478252 w 9478255"/>
              <a:gd name="connsiteY2" fmla="*/ 0 h 796363"/>
              <a:gd name="connsiteX0" fmla="*/ 2 w 9478255"/>
              <a:gd name="connsiteY0" fmla="*/ 773610 h 796363"/>
              <a:gd name="connsiteX1" fmla="*/ 5749018 w 9478255"/>
              <a:gd name="connsiteY1" fmla="*/ 622183 h 796363"/>
              <a:gd name="connsiteX2" fmla="*/ 9478252 w 9478255"/>
              <a:gd name="connsiteY2" fmla="*/ 0 h 796363"/>
              <a:gd name="connsiteX0" fmla="*/ 2 w 9478255"/>
              <a:gd name="connsiteY0" fmla="*/ 773610 h 796363"/>
              <a:gd name="connsiteX1" fmla="*/ 5749018 w 9478255"/>
              <a:gd name="connsiteY1" fmla="*/ 622183 h 796363"/>
              <a:gd name="connsiteX2" fmla="*/ 9478252 w 9478255"/>
              <a:gd name="connsiteY2" fmla="*/ 0 h 796363"/>
              <a:gd name="connsiteX0" fmla="*/ 2 w 9478255"/>
              <a:gd name="connsiteY0" fmla="*/ 773610 h 799963"/>
              <a:gd name="connsiteX1" fmla="*/ 5809075 w 9478255"/>
              <a:gd name="connsiteY1" fmla="*/ 640460 h 799963"/>
              <a:gd name="connsiteX2" fmla="*/ 9478252 w 9478255"/>
              <a:gd name="connsiteY2" fmla="*/ 0 h 799963"/>
            </a:gdLst>
            <a:ahLst/>
            <a:cxnLst>
              <a:cxn ang="0">
                <a:pos x="connsiteX0" y="connsiteY0"/>
              </a:cxn>
              <a:cxn ang="0">
                <a:pos x="connsiteX1" y="connsiteY1"/>
              </a:cxn>
              <a:cxn ang="0">
                <a:pos x="connsiteX2" y="connsiteY2"/>
              </a:cxn>
            </a:cxnLst>
            <a:rect l="l" t="t" r="r" b="b"/>
            <a:pathLst>
              <a:path w="9478255" h="799963">
                <a:moveTo>
                  <a:pt x="2" y="773610"/>
                </a:moveTo>
                <a:cubicBezTo>
                  <a:pt x="2201557" y="830336"/>
                  <a:pt x="3472546" y="799687"/>
                  <a:pt x="5809075" y="640460"/>
                </a:cubicBezTo>
                <a:cubicBezTo>
                  <a:pt x="7756826" y="481493"/>
                  <a:pt x="8952666" y="376111"/>
                  <a:pt x="9478252" y="0"/>
                </a:cubicBezTo>
              </a:path>
            </a:pathLst>
          </a:custGeom>
          <a:noFill/>
          <a:ln w="12700" cap="flat" cmpd="sng" algn="ctr">
            <a:solidFill>
              <a:srgbClr val="13835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de-DE"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3" name="Freeform 103"/>
          <p:cNvSpPr/>
          <p:nvPr/>
        </p:nvSpPr>
        <p:spPr bwMode="auto">
          <a:xfrm rot="1635044">
            <a:off x="2847102" y="2392862"/>
            <a:ext cx="1370018" cy="1085528"/>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2875322"/>
              <a:gd name="connsiteY0" fmla="*/ 0 h 1850561"/>
              <a:gd name="connsiteX1" fmla="*/ 2875322 w 2875322"/>
              <a:gd name="connsiteY1" fmla="*/ 1850561 h 1850561"/>
              <a:gd name="connsiteX0" fmla="*/ 0 w 2875322"/>
              <a:gd name="connsiteY0" fmla="*/ 0 h 1850561"/>
              <a:gd name="connsiteX1" fmla="*/ 2875322 w 2875322"/>
              <a:gd name="connsiteY1" fmla="*/ 1850561 h 1850561"/>
              <a:gd name="connsiteX0" fmla="*/ 0 w 2894703"/>
              <a:gd name="connsiteY0" fmla="*/ 0 h 1850561"/>
              <a:gd name="connsiteX1" fmla="*/ 2894703 w 2894703"/>
              <a:gd name="connsiteY1" fmla="*/ 1850561 h 1850561"/>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0239"/>
              <a:gd name="connsiteY0" fmla="*/ 0 h 2300301"/>
              <a:gd name="connsiteX1" fmla="*/ 3480239 w 3480239"/>
              <a:gd name="connsiteY1" fmla="*/ 2300301 h 2300301"/>
              <a:gd name="connsiteX0" fmla="*/ 0 w 3480239"/>
              <a:gd name="connsiteY0" fmla="*/ 0 h 2300301"/>
              <a:gd name="connsiteX1" fmla="*/ 3480239 w 348023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521439"/>
              <a:gd name="connsiteY0" fmla="*/ 0 h 2232170"/>
              <a:gd name="connsiteX1" fmla="*/ 3521439 w 3521439"/>
              <a:gd name="connsiteY1" fmla="*/ 2232170 h 2232170"/>
              <a:gd name="connsiteX0" fmla="*/ 0 w 3521439"/>
              <a:gd name="connsiteY0" fmla="*/ 0 h 2232170"/>
              <a:gd name="connsiteX1" fmla="*/ 3521439 w 3521439"/>
              <a:gd name="connsiteY1" fmla="*/ 2232170 h 2232170"/>
              <a:gd name="connsiteX0" fmla="*/ 0 w 3521439"/>
              <a:gd name="connsiteY0" fmla="*/ 0 h 2209460"/>
              <a:gd name="connsiteX1" fmla="*/ 3521439 w 3521439"/>
              <a:gd name="connsiteY1" fmla="*/ 2209460 h 2209460"/>
              <a:gd name="connsiteX0" fmla="*/ 0 w 3521439"/>
              <a:gd name="connsiteY0" fmla="*/ 0 h 2209460"/>
              <a:gd name="connsiteX1" fmla="*/ 3521439 w 3521439"/>
              <a:gd name="connsiteY1" fmla="*/ 2209460 h 2209460"/>
              <a:gd name="connsiteX0" fmla="*/ 0 w 3166484"/>
              <a:gd name="connsiteY0" fmla="*/ 0 h 1509983"/>
              <a:gd name="connsiteX1" fmla="*/ 3166484 w 3166484"/>
              <a:gd name="connsiteY1" fmla="*/ 1509983 h 1509983"/>
              <a:gd name="connsiteX0" fmla="*/ 0 w 2028493"/>
              <a:gd name="connsiteY0" fmla="*/ 0 h 405367"/>
              <a:gd name="connsiteX1" fmla="*/ 2028493 w 2028493"/>
              <a:gd name="connsiteY1" fmla="*/ 62202 h 405367"/>
              <a:gd name="connsiteX0" fmla="*/ 0 w 2028493"/>
              <a:gd name="connsiteY0" fmla="*/ 0 h 410101"/>
              <a:gd name="connsiteX1" fmla="*/ 2028493 w 2028493"/>
              <a:gd name="connsiteY1" fmla="*/ 62202 h 410101"/>
              <a:gd name="connsiteX0" fmla="*/ 0 w 2049034"/>
              <a:gd name="connsiteY0" fmla="*/ 0 h 413154"/>
              <a:gd name="connsiteX1" fmla="*/ 2049034 w 2049034"/>
              <a:gd name="connsiteY1" fmla="*/ 76396 h 413154"/>
              <a:gd name="connsiteX0" fmla="*/ 0 w 2049034"/>
              <a:gd name="connsiteY0" fmla="*/ 143813 h 220209"/>
              <a:gd name="connsiteX1" fmla="*/ 2049034 w 2049034"/>
              <a:gd name="connsiteY1" fmla="*/ 220209 h 220209"/>
              <a:gd name="connsiteX0" fmla="*/ 0 w 2049034"/>
              <a:gd name="connsiteY0" fmla="*/ 154753 h 231149"/>
              <a:gd name="connsiteX1" fmla="*/ 2049034 w 2049034"/>
              <a:gd name="connsiteY1" fmla="*/ 231149 h 231149"/>
              <a:gd name="connsiteX0" fmla="*/ 0 w 2057250"/>
              <a:gd name="connsiteY0" fmla="*/ 145732 h 242000"/>
              <a:gd name="connsiteX1" fmla="*/ 2057250 w 2057250"/>
              <a:gd name="connsiteY1" fmla="*/ 242000 h 242000"/>
              <a:gd name="connsiteX0" fmla="*/ 0 w 2057250"/>
              <a:gd name="connsiteY0" fmla="*/ 155638 h 251906"/>
              <a:gd name="connsiteX1" fmla="*/ 2057250 w 2057250"/>
              <a:gd name="connsiteY1" fmla="*/ 251906 h 251906"/>
              <a:gd name="connsiteX0" fmla="*/ 0 w 2057250"/>
              <a:gd name="connsiteY0" fmla="*/ 154153 h 250421"/>
              <a:gd name="connsiteX1" fmla="*/ 2057250 w 2057250"/>
              <a:gd name="connsiteY1" fmla="*/ 250421 h 250421"/>
              <a:gd name="connsiteX0" fmla="*/ 0 w 2057250"/>
              <a:gd name="connsiteY0" fmla="*/ 175529 h 271797"/>
              <a:gd name="connsiteX1" fmla="*/ 2057250 w 2057250"/>
              <a:gd name="connsiteY1" fmla="*/ 271797 h 271797"/>
              <a:gd name="connsiteX0" fmla="*/ 0 w 1925785"/>
              <a:gd name="connsiteY0" fmla="*/ 146190 h 318159"/>
              <a:gd name="connsiteX1" fmla="*/ 1925785 w 1925785"/>
              <a:gd name="connsiteY1" fmla="*/ 318159 h 318159"/>
              <a:gd name="connsiteX0" fmla="*/ 0 w 1942218"/>
              <a:gd name="connsiteY0" fmla="*/ 143309 h 323795"/>
              <a:gd name="connsiteX1" fmla="*/ 1942218 w 1942218"/>
              <a:gd name="connsiteY1" fmla="*/ 323795 h 323795"/>
              <a:gd name="connsiteX0" fmla="*/ 0 w 1942218"/>
              <a:gd name="connsiteY0" fmla="*/ 1 h 180487"/>
              <a:gd name="connsiteX1" fmla="*/ 1942218 w 1942218"/>
              <a:gd name="connsiteY1" fmla="*/ 180487 h 180487"/>
              <a:gd name="connsiteX0" fmla="*/ 0 w 1966867"/>
              <a:gd name="connsiteY0" fmla="*/ 0 h 171970"/>
              <a:gd name="connsiteX1" fmla="*/ 1966867 w 1966867"/>
              <a:gd name="connsiteY1" fmla="*/ 171971 h 171970"/>
              <a:gd name="connsiteX0" fmla="*/ 0 w 1966867"/>
              <a:gd name="connsiteY0" fmla="*/ 0 h 171971"/>
              <a:gd name="connsiteX1" fmla="*/ 1966867 w 1966867"/>
              <a:gd name="connsiteY1" fmla="*/ 171971 h 171971"/>
              <a:gd name="connsiteX0" fmla="*/ 0 w 1958651"/>
              <a:gd name="connsiteY0" fmla="*/ 0 h 186165"/>
              <a:gd name="connsiteX1" fmla="*/ 1958651 w 1958651"/>
              <a:gd name="connsiteY1" fmla="*/ 186165 h 186165"/>
              <a:gd name="connsiteX0" fmla="*/ 0 w 1954543"/>
              <a:gd name="connsiteY0" fmla="*/ 0 h 203197"/>
              <a:gd name="connsiteX1" fmla="*/ 1954543 w 1954543"/>
              <a:gd name="connsiteY1" fmla="*/ 203197 h 203197"/>
              <a:gd name="connsiteX0" fmla="*/ 0 w 2324286"/>
              <a:gd name="connsiteY0" fmla="*/ 0 h 475721"/>
              <a:gd name="connsiteX1" fmla="*/ 2324286 w 2324286"/>
              <a:gd name="connsiteY1" fmla="*/ 475721 h 475721"/>
              <a:gd name="connsiteX0" fmla="*/ 0 w 2324286"/>
              <a:gd name="connsiteY0" fmla="*/ 0 h 479624"/>
              <a:gd name="connsiteX1" fmla="*/ 2324286 w 2324286"/>
              <a:gd name="connsiteY1" fmla="*/ 475721 h 479624"/>
              <a:gd name="connsiteX0" fmla="*/ 0 w 2324286"/>
              <a:gd name="connsiteY0" fmla="*/ 0 h 480172"/>
              <a:gd name="connsiteX1" fmla="*/ 2324286 w 2324286"/>
              <a:gd name="connsiteY1" fmla="*/ 475721 h 480172"/>
              <a:gd name="connsiteX0" fmla="*/ 0 w 2324286"/>
              <a:gd name="connsiteY0" fmla="*/ 0 h 475721"/>
              <a:gd name="connsiteX1" fmla="*/ 2324286 w 2324286"/>
              <a:gd name="connsiteY1" fmla="*/ 475721 h 475721"/>
              <a:gd name="connsiteX0" fmla="*/ 0 w 2316069"/>
              <a:gd name="connsiteY0" fmla="*/ 0 h 498431"/>
              <a:gd name="connsiteX1" fmla="*/ 2316069 w 2316069"/>
              <a:gd name="connsiteY1" fmla="*/ 498431 h 498431"/>
              <a:gd name="connsiteX0" fmla="*/ 0 w 2316069"/>
              <a:gd name="connsiteY0" fmla="*/ 0 h 498431"/>
              <a:gd name="connsiteX1" fmla="*/ 2316069 w 2316069"/>
              <a:gd name="connsiteY1" fmla="*/ 498431 h 49843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04754"/>
              <a:gd name="connsiteY0" fmla="*/ 0 h 1015091"/>
              <a:gd name="connsiteX1" fmla="*/ 4604754 w 4604754"/>
              <a:gd name="connsiteY1" fmla="*/ 1015091 h 1015091"/>
              <a:gd name="connsiteX0" fmla="*/ 0 w 4604754"/>
              <a:gd name="connsiteY0" fmla="*/ 0 h 1015091"/>
              <a:gd name="connsiteX1" fmla="*/ 4604754 w 4604754"/>
              <a:gd name="connsiteY1" fmla="*/ 1015091 h 1015091"/>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23432 h 1021455"/>
              <a:gd name="connsiteX1" fmla="*/ 4604754 w 4604754"/>
              <a:gd name="connsiteY1" fmla="*/ 1021455 h 1021455"/>
              <a:gd name="connsiteX0" fmla="*/ 0 w 4621488"/>
              <a:gd name="connsiteY0" fmla="*/ 28563 h 866964"/>
              <a:gd name="connsiteX1" fmla="*/ 4621488 w 4621488"/>
              <a:gd name="connsiteY1" fmla="*/ 866966 h 866964"/>
              <a:gd name="connsiteX0" fmla="*/ 0 w 4621488"/>
              <a:gd name="connsiteY0" fmla="*/ 35875 h 874276"/>
              <a:gd name="connsiteX1" fmla="*/ 4621488 w 4621488"/>
              <a:gd name="connsiteY1" fmla="*/ 874278 h 874276"/>
              <a:gd name="connsiteX0" fmla="*/ 2 w 4634037"/>
              <a:gd name="connsiteY0" fmla="*/ 44537 h 763234"/>
              <a:gd name="connsiteX1" fmla="*/ 4634037 w 4634037"/>
              <a:gd name="connsiteY1" fmla="*/ 763236 h 763234"/>
              <a:gd name="connsiteX0" fmla="*/ 2 w 4634037"/>
              <a:gd name="connsiteY0" fmla="*/ -3 h 718694"/>
              <a:gd name="connsiteX1" fmla="*/ 4634037 w 4634037"/>
              <a:gd name="connsiteY1" fmla="*/ 718696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1413475"/>
              <a:gd name="connsiteY0" fmla="*/ 606407 h 728390"/>
              <a:gd name="connsiteX1" fmla="*/ 1413474 w 1413475"/>
              <a:gd name="connsiteY1" fmla="*/ 126977 h 728390"/>
              <a:gd name="connsiteX0" fmla="*/ 2 w 1413475"/>
              <a:gd name="connsiteY0" fmla="*/ 479431 h 721543"/>
              <a:gd name="connsiteX1" fmla="*/ 1413474 w 1413475"/>
              <a:gd name="connsiteY1" fmla="*/ 1 h 721543"/>
              <a:gd name="connsiteX0" fmla="*/ 3 w 1605506"/>
              <a:gd name="connsiteY0" fmla="*/ 487353 h 727739"/>
              <a:gd name="connsiteX1" fmla="*/ 1605505 w 1605506"/>
              <a:gd name="connsiteY1" fmla="*/ 1 h 727739"/>
              <a:gd name="connsiteX0" fmla="*/ 3 w 1605506"/>
              <a:gd name="connsiteY0" fmla="*/ 487353 h 595674"/>
              <a:gd name="connsiteX1" fmla="*/ 1605505 w 1605506"/>
              <a:gd name="connsiteY1" fmla="*/ 1 h 595674"/>
              <a:gd name="connsiteX0" fmla="*/ 3 w 1573179"/>
              <a:gd name="connsiteY0" fmla="*/ 635014 h 720486"/>
              <a:gd name="connsiteX1" fmla="*/ 1573180 w 1573179"/>
              <a:gd name="connsiteY1" fmla="*/ 1 h 720486"/>
              <a:gd name="connsiteX0" fmla="*/ 3 w 1573179"/>
              <a:gd name="connsiteY0" fmla="*/ 635014 h 727984"/>
              <a:gd name="connsiteX1" fmla="*/ 1573180 w 1573179"/>
              <a:gd name="connsiteY1" fmla="*/ 1 h 727984"/>
              <a:gd name="connsiteX0" fmla="*/ 3 w 1619069"/>
              <a:gd name="connsiteY0" fmla="*/ 464741 h 589089"/>
              <a:gd name="connsiteX1" fmla="*/ 1619069 w 1619069"/>
              <a:gd name="connsiteY1" fmla="*/ 1 h 589089"/>
              <a:gd name="connsiteX0" fmla="*/ 3 w 1619069"/>
              <a:gd name="connsiteY0" fmla="*/ 464741 h 644508"/>
              <a:gd name="connsiteX1" fmla="*/ 1619069 w 1619069"/>
              <a:gd name="connsiteY1" fmla="*/ 1 h 644508"/>
              <a:gd name="connsiteX0" fmla="*/ 3 w 1619069"/>
              <a:gd name="connsiteY0" fmla="*/ 464741 h 573752"/>
              <a:gd name="connsiteX1" fmla="*/ 1619069 w 1619069"/>
              <a:gd name="connsiteY1" fmla="*/ 1 h 573752"/>
              <a:gd name="connsiteX0" fmla="*/ 3 w 1619069"/>
              <a:gd name="connsiteY0" fmla="*/ 496657 h 598698"/>
              <a:gd name="connsiteX1" fmla="*/ 1619069 w 1619069"/>
              <a:gd name="connsiteY1" fmla="*/ 0 h 598698"/>
              <a:gd name="connsiteX0" fmla="*/ 3 w 7916977"/>
              <a:gd name="connsiteY0" fmla="*/ 2826772 h 2841912"/>
              <a:gd name="connsiteX1" fmla="*/ 7916977 w 7916977"/>
              <a:gd name="connsiteY1" fmla="*/ 0 h 2841912"/>
              <a:gd name="connsiteX0" fmla="*/ 3 w 7916977"/>
              <a:gd name="connsiteY0" fmla="*/ 2826772 h 2846255"/>
              <a:gd name="connsiteX1" fmla="*/ 7916977 w 7916977"/>
              <a:gd name="connsiteY1" fmla="*/ 0 h 2846255"/>
              <a:gd name="connsiteX0" fmla="*/ 3 w 7916977"/>
              <a:gd name="connsiteY0" fmla="*/ 2826772 h 3052074"/>
              <a:gd name="connsiteX1" fmla="*/ 7916977 w 7916977"/>
              <a:gd name="connsiteY1" fmla="*/ 0 h 3052074"/>
              <a:gd name="connsiteX0" fmla="*/ 3 w 7916977"/>
              <a:gd name="connsiteY0" fmla="*/ 2826772 h 3005674"/>
              <a:gd name="connsiteX1" fmla="*/ 7916977 w 7916977"/>
              <a:gd name="connsiteY1" fmla="*/ 0 h 3005674"/>
              <a:gd name="connsiteX0" fmla="*/ 0 w 7916977"/>
              <a:gd name="connsiteY0" fmla="*/ 2778890 h 2960467"/>
              <a:gd name="connsiteX1" fmla="*/ 7916977 w 7916977"/>
              <a:gd name="connsiteY1" fmla="*/ 0 h 2960467"/>
              <a:gd name="connsiteX0" fmla="*/ 0 w 7933419"/>
              <a:gd name="connsiteY0" fmla="*/ 2794848 h 2975527"/>
              <a:gd name="connsiteX1" fmla="*/ 7933419 w 7933419"/>
              <a:gd name="connsiteY1" fmla="*/ 0 h 2975527"/>
              <a:gd name="connsiteX0" fmla="*/ 0 w 7933419"/>
              <a:gd name="connsiteY0" fmla="*/ 2794848 h 3006384"/>
              <a:gd name="connsiteX1" fmla="*/ 7933419 w 7933419"/>
              <a:gd name="connsiteY1" fmla="*/ 0 h 3006384"/>
              <a:gd name="connsiteX0" fmla="*/ 0 w 7867644"/>
              <a:gd name="connsiteY0" fmla="*/ 2794848 h 3006384"/>
              <a:gd name="connsiteX1" fmla="*/ 7867644 w 7867644"/>
              <a:gd name="connsiteY1" fmla="*/ 0 h 3006384"/>
              <a:gd name="connsiteX0" fmla="*/ 0 w 3197651"/>
              <a:gd name="connsiteY0" fmla="*/ 0 h 1011361"/>
              <a:gd name="connsiteX1" fmla="*/ 3197651 w 3197651"/>
              <a:gd name="connsiteY1" fmla="*/ 349213 h 1011361"/>
              <a:gd name="connsiteX0" fmla="*/ 0 w 3197651"/>
              <a:gd name="connsiteY0" fmla="*/ 0 h 551058"/>
              <a:gd name="connsiteX1" fmla="*/ 3197651 w 3197651"/>
              <a:gd name="connsiteY1" fmla="*/ 349213 h 551058"/>
              <a:gd name="connsiteX0" fmla="*/ 0 w 3197651"/>
              <a:gd name="connsiteY0" fmla="*/ 0 h 499390"/>
              <a:gd name="connsiteX1" fmla="*/ 3197651 w 3197651"/>
              <a:gd name="connsiteY1" fmla="*/ 349213 h 499390"/>
              <a:gd name="connsiteX0" fmla="*/ 0 w 3197651"/>
              <a:gd name="connsiteY0" fmla="*/ 0 h 421477"/>
              <a:gd name="connsiteX1" fmla="*/ 3197651 w 3197651"/>
              <a:gd name="connsiteY1" fmla="*/ 349213 h 421477"/>
              <a:gd name="connsiteX0" fmla="*/ 0 w 3197651"/>
              <a:gd name="connsiteY0" fmla="*/ 0 h 480912"/>
              <a:gd name="connsiteX1" fmla="*/ 3197651 w 3197651"/>
              <a:gd name="connsiteY1" fmla="*/ 349213 h 480912"/>
              <a:gd name="connsiteX0" fmla="*/ 0 w 3181202"/>
              <a:gd name="connsiteY0" fmla="*/ 0 h 617329"/>
              <a:gd name="connsiteX1" fmla="*/ 3181202 w 3181202"/>
              <a:gd name="connsiteY1" fmla="*/ 540729 h 617329"/>
              <a:gd name="connsiteX0" fmla="*/ 0 w 3181202"/>
              <a:gd name="connsiteY0" fmla="*/ 0 h 589454"/>
              <a:gd name="connsiteX1" fmla="*/ 3181202 w 3181202"/>
              <a:gd name="connsiteY1" fmla="*/ 540729 h 589454"/>
              <a:gd name="connsiteX0" fmla="*/ 0 w 3164753"/>
              <a:gd name="connsiteY0" fmla="*/ 0 h 602523"/>
              <a:gd name="connsiteX1" fmla="*/ 3164753 w 3164753"/>
              <a:gd name="connsiteY1" fmla="*/ 556687 h 602523"/>
              <a:gd name="connsiteX0" fmla="*/ 0 w 3164753"/>
              <a:gd name="connsiteY0" fmla="*/ 0 h 585741"/>
              <a:gd name="connsiteX1" fmla="*/ 3164753 w 3164753"/>
              <a:gd name="connsiteY1" fmla="*/ 556687 h 585741"/>
              <a:gd name="connsiteX0" fmla="*/ 0 w 3164753"/>
              <a:gd name="connsiteY0" fmla="*/ 0 h 588616"/>
              <a:gd name="connsiteX1" fmla="*/ 3164753 w 3164753"/>
              <a:gd name="connsiteY1" fmla="*/ 556687 h 588616"/>
              <a:gd name="connsiteX0" fmla="*/ 0 w 4184262"/>
              <a:gd name="connsiteY0" fmla="*/ 0 h 1346832"/>
              <a:gd name="connsiteX1" fmla="*/ 4184262 w 4184262"/>
              <a:gd name="connsiteY1" fmla="*/ 1338715 h 1346832"/>
              <a:gd name="connsiteX0" fmla="*/ 0 w 4184262"/>
              <a:gd name="connsiteY0" fmla="*/ 0 h 1338716"/>
              <a:gd name="connsiteX1" fmla="*/ 4184262 w 4184262"/>
              <a:gd name="connsiteY1" fmla="*/ 1338715 h 1338716"/>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7922444"/>
              <a:gd name="connsiteY0" fmla="*/ 0 h 1354674"/>
              <a:gd name="connsiteX1" fmla="*/ 7922444 w 7922444"/>
              <a:gd name="connsiteY1" fmla="*/ 1354674 h 1354674"/>
              <a:gd name="connsiteX0" fmla="*/ 0 w 7922444"/>
              <a:gd name="connsiteY0" fmla="*/ 0 h 1354674"/>
              <a:gd name="connsiteX1" fmla="*/ 7922444 w 7922444"/>
              <a:gd name="connsiteY1" fmla="*/ 1354674 h 1354674"/>
              <a:gd name="connsiteX0" fmla="*/ 0 w 7922444"/>
              <a:gd name="connsiteY0" fmla="*/ 0 h 1967324"/>
              <a:gd name="connsiteX1" fmla="*/ 7922444 w 7922444"/>
              <a:gd name="connsiteY1" fmla="*/ 1354674 h 1967324"/>
              <a:gd name="connsiteX0" fmla="*/ 0 w 7856669"/>
              <a:gd name="connsiteY0" fmla="*/ 0 h 1882889"/>
              <a:gd name="connsiteX1" fmla="*/ 7856669 w 7856669"/>
              <a:gd name="connsiteY1" fmla="*/ 1120598 h 1882889"/>
              <a:gd name="connsiteX0" fmla="*/ 0 w 7856669"/>
              <a:gd name="connsiteY0" fmla="*/ 0 h 1907225"/>
              <a:gd name="connsiteX1" fmla="*/ 7856669 w 7856669"/>
              <a:gd name="connsiteY1" fmla="*/ 1120598 h 1907225"/>
              <a:gd name="connsiteX0" fmla="*/ 0 w 7856669"/>
              <a:gd name="connsiteY0" fmla="*/ 0 h 1953216"/>
              <a:gd name="connsiteX1" fmla="*/ 7856669 w 7856669"/>
              <a:gd name="connsiteY1" fmla="*/ 1120598 h 1953216"/>
              <a:gd name="connsiteX0" fmla="*/ 0 w 7840227"/>
              <a:gd name="connsiteY0" fmla="*/ 0 h 1914966"/>
              <a:gd name="connsiteX1" fmla="*/ 7840227 w 7840227"/>
              <a:gd name="connsiteY1" fmla="*/ 1008879 h 1914966"/>
              <a:gd name="connsiteX0" fmla="*/ 0 w 7840227"/>
              <a:gd name="connsiteY0" fmla="*/ 0 h 1817737"/>
              <a:gd name="connsiteX1" fmla="*/ 7840227 w 7840227"/>
              <a:gd name="connsiteY1" fmla="*/ 1008879 h 1817737"/>
              <a:gd name="connsiteX0" fmla="*/ 0 w 7790894"/>
              <a:gd name="connsiteY0" fmla="*/ 0 h 1806893"/>
              <a:gd name="connsiteX1" fmla="*/ 7790894 w 7790894"/>
              <a:gd name="connsiteY1" fmla="*/ 976956 h 1806893"/>
              <a:gd name="connsiteX0" fmla="*/ 0 w 7790894"/>
              <a:gd name="connsiteY0" fmla="*/ 0 h 1751365"/>
              <a:gd name="connsiteX1" fmla="*/ 7790894 w 7790894"/>
              <a:gd name="connsiteY1" fmla="*/ 976956 h 1751365"/>
              <a:gd name="connsiteX0" fmla="*/ 0 w 7790894"/>
              <a:gd name="connsiteY0" fmla="*/ 0 h 1820793"/>
              <a:gd name="connsiteX1" fmla="*/ 7790894 w 7790894"/>
              <a:gd name="connsiteY1" fmla="*/ 976956 h 1820793"/>
              <a:gd name="connsiteX0" fmla="*/ 0 w 7790894"/>
              <a:gd name="connsiteY0" fmla="*/ 0 h 1806893"/>
              <a:gd name="connsiteX1" fmla="*/ 7790894 w 7790894"/>
              <a:gd name="connsiteY1" fmla="*/ 976956 h 1806893"/>
              <a:gd name="connsiteX0" fmla="*/ 0 w 7646436"/>
              <a:gd name="connsiteY0" fmla="*/ 0 h 1749648"/>
              <a:gd name="connsiteX1" fmla="*/ 7646438 w 7646436"/>
              <a:gd name="connsiteY1" fmla="*/ 801919 h 1749648"/>
              <a:gd name="connsiteX0" fmla="*/ 0 w 7646436"/>
              <a:gd name="connsiteY0" fmla="*/ 0 h 1949180"/>
              <a:gd name="connsiteX1" fmla="*/ 7646438 w 7646436"/>
              <a:gd name="connsiteY1" fmla="*/ 801919 h 1949180"/>
              <a:gd name="connsiteX0" fmla="*/ 1 w 7654290"/>
              <a:gd name="connsiteY0" fmla="*/ 147701 h 1792575"/>
              <a:gd name="connsiteX1" fmla="*/ 7654292 w 7654290"/>
              <a:gd name="connsiteY1" fmla="*/ -1 h 1792575"/>
              <a:gd name="connsiteX0" fmla="*/ 1 w 7654290"/>
              <a:gd name="connsiteY0" fmla="*/ 147701 h 337093"/>
              <a:gd name="connsiteX1" fmla="*/ 7654292 w 7654290"/>
              <a:gd name="connsiteY1" fmla="*/ -1 h 337093"/>
              <a:gd name="connsiteX0" fmla="*/ 1 w 7654290"/>
              <a:gd name="connsiteY0" fmla="*/ 147701 h 309785"/>
              <a:gd name="connsiteX1" fmla="*/ 7654292 w 7654290"/>
              <a:gd name="connsiteY1" fmla="*/ -1 h 309785"/>
              <a:gd name="connsiteX0" fmla="*/ 1 w 7654290"/>
              <a:gd name="connsiteY0" fmla="*/ 147701 h 287229"/>
              <a:gd name="connsiteX1" fmla="*/ 7654292 w 7654290"/>
              <a:gd name="connsiteY1" fmla="*/ -1 h 287229"/>
              <a:gd name="connsiteX0" fmla="*/ 4 w 7452148"/>
              <a:gd name="connsiteY0" fmla="*/ 126512 h 274125"/>
              <a:gd name="connsiteX1" fmla="*/ 7452150 w 7452148"/>
              <a:gd name="connsiteY1" fmla="*/ -1 h 274125"/>
              <a:gd name="connsiteX0" fmla="*/ -2 w 7359956"/>
              <a:gd name="connsiteY0" fmla="*/ 175237 h 305111"/>
              <a:gd name="connsiteX1" fmla="*/ 7359958 w 7359956"/>
              <a:gd name="connsiteY1" fmla="*/ -1 h 305111"/>
              <a:gd name="connsiteX0" fmla="*/ -1 w 7465891"/>
              <a:gd name="connsiteY0" fmla="*/ 135252 h 279460"/>
              <a:gd name="connsiteX1" fmla="*/ 7465893 w 7465891"/>
              <a:gd name="connsiteY1" fmla="*/ -1 h 279460"/>
              <a:gd name="connsiteX0" fmla="*/ -1 w 11571957"/>
              <a:gd name="connsiteY0" fmla="*/ 1266380 h 1295265"/>
              <a:gd name="connsiteX1" fmla="*/ 11571957 w 11571957"/>
              <a:gd name="connsiteY1" fmla="*/ 1 h 1295265"/>
              <a:gd name="connsiteX0" fmla="*/ -1 w 11571957"/>
              <a:gd name="connsiteY0" fmla="*/ 1266380 h 1373167"/>
              <a:gd name="connsiteX1" fmla="*/ 3979169 w 11571957"/>
              <a:gd name="connsiteY1" fmla="*/ 1317909 h 1373167"/>
              <a:gd name="connsiteX2" fmla="*/ 11571957 w 11571957"/>
              <a:gd name="connsiteY2" fmla="*/ 1 h 1373167"/>
              <a:gd name="connsiteX0" fmla="*/ -1 w 11571957"/>
              <a:gd name="connsiteY0" fmla="*/ 1266380 h 1321797"/>
              <a:gd name="connsiteX1" fmla="*/ 3979169 w 11571957"/>
              <a:gd name="connsiteY1" fmla="*/ 1317909 h 1321797"/>
              <a:gd name="connsiteX2" fmla="*/ 11571957 w 11571957"/>
              <a:gd name="connsiteY2" fmla="*/ 1 h 1321797"/>
              <a:gd name="connsiteX0" fmla="*/ -1 w 11571957"/>
              <a:gd name="connsiteY0" fmla="*/ 1266380 h 1405388"/>
              <a:gd name="connsiteX1" fmla="*/ 3979169 w 11571957"/>
              <a:gd name="connsiteY1" fmla="*/ 1317909 h 1405388"/>
              <a:gd name="connsiteX2" fmla="*/ 11571957 w 11571957"/>
              <a:gd name="connsiteY2" fmla="*/ 1 h 1405388"/>
              <a:gd name="connsiteX0" fmla="*/ -1 w 11571957"/>
              <a:gd name="connsiteY0" fmla="*/ 1266380 h 1466387"/>
              <a:gd name="connsiteX1" fmla="*/ 4049395 w 11571957"/>
              <a:gd name="connsiteY1" fmla="*/ 1390915 h 1466387"/>
              <a:gd name="connsiteX2" fmla="*/ 11571957 w 11571957"/>
              <a:gd name="connsiteY2" fmla="*/ 1 h 1466387"/>
              <a:gd name="connsiteX0" fmla="*/ -1 w 11571957"/>
              <a:gd name="connsiteY0" fmla="*/ 1266380 h 1476321"/>
              <a:gd name="connsiteX1" fmla="*/ 4049395 w 11571957"/>
              <a:gd name="connsiteY1" fmla="*/ 1390915 h 1476321"/>
              <a:gd name="connsiteX2" fmla="*/ 11571957 w 11571957"/>
              <a:gd name="connsiteY2" fmla="*/ 1 h 1476321"/>
              <a:gd name="connsiteX0" fmla="*/ 2 w 11513721"/>
              <a:gd name="connsiteY0" fmla="*/ 1388864 h 1505074"/>
              <a:gd name="connsiteX1" fmla="*/ 3991159 w 11513721"/>
              <a:gd name="connsiteY1" fmla="*/ 1390914 h 1505074"/>
              <a:gd name="connsiteX2" fmla="*/ 11513721 w 11513721"/>
              <a:gd name="connsiteY2" fmla="*/ 0 h 1505074"/>
              <a:gd name="connsiteX0" fmla="*/ 2 w 11513721"/>
              <a:gd name="connsiteY0" fmla="*/ 1388864 h 1402719"/>
              <a:gd name="connsiteX1" fmla="*/ 7900822 w 11513721"/>
              <a:gd name="connsiteY1" fmla="*/ 1121534 h 1402719"/>
              <a:gd name="connsiteX2" fmla="*/ 11513721 w 11513721"/>
              <a:gd name="connsiteY2" fmla="*/ 0 h 1402719"/>
              <a:gd name="connsiteX0" fmla="*/ 2 w 11513721"/>
              <a:gd name="connsiteY0" fmla="*/ 1388864 h 1443996"/>
              <a:gd name="connsiteX1" fmla="*/ 7900822 w 11513721"/>
              <a:gd name="connsiteY1" fmla="*/ 1121534 h 1443996"/>
              <a:gd name="connsiteX2" fmla="*/ 11513721 w 11513721"/>
              <a:gd name="connsiteY2" fmla="*/ 0 h 1443996"/>
              <a:gd name="connsiteX0" fmla="*/ 2 w 11626925"/>
              <a:gd name="connsiteY0" fmla="*/ 1388864 h 1443996"/>
              <a:gd name="connsiteX1" fmla="*/ 7900822 w 11626925"/>
              <a:gd name="connsiteY1" fmla="*/ 1121534 h 1443996"/>
              <a:gd name="connsiteX2" fmla="*/ 11513721 w 11626925"/>
              <a:gd name="connsiteY2" fmla="*/ 0 h 1443996"/>
            </a:gdLst>
            <a:ahLst/>
            <a:cxnLst>
              <a:cxn ang="0">
                <a:pos x="connsiteX0" y="connsiteY0"/>
              </a:cxn>
              <a:cxn ang="0">
                <a:pos x="connsiteX1" y="connsiteY1"/>
              </a:cxn>
              <a:cxn ang="0">
                <a:pos x="connsiteX2" y="connsiteY2"/>
              </a:cxn>
            </a:cxnLst>
            <a:rect l="l" t="t" r="r" b="b"/>
            <a:pathLst>
              <a:path w="11626925" h="1443996">
                <a:moveTo>
                  <a:pt x="2" y="1388864"/>
                </a:moveTo>
                <a:cubicBezTo>
                  <a:pt x="1680939" y="1541576"/>
                  <a:pt x="5726200" y="1352481"/>
                  <a:pt x="7900822" y="1121534"/>
                </a:cubicBezTo>
                <a:cubicBezTo>
                  <a:pt x="10173095" y="859287"/>
                  <a:pt x="12124073" y="400031"/>
                  <a:pt x="11513721" y="0"/>
                </a:cubicBezTo>
              </a:path>
            </a:pathLst>
          </a:custGeom>
          <a:noFill/>
          <a:ln w="12700" cap="flat" cmpd="sng" algn="ctr">
            <a:solidFill>
              <a:srgbClr val="13835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de-DE"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4" name="Freeform 103"/>
          <p:cNvSpPr/>
          <p:nvPr/>
        </p:nvSpPr>
        <p:spPr bwMode="auto">
          <a:xfrm rot="1635044">
            <a:off x="3037858" y="1591315"/>
            <a:ext cx="1513552" cy="1992302"/>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2875322"/>
              <a:gd name="connsiteY0" fmla="*/ 0 h 1850561"/>
              <a:gd name="connsiteX1" fmla="*/ 2875322 w 2875322"/>
              <a:gd name="connsiteY1" fmla="*/ 1850561 h 1850561"/>
              <a:gd name="connsiteX0" fmla="*/ 0 w 2875322"/>
              <a:gd name="connsiteY0" fmla="*/ 0 h 1850561"/>
              <a:gd name="connsiteX1" fmla="*/ 2875322 w 2875322"/>
              <a:gd name="connsiteY1" fmla="*/ 1850561 h 1850561"/>
              <a:gd name="connsiteX0" fmla="*/ 0 w 2894703"/>
              <a:gd name="connsiteY0" fmla="*/ 0 h 1850561"/>
              <a:gd name="connsiteX1" fmla="*/ 2894703 w 2894703"/>
              <a:gd name="connsiteY1" fmla="*/ 1850561 h 1850561"/>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0239"/>
              <a:gd name="connsiteY0" fmla="*/ 0 h 2300301"/>
              <a:gd name="connsiteX1" fmla="*/ 3480239 w 3480239"/>
              <a:gd name="connsiteY1" fmla="*/ 2300301 h 2300301"/>
              <a:gd name="connsiteX0" fmla="*/ 0 w 3480239"/>
              <a:gd name="connsiteY0" fmla="*/ 0 h 2300301"/>
              <a:gd name="connsiteX1" fmla="*/ 3480239 w 348023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521439"/>
              <a:gd name="connsiteY0" fmla="*/ 0 h 2232170"/>
              <a:gd name="connsiteX1" fmla="*/ 3521439 w 3521439"/>
              <a:gd name="connsiteY1" fmla="*/ 2232170 h 2232170"/>
              <a:gd name="connsiteX0" fmla="*/ 0 w 3521439"/>
              <a:gd name="connsiteY0" fmla="*/ 0 h 2232170"/>
              <a:gd name="connsiteX1" fmla="*/ 3521439 w 3521439"/>
              <a:gd name="connsiteY1" fmla="*/ 2232170 h 2232170"/>
              <a:gd name="connsiteX0" fmla="*/ 0 w 3521439"/>
              <a:gd name="connsiteY0" fmla="*/ 0 h 2209460"/>
              <a:gd name="connsiteX1" fmla="*/ 3521439 w 3521439"/>
              <a:gd name="connsiteY1" fmla="*/ 2209460 h 2209460"/>
              <a:gd name="connsiteX0" fmla="*/ 0 w 3521439"/>
              <a:gd name="connsiteY0" fmla="*/ 0 h 2209460"/>
              <a:gd name="connsiteX1" fmla="*/ 3521439 w 3521439"/>
              <a:gd name="connsiteY1" fmla="*/ 2209460 h 2209460"/>
              <a:gd name="connsiteX0" fmla="*/ 0 w 3166484"/>
              <a:gd name="connsiteY0" fmla="*/ 0 h 1509983"/>
              <a:gd name="connsiteX1" fmla="*/ 3166484 w 3166484"/>
              <a:gd name="connsiteY1" fmla="*/ 1509983 h 1509983"/>
              <a:gd name="connsiteX0" fmla="*/ 0 w 2028493"/>
              <a:gd name="connsiteY0" fmla="*/ 0 h 405367"/>
              <a:gd name="connsiteX1" fmla="*/ 2028493 w 2028493"/>
              <a:gd name="connsiteY1" fmla="*/ 62202 h 405367"/>
              <a:gd name="connsiteX0" fmla="*/ 0 w 2028493"/>
              <a:gd name="connsiteY0" fmla="*/ 0 h 410101"/>
              <a:gd name="connsiteX1" fmla="*/ 2028493 w 2028493"/>
              <a:gd name="connsiteY1" fmla="*/ 62202 h 410101"/>
              <a:gd name="connsiteX0" fmla="*/ 0 w 2049034"/>
              <a:gd name="connsiteY0" fmla="*/ 0 h 413154"/>
              <a:gd name="connsiteX1" fmla="*/ 2049034 w 2049034"/>
              <a:gd name="connsiteY1" fmla="*/ 76396 h 413154"/>
              <a:gd name="connsiteX0" fmla="*/ 0 w 2049034"/>
              <a:gd name="connsiteY0" fmla="*/ 143813 h 220209"/>
              <a:gd name="connsiteX1" fmla="*/ 2049034 w 2049034"/>
              <a:gd name="connsiteY1" fmla="*/ 220209 h 220209"/>
              <a:gd name="connsiteX0" fmla="*/ 0 w 2049034"/>
              <a:gd name="connsiteY0" fmla="*/ 154753 h 231149"/>
              <a:gd name="connsiteX1" fmla="*/ 2049034 w 2049034"/>
              <a:gd name="connsiteY1" fmla="*/ 231149 h 231149"/>
              <a:gd name="connsiteX0" fmla="*/ 0 w 2057250"/>
              <a:gd name="connsiteY0" fmla="*/ 145732 h 242000"/>
              <a:gd name="connsiteX1" fmla="*/ 2057250 w 2057250"/>
              <a:gd name="connsiteY1" fmla="*/ 242000 h 242000"/>
              <a:gd name="connsiteX0" fmla="*/ 0 w 2057250"/>
              <a:gd name="connsiteY0" fmla="*/ 155638 h 251906"/>
              <a:gd name="connsiteX1" fmla="*/ 2057250 w 2057250"/>
              <a:gd name="connsiteY1" fmla="*/ 251906 h 251906"/>
              <a:gd name="connsiteX0" fmla="*/ 0 w 2057250"/>
              <a:gd name="connsiteY0" fmla="*/ 154153 h 250421"/>
              <a:gd name="connsiteX1" fmla="*/ 2057250 w 2057250"/>
              <a:gd name="connsiteY1" fmla="*/ 250421 h 250421"/>
              <a:gd name="connsiteX0" fmla="*/ 0 w 2057250"/>
              <a:gd name="connsiteY0" fmla="*/ 175529 h 271797"/>
              <a:gd name="connsiteX1" fmla="*/ 2057250 w 2057250"/>
              <a:gd name="connsiteY1" fmla="*/ 271797 h 271797"/>
              <a:gd name="connsiteX0" fmla="*/ 0 w 1925785"/>
              <a:gd name="connsiteY0" fmla="*/ 146190 h 318159"/>
              <a:gd name="connsiteX1" fmla="*/ 1925785 w 1925785"/>
              <a:gd name="connsiteY1" fmla="*/ 318159 h 318159"/>
              <a:gd name="connsiteX0" fmla="*/ 0 w 1942218"/>
              <a:gd name="connsiteY0" fmla="*/ 143309 h 323795"/>
              <a:gd name="connsiteX1" fmla="*/ 1942218 w 1942218"/>
              <a:gd name="connsiteY1" fmla="*/ 323795 h 323795"/>
              <a:gd name="connsiteX0" fmla="*/ 0 w 1942218"/>
              <a:gd name="connsiteY0" fmla="*/ 1 h 180487"/>
              <a:gd name="connsiteX1" fmla="*/ 1942218 w 1942218"/>
              <a:gd name="connsiteY1" fmla="*/ 180487 h 180487"/>
              <a:gd name="connsiteX0" fmla="*/ 0 w 1966867"/>
              <a:gd name="connsiteY0" fmla="*/ 0 h 171970"/>
              <a:gd name="connsiteX1" fmla="*/ 1966867 w 1966867"/>
              <a:gd name="connsiteY1" fmla="*/ 171971 h 171970"/>
              <a:gd name="connsiteX0" fmla="*/ 0 w 1966867"/>
              <a:gd name="connsiteY0" fmla="*/ 0 h 171971"/>
              <a:gd name="connsiteX1" fmla="*/ 1966867 w 1966867"/>
              <a:gd name="connsiteY1" fmla="*/ 171971 h 171971"/>
              <a:gd name="connsiteX0" fmla="*/ 0 w 1958651"/>
              <a:gd name="connsiteY0" fmla="*/ 0 h 186165"/>
              <a:gd name="connsiteX1" fmla="*/ 1958651 w 1958651"/>
              <a:gd name="connsiteY1" fmla="*/ 186165 h 186165"/>
              <a:gd name="connsiteX0" fmla="*/ 0 w 1954543"/>
              <a:gd name="connsiteY0" fmla="*/ 0 h 203197"/>
              <a:gd name="connsiteX1" fmla="*/ 1954543 w 1954543"/>
              <a:gd name="connsiteY1" fmla="*/ 203197 h 203197"/>
              <a:gd name="connsiteX0" fmla="*/ 0 w 2324286"/>
              <a:gd name="connsiteY0" fmla="*/ 0 h 475721"/>
              <a:gd name="connsiteX1" fmla="*/ 2324286 w 2324286"/>
              <a:gd name="connsiteY1" fmla="*/ 475721 h 475721"/>
              <a:gd name="connsiteX0" fmla="*/ 0 w 2324286"/>
              <a:gd name="connsiteY0" fmla="*/ 0 h 479624"/>
              <a:gd name="connsiteX1" fmla="*/ 2324286 w 2324286"/>
              <a:gd name="connsiteY1" fmla="*/ 475721 h 479624"/>
              <a:gd name="connsiteX0" fmla="*/ 0 w 2324286"/>
              <a:gd name="connsiteY0" fmla="*/ 0 h 480172"/>
              <a:gd name="connsiteX1" fmla="*/ 2324286 w 2324286"/>
              <a:gd name="connsiteY1" fmla="*/ 475721 h 480172"/>
              <a:gd name="connsiteX0" fmla="*/ 0 w 2324286"/>
              <a:gd name="connsiteY0" fmla="*/ 0 h 475721"/>
              <a:gd name="connsiteX1" fmla="*/ 2324286 w 2324286"/>
              <a:gd name="connsiteY1" fmla="*/ 475721 h 475721"/>
              <a:gd name="connsiteX0" fmla="*/ 0 w 2316069"/>
              <a:gd name="connsiteY0" fmla="*/ 0 h 498431"/>
              <a:gd name="connsiteX1" fmla="*/ 2316069 w 2316069"/>
              <a:gd name="connsiteY1" fmla="*/ 498431 h 498431"/>
              <a:gd name="connsiteX0" fmla="*/ 0 w 2316069"/>
              <a:gd name="connsiteY0" fmla="*/ 0 h 498431"/>
              <a:gd name="connsiteX1" fmla="*/ 2316069 w 2316069"/>
              <a:gd name="connsiteY1" fmla="*/ 498431 h 49843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04754"/>
              <a:gd name="connsiteY0" fmla="*/ 0 h 1015091"/>
              <a:gd name="connsiteX1" fmla="*/ 4604754 w 4604754"/>
              <a:gd name="connsiteY1" fmla="*/ 1015091 h 1015091"/>
              <a:gd name="connsiteX0" fmla="*/ 0 w 4604754"/>
              <a:gd name="connsiteY0" fmla="*/ 0 h 1015091"/>
              <a:gd name="connsiteX1" fmla="*/ 4604754 w 4604754"/>
              <a:gd name="connsiteY1" fmla="*/ 1015091 h 1015091"/>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23432 h 1021455"/>
              <a:gd name="connsiteX1" fmla="*/ 4604754 w 4604754"/>
              <a:gd name="connsiteY1" fmla="*/ 1021455 h 1021455"/>
              <a:gd name="connsiteX0" fmla="*/ 0 w 4621488"/>
              <a:gd name="connsiteY0" fmla="*/ 28563 h 866964"/>
              <a:gd name="connsiteX1" fmla="*/ 4621488 w 4621488"/>
              <a:gd name="connsiteY1" fmla="*/ 866966 h 866964"/>
              <a:gd name="connsiteX0" fmla="*/ 0 w 4621488"/>
              <a:gd name="connsiteY0" fmla="*/ 35875 h 874276"/>
              <a:gd name="connsiteX1" fmla="*/ 4621488 w 4621488"/>
              <a:gd name="connsiteY1" fmla="*/ 874278 h 874276"/>
              <a:gd name="connsiteX0" fmla="*/ 2 w 4634037"/>
              <a:gd name="connsiteY0" fmla="*/ 44537 h 763234"/>
              <a:gd name="connsiteX1" fmla="*/ 4634037 w 4634037"/>
              <a:gd name="connsiteY1" fmla="*/ 763236 h 763234"/>
              <a:gd name="connsiteX0" fmla="*/ 2 w 4634037"/>
              <a:gd name="connsiteY0" fmla="*/ -3 h 718694"/>
              <a:gd name="connsiteX1" fmla="*/ 4634037 w 4634037"/>
              <a:gd name="connsiteY1" fmla="*/ 718696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1413475"/>
              <a:gd name="connsiteY0" fmla="*/ 606407 h 728390"/>
              <a:gd name="connsiteX1" fmla="*/ 1413474 w 1413475"/>
              <a:gd name="connsiteY1" fmla="*/ 126977 h 728390"/>
              <a:gd name="connsiteX0" fmla="*/ 2 w 1413475"/>
              <a:gd name="connsiteY0" fmla="*/ 479431 h 721543"/>
              <a:gd name="connsiteX1" fmla="*/ 1413474 w 1413475"/>
              <a:gd name="connsiteY1" fmla="*/ 1 h 721543"/>
              <a:gd name="connsiteX0" fmla="*/ 3 w 1605506"/>
              <a:gd name="connsiteY0" fmla="*/ 487353 h 727739"/>
              <a:gd name="connsiteX1" fmla="*/ 1605505 w 1605506"/>
              <a:gd name="connsiteY1" fmla="*/ 1 h 727739"/>
              <a:gd name="connsiteX0" fmla="*/ 3 w 1605506"/>
              <a:gd name="connsiteY0" fmla="*/ 487353 h 595674"/>
              <a:gd name="connsiteX1" fmla="*/ 1605505 w 1605506"/>
              <a:gd name="connsiteY1" fmla="*/ 1 h 595674"/>
              <a:gd name="connsiteX0" fmla="*/ 3 w 1573179"/>
              <a:gd name="connsiteY0" fmla="*/ 635014 h 720486"/>
              <a:gd name="connsiteX1" fmla="*/ 1573180 w 1573179"/>
              <a:gd name="connsiteY1" fmla="*/ 1 h 720486"/>
              <a:gd name="connsiteX0" fmla="*/ 3 w 1573179"/>
              <a:gd name="connsiteY0" fmla="*/ 635014 h 727984"/>
              <a:gd name="connsiteX1" fmla="*/ 1573180 w 1573179"/>
              <a:gd name="connsiteY1" fmla="*/ 1 h 727984"/>
              <a:gd name="connsiteX0" fmla="*/ 3 w 1619069"/>
              <a:gd name="connsiteY0" fmla="*/ 464741 h 589089"/>
              <a:gd name="connsiteX1" fmla="*/ 1619069 w 1619069"/>
              <a:gd name="connsiteY1" fmla="*/ 1 h 589089"/>
              <a:gd name="connsiteX0" fmla="*/ 3 w 1619069"/>
              <a:gd name="connsiteY0" fmla="*/ 464741 h 644508"/>
              <a:gd name="connsiteX1" fmla="*/ 1619069 w 1619069"/>
              <a:gd name="connsiteY1" fmla="*/ 1 h 644508"/>
              <a:gd name="connsiteX0" fmla="*/ 3 w 1619069"/>
              <a:gd name="connsiteY0" fmla="*/ 464741 h 573752"/>
              <a:gd name="connsiteX1" fmla="*/ 1619069 w 1619069"/>
              <a:gd name="connsiteY1" fmla="*/ 1 h 573752"/>
              <a:gd name="connsiteX0" fmla="*/ 3 w 1619069"/>
              <a:gd name="connsiteY0" fmla="*/ 496657 h 598698"/>
              <a:gd name="connsiteX1" fmla="*/ 1619069 w 1619069"/>
              <a:gd name="connsiteY1" fmla="*/ 0 h 598698"/>
              <a:gd name="connsiteX0" fmla="*/ 3 w 7916977"/>
              <a:gd name="connsiteY0" fmla="*/ 2826772 h 2841912"/>
              <a:gd name="connsiteX1" fmla="*/ 7916977 w 7916977"/>
              <a:gd name="connsiteY1" fmla="*/ 0 h 2841912"/>
              <a:gd name="connsiteX0" fmla="*/ 3 w 7916977"/>
              <a:gd name="connsiteY0" fmla="*/ 2826772 h 2846255"/>
              <a:gd name="connsiteX1" fmla="*/ 7916977 w 7916977"/>
              <a:gd name="connsiteY1" fmla="*/ 0 h 2846255"/>
              <a:gd name="connsiteX0" fmla="*/ 3 w 7916977"/>
              <a:gd name="connsiteY0" fmla="*/ 2826772 h 3052074"/>
              <a:gd name="connsiteX1" fmla="*/ 7916977 w 7916977"/>
              <a:gd name="connsiteY1" fmla="*/ 0 h 3052074"/>
              <a:gd name="connsiteX0" fmla="*/ 3 w 7916977"/>
              <a:gd name="connsiteY0" fmla="*/ 2826772 h 3005674"/>
              <a:gd name="connsiteX1" fmla="*/ 7916977 w 7916977"/>
              <a:gd name="connsiteY1" fmla="*/ 0 h 3005674"/>
              <a:gd name="connsiteX0" fmla="*/ 0 w 7916977"/>
              <a:gd name="connsiteY0" fmla="*/ 2778890 h 2960467"/>
              <a:gd name="connsiteX1" fmla="*/ 7916977 w 7916977"/>
              <a:gd name="connsiteY1" fmla="*/ 0 h 2960467"/>
              <a:gd name="connsiteX0" fmla="*/ 0 w 7933419"/>
              <a:gd name="connsiteY0" fmla="*/ 2794848 h 2975527"/>
              <a:gd name="connsiteX1" fmla="*/ 7933419 w 7933419"/>
              <a:gd name="connsiteY1" fmla="*/ 0 h 2975527"/>
              <a:gd name="connsiteX0" fmla="*/ 0 w 7933419"/>
              <a:gd name="connsiteY0" fmla="*/ 2794848 h 3006384"/>
              <a:gd name="connsiteX1" fmla="*/ 7933419 w 7933419"/>
              <a:gd name="connsiteY1" fmla="*/ 0 h 3006384"/>
              <a:gd name="connsiteX0" fmla="*/ 0 w 7867644"/>
              <a:gd name="connsiteY0" fmla="*/ 2794848 h 3006384"/>
              <a:gd name="connsiteX1" fmla="*/ 7867644 w 7867644"/>
              <a:gd name="connsiteY1" fmla="*/ 0 h 3006384"/>
              <a:gd name="connsiteX0" fmla="*/ 0 w 3197651"/>
              <a:gd name="connsiteY0" fmla="*/ 0 h 1011361"/>
              <a:gd name="connsiteX1" fmla="*/ 3197651 w 3197651"/>
              <a:gd name="connsiteY1" fmla="*/ 349213 h 1011361"/>
              <a:gd name="connsiteX0" fmla="*/ 0 w 3197651"/>
              <a:gd name="connsiteY0" fmla="*/ 0 h 551058"/>
              <a:gd name="connsiteX1" fmla="*/ 3197651 w 3197651"/>
              <a:gd name="connsiteY1" fmla="*/ 349213 h 551058"/>
              <a:gd name="connsiteX0" fmla="*/ 0 w 3197651"/>
              <a:gd name="connsiteY0" fmla="*/ 0 h 499390"/>
              <a:gd name="connsiteX1" fmla="*/ 3197651 w 3197651"/>
              <a:gd name="connsiteY1" fmla="*/ 349213 h 499390"/>
              <a:gd name="connsiteX0" fmla="*/ 0 w 3197651"/>
              <a:gd name="connsiteY0" fmla="*/ 0 h 421477"/>
              <a:gd name="connsiteX1" fmla="*/ 3197651 w 3197651"/>
              <a:gd name="connsiteY1" fmla="*/ 349213 h 421477"/>
              <a:gd name="connsiteX0" fmla="*/ 0 w 3197651"/>
              <a:gd name="connsiteY0" fmla="*/ 0 h 480912"/>
              <a:gd name="connsiteX1" fmla="*/ 3197651 w 3197651"/>
              <a:gd name="connsiteY1" fmla="*/ 349213 h 480912"/>
              <a:gd name="connsiteX0" fmla="*/ 0 w 3181202"/>
              <a:gd name="connsiteY0" fmla="*/ 0 h 617329"/>
              <a:gd name="connsiteX1" fmla="*/ 3181202 w 3181202"/>
              <a:gd name="connsiteY1" fmla="*/ 540729 h 617329"/>
              <a:gd name="connsiteX0" fmla="*/ 0 w 3181202"/>
              <a:gd name="connsiteY0" fmla="*/ 0 h 589454"/>
              <a:gd name="connsiteX1" fmla="*/ 3181202 w 3181202"/>
              <a:gd name="connsiteY1" fmla="*/ 540729 h 589454"/>
              <a:gd name="connsiteX0" fmla="*/ 0 w 3164753"/>
              <a:gd name="connsiteY0" fmla="*/ 0 h 602523"/>
              <a:gd name="connsiteX1" fmla="*/ 3164753 w 3164753"/>
              <a:gd name="connsiteY1" fmla="*/ 556687 h 602523"/>
              <a:gd name="connsiteX0" fmla="*/ 0 w 3164753"/>
              <a:gd name="connsiteY0" fmla="*/ 0 h 585741"/>
              <a:gd name="connsiteX1" fmla="*/ 3164753 w 3164753"/>
              <a:gd name="connsiteY1" fmla="*/ 556687 h 585741"/>
              <a:gd name="connsiteX0" fmla="*/ 0 w 3164753"/>
              <a:gd name="connsiteY0" fmla="*/ 0 h 588616"/>
              <a:gd name="connsiteX1" fmla="*/ 3164753 w 3164753"/>
              <a:gd name="connsiteY1" fmla="*/ 556687 h 588616"/>
              <a:gd name="connsiteX0" fmla="*/ 0 w 4184262"/>
              <a:gd name="connsiteY0" fmla="*/ 0 h 1346832"/>
              <a:gd name="connsiteX1" fmla="*/ 4184262 w 4184262"/>
              <a:gd name="connsiteY1" fmla="*/ 1338715 h 1346832"/>
              <a:gd name="connsiteX0" fmla="*/ 0 w 4184262"/>
              <a:gd name="connsiteY0" fmla="*/ 0 h 1338716"/>
              <a:gd name="connsiteX1" fmla="*/ 4184262 w 4184262"/>
              <a:gd name="connsiteY1" fmla="*/ 1338715 h 1338716"/>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7922444"/>
              <a:gd name="connsiteY0" fmla="*/ 0 h 1354674"/>
              <a:gd name="connsiteX1" fmla="*/ 7922444 w 7922444"/>
              <a:gd name="connsiteY1" fmla="*/ 1354674 h 1354674"/>
              <a:gd name="connsiteX0" fmla="*/ 0 w 7922444"/>
              <a:gd name="connsiteY0" fmla="*/ 0 h 1354674"/>
              <a:gd name="connsiteX1" fmla="*/ 7922444 w 7922444"/>
              <a:gd name="connsiteY1" fmla="*/ 1354674 h 1354674"/>
              <a:gd name="connsiteX0" fmla="*/ 0 w 7922444"/>
              <a:gd name="connsiteY0" fmla="*/ 0 h 1967324"/>
              <a:gd name="connsiteX1" fmla="*/ 7922444 w 7922444"/>
              <a:gd name="connsiteY1" fmla="*/ 1354674 h 1967324"/>
              <a:gd name="connsiteX0" fmla="*/ 0 w 7856669"/>
              <a:gd name="connsiteY0" fmla="*/ 0 h 1882889"/>
              <a:gd name="connsiteX1" fmla="*/ 7856669 w 7856669"/>
              <a:gd name="connsiteY1" fmla="*/ 1120598 h 1882889"/>
              <a:gd name="connsiteX0" fmla="*/ 0 w 7856669"/>
              <a:gd name="connsiteY0" fmla="*/ 0 h 1907225"/>
              <a:gd name="connsiteX1" fmla="*/ 7856669 w 7856669"/>
              <a:gd name="connsiteY1" fmla="*/ 1120598 h 1907225"/>
              <a:gd name="connsiteX0" fmla="*/ 0 w 7856669"/>
              <a:gd name="connsiteY0" fmla="*/ 0 h 1953216"/>
              <a:gd name="connsiteX1" fmla="*/ 7856669 w 7856669"/>
              <a:gd name="connsiteY1" fmla="*/ 1120598 h 1953216"/>
              <a:gd name="connsiteX0" fmla="*/ 0 w 7840227"/>
              <a:gd name="connsiteY0" fmla="*/ 0 h 1914966"/>
              <a:gd name="connsiteX1" fmla="*/ 7840227 w 7840227"/>
              <a:gd name="connsiteY1" fmla="*/ 1008879 h 1914966"/>
              <a:gd name="connsiteX0" fmla="*/ 0 w 7840227"/>
              <a:gd name="connsiteY0" fmla="*/ 0 h 1817737"/>
              <a:gd name="connsiteX1" fmla="*/ 7840227 w 7840227"/>
              <a:gd name="connsiteY1" fmla="*/ 1008879 h 1817737"/>
              <a:gd name="connsiteX0" fmla="*/ 0 w 7790894"/>
              <a:gd name="connsiteY0" fmla="*/ 0 h 1806893"/>
              <a:gd name="connsiteX1" fmla="*/ 7790894 w 7790894"/>
              <a:gd name="connsiteY1" fmla="*/ 976956 h 1806893"/>
              <a:gd name="connsiteX0" fmla="*/ 0 w 7790894"/>
              <a:gd name="connsiteY0" fmla="*/ 0 h 1751365"/>
              <a:gd name="connsiteX1" fmla="*/ 7790894 w 7790894"/>
              <a:gd name="connsiteY1" fmla="*/ 976956 h 1751365"/>
              <a:gd name="connsiteX0" fmla="*/ 0 w 7790894"/>
              <a:gd name="connsiteY0" fmla="*/ 0 h 1820793"/>
              <a:gd name="connsiteX1" fmla="*/ 7790894 w 7790894"/>
              <a:gd name="connsiteY1" fmla="*/ 976956 h 1820793"/>
              <a:gd name="connsiteX0" fmla="*/ 0 w 7790894"/>
              <a:gd name="connsiteY0" fmla="*/ 0 h 1806893"/>
              <a:gd name="connsiteX1" fmla="*/ 7790894 w 7790894"/>
              <a:gd name="connsiteY1" fmla="*/ 976956 h 1806893"/>
              <a:gd name="connsiteX0" fmla="*/ 0 w 7646436"/>
              <a:gd name="connsiteY0" fmla="*/ 0 h 1749648"/>
              <a:gd name="connsiteX1" fmla="*/ 7646438 w 7646436"/>
              <a:gd name="connsiteY1" fmla="*/ 801919 h 1749648"/>
              <a:gd name="connsiteX0" fmla="*/ 0 w 7646436"/>
              <a:gd name="connsiteY0" fmla="*/ 0 h 1949180"/>
              <a:gd name="connsiteX1" fmla="*/ 7646438 w 7646436"/>
              <a:gd name="connsiteY1" fmla="*/ 801919 h 1949180"/>
              <a:gd name="connsiteX0" fmla="*/ 1 w 7654290"/>
              <a:gd name="connsiteY0" fmla="*/ 147701 h 1792575"/>
              <a:gd name="connsiteX1" fmla="*/ 7654292 w 7654290"/>
              <a:gd name="connsiteY1" fmla="*/ -1 h 1792575"/>
              <a:gd name="connsiteX0" fmla="*/ 1 w 7654290"/>
              <a:gd name="connsiteY0" fmla="*/ 147701 h 337093"/>
              <a:gd name="connsiteX1" fmla="*/ 7654292 w 7654290"/>
              <a:gd name="connsiteY1" fmla="*/ -1 h 337093"/>
              <a:gd name="connsiteX0" fmla="*/ 1 w 7654290"/>
              <a:gd name="connsiteY0" fmla="*/ 147701 h 309785"/>
              <a:gd name="connsiteX1" fmla="*/ 7654292 w 7654290"/>
              <a:gd name="connsiteY1" fmla="*/ -1 h 309785"/>
              <a:gd name="connsiteX0" fmla="*/ 1 w 7654290"/>
              <a:gd name="connsiteY0" fmla="*/ 147701 h 287229"/>
              <a:gd name="connsiteX1" fmla="*/ 7654292 w 7654290"/>
              <a:gd name="connsiteY1" fmla="*/ -1 h 287229"/>
              <a:gd name="connsiteX0" fmla="*/ 4 w 7452148"/>
              <a:gd name="connsiteY0" fmla="*/ 126512 h 274125"/>
              <a:gd name="connsiteX1" fmla="*/ 7452150 w 7452148"/>
              <a:gd name="connsiteY1" fmla="*/ -1 h 274125"/>
              <a:gd name="connsiteX0" fmla="*/ -2 w 7359956"/>
              <a:gd name="connsiteY0" fmla="*/ 175237 h 305111"/>
              <a:gd name="connsiteX1" fmla="*/ 7359958 w 7359956"/>
              <a:gd name="connsiteY1" fmla="*/ -1 h 305111"/>
              <a:gd name="connsiteX0" fmla="*/ -1 w 7465891"/>
              <a:gd name="connsiteY0" fmla="*/ 135252 h 279460"/>
              <a:gd name="connsiteX1" fmla="*/ 7465893 w 7465891"/>
              <a:gd name="connsiteY1" fmla="*/ -1 h 279460"/>
              <a:gd name="connsiteX0" fmla="*/ -1 w 11571957"/>
              <a:gd name="connsiteY0" fmla="*/ 1266380 h 1295265"/>
              <a:gd name="connsiteX1" fmla="*/ 11571957 w 11571957"/>
              <a:gd name="connsiteY1" fmla="*/ 1 h 1295265"/>
              <a:gd name="connsiteX0" fmla="*/ -1 w 11571957"/>
              <a:gd name="connsiteY0" fmla="*/ 1266380 h 1373167"/>
              <a:gd name="connsiteX1" fmla="*/ 3979169 w 11571957"/>
              <a:gd name="connsiteY1" fmla="*/ 1317909 h 1373167"/>
              <a:gd name="connsiteX2" fmla="*/ 11571957 w 11571957"/>
              <a:gd name="connsiteY2" fmla="*/ 1 h 1373167"/>
              <a:gd name="connsiteX0" fmla="*/ -1 w 11571957"/>
              <a:gd name="connsiteY0" fmla="*/ 1266380 h 1321797"/>
              <a:gd name="connsiteX1" fmla="*/ 3979169 w 11571957"/>
              <a:gd name="connsiteY1" fmla="*/ 1317909 h 1321797"/>
              <a:gd name="connsiteX2" fmla="*/ 11571957 w 11571957"/>
              <a:gd name="connsiteY2" fmla="*/ 1 h 1321797"/>
              <a:gd name="connsiteX0" fmla="*/ -1 w 11571957"/>
              <a:gd name="connsiteY0" fmla="*/ 1266380 h 1405388"/>
              <a:gd name="connsiteX1" fmla="*/ 3979169 w 11571957"/>
              <a:gd name="connsiteY1" fmla="*/ 1317909 h 1405388"/>
              <a:gd name="connsiteX2" fmla="*/ 11571957 w 11571957"/>
              <a:gd name="connsiteY2" fmla="*/ 1 h 1405388"/>
              <a:gd name="connsiteX0" fmla="*/ -1 w 11571957"/>
              <a:gd name="connsiteY0" fmla="*/ 1266380 h 1466387"/>
              <a:gd name="connsiteX1" fmla="*/ 4049395 w 11571957"/>
              <a:gd name="connsiteY1" fmla="*/ 1390915 h 1466387"/>
              <a:gd name="connsiteX2" fmla="*/ 11571957 w 11571957"/>
              <a:gd name="connsiteY2" fmla="*/ 1 h 1466387"/>
              <a:gd name="connsiteX0" fmla="*/ -1 w 11571957"/>
              <a:gd name="connsiteY0" fmla="*/ 1266380 h 1476321"/>
              <a:gd name="connsiteX1" fmla="*/ 4049395 w 11571957"/>
              <a:gd name="connsiteY1" fmla="*/ 1390915 h 1476321"/>
              <a:gd name="connsiteX2" fmla="*/ 11571957 w 11571957"/>
              <a:gd name="connsiteY2" fmla="*/ 1 h 1476321"/>
              <a:gd name="connsiteX0" fmla="*/ 2 w 11513721"/>
              <a:gd name="connsiteY0" fmla="*/ 1388864 h 1505074"/>
              <a:gd name="connsiteX1" fmla="*/ 3991159 w 11513721"/>
              <a:gd name="connsiteY1" fmla="*/ 1390914 h 1505074"/>
              <a:gd name="connsiteX2" fmla="*/ 11513721 w 11513721"/>
              <a:gd name="connsiteY2" fmla="*/ 0 h 1505074"/>
              <a:gd name="connsiteX0" fmla="*/ 2 w 11513721"/>
              <a:gd name="connsiteY0" fmla="*/ 1388864 h 1402719"/>
              <a:gd name="connsiteX1" fmla="*/ 7900822 w 11513721"/>
              <a:gd name="connsiteY1" fmla="*/ 1121534 h 1402719"/>
              <a:gd name="connsiteX2" fmla="*/ 11513721 w 11513721"/>
              <a:gd name="connsiteY2" fmla="*/ 0 h 1402719"/>
              <a:gd name="connsiteX0" fmla="*/ 2 w 11513721"/>
              <a:gd name="connsiteY0" fmla="*/ 1388864 h 1443996"/>
              <a:gd name="connsiteX1" fmla="*/ 7900822 w 11513721"/>
              <a:gd name="connsiteY1" fmla="*/ 1121534 h 1443996"/>
              <a:gd name="connsiteX2" fmla="*/ 11513721 w 11513721"/>
              <a:gd name="connsiteY2" fmla="*/ 0 h 1443996"/>
              <a:gd name="connsiteX0" fmla="*/ 2 w 11626925"/>
              <a:gd name="connsiteY0" fmla="*/ 1388864 h 1443996"/>
              <a:gd name="connsiteX1" fmla="*/ 7900822 w 11626925"/>
              <a:gd name="connsiteY1" fmla="*/ 1121534 h 1443996"/>
              <a:gd name="connsiteX2" fmla="*/ 11513721 w 11626925"/>
              <a:gd name="connsiteY2" fmla="*/ 0 h 1443996"/>
              <a:gd name="connsiteX0" fmla="*/ -1 w 11561495"/>
              <a:gd name="connsiteY0" fmla="*/ 1411752 h 1463480"/>
              <a:gd name="connsiteX1" fmla="*/ 7835392 w 11561495"/>
              <a:gd name="connsiteY1" fmla="*/ 1121534 h 1463480"/>
              <a:gd name="connsiteX2" fmla="*/ 11448291 w 11561495"/>
              <a:gd name="connsiteY2" fmla="*/ 0 h 1463480"/>
              <a:gd name="connsiteX0" fmla="*/ -1 w 11561495"/>
              <a:gd name="connsiteY0" fmla="*/ 1411752 h 1424841"/>
              <a:gd name="connsiteX1" fmla="*/ 7835392 w 11561495"/>
              <a:gd name="connsiteY1" fmla="*/ 1121534 h 1424841"/>
              <a:gd name="connsiteX2" fmla="*/ 11448291 w 11561495"/>
              <a:gd name="connsiteY2" fmla="*/ 0 h 1424841"/>
              <a:gd name="connsiteX0" fmla="*/ -1 w 12842883"/>
              <a:gd name="connsiteY0" fmla="*/ 1411752 h 1420953"/>
              <a:gd name="connsiteX1" fmla="*/ 11783242 w 12842883"/>
              <a:gd name="connsiteY1" fmla="*/ 1047523 h 1420953"/>
              <a:gd name="connsiteX2" fmla="*/ 11448291 w 12842883"/>
              <a:gd name="connsiteY2" fmla="*/ 0 h 1420953"/>
              <a:gd name="connsiteX0" fmla="*/ -1 w 12842883"/>
              <a:gd name="connsiteY0" fmla="*/ 1411752 h 1436717"/>
              <a:gd name="connsiteX1" fmla="*/ 11783242 w 12842883"/>
              <a:gd name="connsiteY1" fmla="*/ 1047523 h 1436717"/>
              <a:gd name="connsiteX2" fmla="*/ 11448291 w 12842883"/>
              <a:gd name="connsiteY2" fmla="*/ 0 h 1436717"/>
              <a:gd name="connsiteX0" fmla="*/ -1 w 12835215"/>
              <a:gd name="connsiteY0" fmla="*/ 1391324 h 1416289"/>
              <a:gd name="connsiteX1" fmla="*/ 11783242 w 12835215"/>
              <a:gd name="connsiteY1" fmla="*/ 1027095 h 1416289"/>
              <a:gd name="connsiteX2" fmla="*/ 11420216 w 12835215"/>
              <a:gd name="connsiteY2" fmla="*/ 0 h 1416289"/>
              <a:gd name="connsiteX0" fmla="*/ -1 w 13099507"/>
              <a:gd name="connsiteY0" fmla="*/ 1391324 h 1416289"/>
              <a:gd name="connsiteX1" fmla="*/ 11783242 w 13099507"/>
              <a:gd name="connsiteY1" fmla="*/ 1027095 h 1416289"/>
              <a:gd name="connsiteX2" fmla="*/ 11420216 w 13099507"/>
              <a:gd name="connsiteY2" fmla="*/ 0 h 1416289"/>
            </a:gdLst>
            <a:ahLst/>
            <a:cxnLst>
              <a:cxn ang="0">
                <a:pos x="connsiteX0" y="connsiteY0"/>
              </a:cxn>
              <a:cxn ang="0">
                <a:pos x="connsiteX1" y="connsiteY1"/>
              </a:cxn>
              <a:cxn ang="0">
                <a:pos x="connsiteX2" y="connsiteY2"/>
              </a:cxn>
            </a:cxnLst>
            <a:rect l="l" t="t" r="r" b="b"/>
            <a:pathLst>
              <a:path w="13099507" h="1416289">
                <a:moveTo>
                  <a:pt x="-1" y="1391324"/>
                </a:moveTo>
                <a:cubicBezTo>
                  <a:pt x="2543102" y="1494736"/>
                  <a:pt x="9608620" y="1258042"/>
                  <a:pt x="11783242" y="1027095"/>
                </a:cubicBezTo>
                <a:cubicBezTo>
                  <a:pt x="14055515" y="764848"/>
                  <a:pt x="13020812" y="377380"/>
                  <a:pt x="11420216" y="0"/>
                </a:cubicBezTo>
              </a:path>
            </a:pathLst>
          </a:custGeom>
          <a:noFill/>
          <a:ln w="12700" cap="flat" cmpd="sng" algn="ctr">
            <a:solidFill>
              <a:srgbClr val="13835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de-DE"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98" name="Freeform 103"/>
          <p:cNvSpPr/>
          <p:nvPr/>
        </p:nvSpPr>
        <p:spPr bwMode="auto">
          <a:xfrm rot="1635044">
            <a:off x="2655021" y="3054400"/>
            <a:ext cx="1371686" cy="440630"/>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2875322"/>
              <a:gd name="connsiteY0" fmla="*/ 0 h 1850561"/>
              <a:gd name="connsiteX1" fmla="*/ 2875322 w 2875322"/>
              <a:gd name="connsiteY1" fmla="*/ 1850561 h 1850561"/>
              <a:gd name="connsiteX0" fmla="*/ 0 w 2875322"/>
              <a:gd name="connsiteY0" fmla="*/ 0 h 1850561"/>
              <a:gd name="connsiteX1" fmla="*/ 2875322 w 2875322"/>
              <a:gd name="connsiteY1" fmla="*/ 1850561 h 1850561"/>
              <a:gd name="connsiteX0" fmla="*/ 0 w 2894703"/>
              <a:gd name="connsiteY0" fmla="*/ 0 h 1850561"/>
              <a:gd name="connsiteX1" fmla="*/ 2894703 w 2894703"/>
              <a:gd name="connsiteY1" fmla="*/ 1850561 h 1850561"/>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0239"/>
              <a:gd name="connsiteY0" fmla="*/ 0 h 2300301"/>
              <a:gd name="connsiteX1" fmla="*/ 3480239 w 3480239"/>
              <a:gd name="connsiteY1" fmla="*/ 2300301 h 2300301"/>
              <a:gd name="connsiteX0" fmla="*/ 0 w 3480239"/>
              <a:gd name="connsiteY0" fmla="*/ 0 h 2300301"/>
              <a:gd name="connsiteX1" fmla="*/ 3480239 w 348023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521439"/>
              <a:gd name="connsiteY0" fmla="*/ 0 h 2232170"/>
              <a:gd name="connsiteX1" fmla="*/ 3521439 w 3521439"/>
              <a:gd name="connsiteY1" fmla="*/ 2232170 h 2232170"/>
              <a:gd name="connsiteX0" fmla="*/ 0 w 3521439"/>
              <a:gd name="connsiteY0" fmla="*/ 0 h 2232170"/>
              <a:gd name="connsiteX1" fmla="*/ 3521439 w 3521439"/>
              <a:gd name="connsiteY1" fmla="*/ 2232170 h 2232170"/>
              <a:gd name="connsiteX0" fmla="*/ 0 w 3521439"/>
              <a:gd name="connsiteY0" fmla="*/ 0 h 2209460"/>
              <a:gd name="connsiteX1" fmla="*/ 3521439 w 3521439"/>
              <a:gd name="connsiteY1" fmla="*/ 2209460 h 2209460"/>
              <a:gd name="connsiteX0" fmla="*/ 0 w 3521439"/>
              <a:gd name="connsiteY0" fmla="*/ 0 h 2209460"/>
              <a:gd name="connsiteX1" fmla="*/ 3521439 w 3521439"/>
              <a:gd name="connsiteY1" fmla="*/ 2209460 h 2209460"/>
              <a:gd name="connsiteX0" fmla="*/ 0 w 3166484"/>
              <a:gd name="connsiteY0" fmla="*/ 0 h 1509983"/>
              <a:gd name="connsiteX1" fmla="*/ 3166484 w 3166484"/>
              <a:gd name="connsiteY1" fmla="*/ 1509983 h 1509983"/>
              <a:gd name="connsiteX0" fmla="*/ 0 w 2028493"/>
              <a:gd name="connsiteY0" fmla="*/ 0 h 405367"/>
              <a:gd name="connsiteX1" fmla="*/ 2028493 w 2028493"/>
              <a:gd name="connsiteY1" fmla="*/ 62202 h 405367"/>
              <a:gd name="connsiteX0" fmla="*/ 0 w 2028493"/>
              <a:gd name="connsiteY0" fmla="*/ 0 h 410101"/>
              <a:gd name="connsiteX1" fmla="*/ 2028493 w 2028493"/>
              <a:gd name="connsiteY1" fmla="*/ 62202 h 410101"/>
              <a:gd name="connsiteX0" fmla="*/ 0 w 2049034"/>
              <a:gd name="connsiteY0" fmla="*/ 0 h 413154"/>
              <a:gd name="connsiteX1" fmla="*/ 2049034 w 2049034"/>
              <a:gd name="connsiteY1" fmla="*/ 76396 h 413154"/>
              <a:gd name="connsiteX0" fmla="*/ 0 w 2049034"/>
              <a:gd name="connsiteY0" fmla="*/ 143813 h 220209"/>
              <a:gd name="connsiteX1" fmla="*/ 2049034 w 2049034"/>
              <a:gd name="connsiteY1" fmla="*/ 220209 h 220209"/>
              <a:gd name="connsiteX0" fmla="*/ 0 w 2049034"/>
              <a:gd name="connsiteY0" fmla="*/ 154753 h 231149"/>
              <a:gd name="connsiteX1" fmla="*/ 2049034 w 2049034"/>
              <a:gd name="connsiteY1" fmla="*/ 231149 h 231149"/>
              <a:gd name="connsiteX0" fmla="*/ 0 w 2057250"/>
              <a:gd name="connsiteY0" fmla="*/ 145732 h 242000"/>
              <a:gd name="connsiteX1" fmla="*/ 2057250 w 2057250"/>
              <a:gd name="connsiteY1" fmla="*/ 242000 h 242000"/>
              <a:gd name="connsiteX0" fmla="*/ 0 w 2057250"/>
              <a:gd name="connsiteY0" fmla="*/ 155638 h 251906"/>
              <a:gd name="connsiteX1" fmla="*/ 2057250 w 2057250"/>
              <a:gd name="connsiteY1" fmla="*/ 251906 h 251906"/>
              <a:gd name="connsiteX0" fmla="*/ 0 w 2057250"/>
              <a:gd name="connsiteY0" fmla="*/ 154153 h 250421"/>
              <a:gd name="connsiteX1" fmla="*/ 2057250 w 2057250"/>
              <a:gd name="connsiteY1" fmla="*/ 250421 h 250421"/>
              <a:gd name="connsiteX0" fmla="*/ 0 w 2057250"/>
              <a:gd name="connsiteY0" fmla="*/ 175529 h 271797"/>
              <a:gd name="connsiteX1" fmla="*/ 2057250 w 2057250"/>
              <a:gd name="connsiteY1" fmla="*/ 271797 h 271797"/>
              <a:gd name="connsiteX0" fmla="*/ 0 w 1925785"/>
              <a:gd name="connsiteY0" fmla="*/ 146190 h 318159"/>
              <a:gd name="connsiteX1" fmla="*/ 1925785 w 1925785"/>
              <a:gd name="connsiteY1" fmla="*/ 318159 h 318159"/>
              <a:gd name="connsiteX0" fmla="*/ 0 w 1942218"/>
              <a:gd name="connsiteY0" fmla="*/ 143309 h 323795"/>
              <a:gd name="connsiteX1" fmla="*/ 1942218 w 1942218"/>
              <a:gd name="connsiteY1" fmla="*/ 323795 h 323795"/>
              <a:gd name="connsiteX0" fmla="*/ 0 w 1942218"/>
              <a:gd name="connsiteY0" fmla="*/ 1 h 180487"/>
              <a:gd name="connsiteX1" fmla="*/ 1942218 w 1942218"/>
              <a:gd name="connsiteY1" fmla="*/ 180487 h 180487"/>
              <a:gd name="connsiteX0" fmla="*/ 0 w 1966867"/>
              <a:gd name="connsiteY0" fmla="*/ 0 h 171970"/>
              <a:gd name="connsiteX1" fmla="*/ 1966867 w 1966867"/>
              <a:gd name="connsiteY1" fmla="*/ 171971 h 171970"/>
              <a:gd name="connsiteX0" fmla="*/ 0 w 1966867"/>
              <a:gd name="connsiteY0" fmla="*/ 0 h 171971"/>
              <a:gd name="connsiteX1" fmla="*/ 1966867 w 1966867"/>
              <a:gd name="connsiteY1" fmla="*/ 171971 h 171971"/>
              <a:gd name="connsiteX0" fmla="*/ 0 w 1958651"/>
              <a:gd name="connsiteY0" fmla="*/ 0 h 186165"/>
              <a:gd name="connsiteX1" fmla="*/ 1958651 w 1958651"/>
              <a:gd name="connsiteY1" fmla="*/ 186165 h 186165"/>
              <a:gd name="connsiteX0" fmla="*/ 0 w 1954543"/>
              <a:gd name="connsiteY0" fmla="*/ 0 h 203197"/>
              <a:gd name="connsiteX1" fmla="*/ 1954543 w 1954543"/>
              <a:gd name="connsiteY1" fmla="*/ 203197 h 203197"/>
              <a:gd name="connsiteX0" fmla="*/ 0 w 2324286"/>
              <a:gd name="connsiteY0" fmla="*/ 0 h 475721"/>
              <a:gd name="connsiteX1" fmla="*/ 2324286 w 2324286"/>
              <a:gd name="connsiteY1" fmla="*/ 475721 h 475721"/>
              <a:gd name="connsiteX0" fmla="*/ 0 w 2324286"/>
              <a:gd name="connsiteY0" fmla="*/ 0 h 479624"/>
              <a:gd name="connsiteX1" fmla="*/ 2324286 w 2324286"/>
              <a:gd name="connsiteY1" fmla="*/ 475721 h 479624"/>
              <a:gd name="connsiteX0" fmla="*/ 0 w 2324286"/>
              <a:gd name="connsiteY0" fmla="*/ 0 h 480172"/>
              <a:gd name="connsiteX1" fmla="*/ 2324286 w 2324286"/>
              <a:gd name="connsiteY1" fmla="*/ 475721 h 480172"/>
              <a:gd name="connsiteX0" fmla="*/ 0 w 2324286"/>
              <a:gd name="connsiteY0" fmla="*/ 0 h 475721"/>
              <a:gd name="connsiteX1" fmla="*/ 2324286 w 2324286"/>
              <a:gd name="connsiteY1" fmla="*/ 475721 h 475721"/>
              <a:gd name="connsiteX0" fmla="*/ 0 w 2316069"/>
              <a:gd name="connsiteY0" fmla="*/ 0 h 498431"/>
              <a:gd name="connsiteX1" fmla="*/ 2316069 w 2316069"/>
              <a:gd name="connsiteY1" fmla="*/ 498431 h 498431"/>
              <a:gd name="connsiteX0" fmla="*/ 0 w 2316069"/>
              <a:gd name="connsiteY0" fmla="*/ 0 h 498431"/>
              <a:gd name="connsiteX1" fmla="*/ 2316069 w 2316069"/>
              <a:gd name="connsiteY1" fmla="*/ 498431 h 49843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04754"/>
              <a:gd name="connsiteY0" fmla="*/ 0 h 1015091"/>
              <a:gd name="connsiteX1" fmla="*/ 4604754 w 4604754"/>
              <a:gd name="connsiteY1" fmla="*/ 1015091 h 1015091"/>
              <a:gd name="connsiteX0" fmla="*/ 0 w 4604754"/>
              <a:gd name="connsiteY0" fmla="*/ 0 h 1015091"/>
              <a:gd name="connsiteX1" fmla="*/ 4604754 w 4604754"/>
              <a:gd name="connsiteY1" fmla="*/ 1015091 h 1015091"/>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23432 h 1021455"/>
              <a:gd name="connsiteX1" fmla="*/ 4604754 w 4604754"/>
              <a:gd name="connsiteY1" fmla="*/ 1021455 h 1021455"/>
              <a:gd name="connsiteX0" fmla="*/ 0 w 4621488"/>
              <a:gd name="connsiteY0" fmla="*/ 28563 h 866964"/>
              <a:gd name="connsiteX1" fmla="*/ 4621488 w 4621488"/>
              <a:gd name="connsiteY1" fmla="*/ 866966 h 866964"/>
              <a:gd name="connsiteX0" fmla="*/ 0 w 4621488"/>
              <a:gd name="connsiteY0" fmla="*/ 35875 h 874276"/>
              <a:gd name="connsiteX1" fmla="*/ 4621488 w 4621488"/>
              <a:gd name="connsiteY1" fmla="*/ 874278 h 874276"/>
              <a:gd name="connsiteX0" fmla="*/ 2 w 4634037"/>
              <a:gd name="connsiteY0" fmla="*/ 44537 h 763234"/>
              <a:gd name="connsiteX1" fmla="*/ 4634037 w 4634037"/>
              <a:gd name="connsiteY1" fmla="*/ 763236 h 763234"/>
              <a:gd name="connsiteX0" fmla="*/ 2 w 4634037"/>
              <a:gd name="connsiteY0" fmla="*/ -3 h 718694"/>
              <a:gd name="connsiteX1" fmla="*/ 4634037 w 4634037"/>
              <a:gd name="connsiteY1" fmla="*/ 718696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1413475"/>
              <a:gd name="connsiteY0" fmla="*/ 606407 h 728390"/>
              <a:gd name="connsiteX1" fmla="*/ 1413474 w 1413475"/>
              <a:gd name="connsiteY1" fmla="*/ 126977 h 728390"/>
              <a:gd name="connsiteX0" fmla="*/ 2 w 1413475"/>
              <a:gd name="connsiteY0" fmla="*/ 479431 h 721543"/>
              <a:gd name="connsiteX1" fmla="*/ 1413474 w 1413475"/>
              <a:gd name="connsiteY1" fmla="*/ 1 h 721543"/>
              <a:gd name="connsiteX0" fmla="*/ 3 w 1605506"/>
              <a:gd name="connsiteY0" fmla="*/ 487353 h 727739"/>
              <a:gd name="connsiteX1" fmla="*/ 1605505 w 1605506"/>
              <a:gd name="connsiteY1" fmla="*/ 1 h 727739"/>
              <a:gd name="connsiteX0" fmla="*/ 3 w 1605506"/>
              <a:gd name="connsiteY0" fmla="*/ 487353 h 595674"/>
              <a:gd name="connsiteX1" fmla="*/ 1605505 w 1605506"/>
              <a:gd name="connsiteY1" fmla="*/ 1 h 595674"/>
              <a:gd name="connsiteX0" fmla="*/ 3 w 1573179"/>
              <a:gd name="connsiteY0" fmla="*/ 635014 h 720486"/>
              <a:gd name="connsiteX1" fmla="*/ 1573180 w 1573179"/>
              <a:gd name="connsiteY1" fmla="*/ 1 h 720486"/>
              <a:gd name="connsiteX0" fmla="*/ 3 w 1573179"/>
              <a:gd name="connsiteY0" fmla="*/ 635014 h 727984"/>
              <a:gd name="connsiteX1" fmla="*/ 1573180 w 1573179"/>
              <a:gd name="connsiteY1" fmla="*/ 1 h 727984"/>
              <a:gd name="connsiteX0" fmla="*/ 3 w 1619069"/>
              <a:gd name="connsiteY0" fmla="*/ 464741 h 589089"/>
              <a:gd name="connsiteX1" fmla="*/ 1619069 w 1619069"/>
              <a:gd name="connsiteY1" fmla="*/ 1 h 589089"/>
              <a:gd name="connsiteX0" fmla="*/ 3 w 1619069"/>
              <a:gd name="connsiteY0" fmla="*/ 464741 h 644508"/>
              <a:gd name="connsiteX1" fmla="*/ 1619069 w 1619069"/>
              <a:gd name="connsiteY1" fmla="*/ 1 h 644508"/>
              <a:gd name="connsiteX0" fmla="*/ 3 w 1619069"/>
              <a:gd name="connsiteY0" fmla="*/ 464741 h 573752"/>
              <a:gd name="connsiteX1" fmla="*/ 1619069 w 1619069"/>
              <a:gd name="connsiteY1" fmla="*/ 1 h 573752"/>
              <a:gd name="connsiteX0" fmla="*/ 3 w 1619069"/>
              <a:gd name="connsiteY0" fmla="*/ 496657 h 598698"/>
              <a:gd name="connsiteX1" fmla="*/ 1619069 w 1619069"/>
              <a:gd name="connsiteY1" fmla="*/ 0 h 598698"/>
              <a:gd name="connsiteX0" fmla="*/ 3 w 7916977"/>
              <a:gd name="connsiteY0" fmla="*/ 2826772 h 2841912"/>
              <a:gd name="connsiteX1" fmla="*/ 7916977 w 7916977"/>
              <a:gd name="connsiteY1" fmla="*/ 0 h 2841912"/>
              <a:gd name="connsiteX0" fmla="*/ 3 w 7916977"/>
              <a:gd name="connsiteY0" fmla="*/ 2826772 h 2846255"/>
              <a:gd name="connsiteX1" fmla="*/ 7916977 w 7916977"/>
              <a:gd name="connsiteY1" fmla="*/ 0 h 2846255"/>
              <a:gd name="connsiteX0" fmla="*/ 3 w 7916977"/>
              <a:gd name="connsiteY0" fmla="*/ 2826772 h 3052074"/>
              <a:gd name="connsiteX1" fmla="*/ 7916977 w 7916977"/>
              <a:gd name="connsiteY1" fmla="*/ 0 h 3052074"/>
              <a:gd name="connsiteX0" fmla="*/ 3 w 7916977"/>
              <a:gd name="connsiteY0" fmla="*/ 2826772 h 3005674"/>
              <a:gd name="connsiteX1" fmla="*/ 7916977 w 7916977"/>
              <a:gd name="connsiteY1" fmla="*/ 0 h 3005674"/>
              <a:gd name="connsiteX0" fmla="*/ 0 w 7916977"/>
              <a:gd name="connsiteY0" fmla="*/ 2778890 h 2960467"/>
              <a:gd name="connsiteX1" fmla="*/ 7916977 w 7916977"/>
              <a:gd name="connsiteY1" fmla="*/ 0 h 2960467"/>
              <a:gd name="connsiteX0" fmla="*/ 0 w 7933419"/>
              <a:gd name="connsiteY0" fmla="*/ 2794848 h 2975527"/>
              <a:gd name="connsiteX1" fmla="*/ 7933419 w 7933419"/>
              <a:gd name="connsiteY1" fmla="*/ 0 h 2975527"/>
              <a:gd name="connsiteX0" fmla="*/ 0 w 7933419"/>
              <a:gd name="connsiteY0" fmla="*/ 2794848 h 3006384"/>
              <a:gd name="connsiteX1" fmla="*/ 7933419 w 7933419"/>
              <a:gd name="connsiteY1" fmla="*/ 0 h 3006384"/>
              <a:gd name="connsiteX0" fmla="*/ 0 w 7867644"/>
              <a:gd name="connsiteY0" fmla="*/ 2794848 h 3006384"/>
              <a:gd name="connsiteX1" fmla="*/ 7867644 w 7867644"/>
              <a:gd name="connsiteY1" fmla="*/ 0 h 3006384"/>
              <a:gd name="connsiteX0" fmla="*/ 0 w 3197651"/>
              <a:gd name="connsiteY0" fmla="*/ 0 h 1011361"/>
              <a:gd name="connsiteX1" fmla="*/ 3197651 w 3197651"/>
              <a:gd name="connsiteY1" fmla="*/ 349213 h 1011361"/>
              <a:gd name="connsiteX0" fmla="*/ 0 w 3197651"/>
              <a:gd name="connsiteY0" fmla="*/ 0 h 551058"/>
              <a:gd name="connsiteX1" fmla="*/ 3197651 w 3197651"/>
              <a:gd name="connsiteY1" fmla="*/ 349213 h 551058"/>
              <a:gd name="connsiteX0" fmla="*/ 0 w 3197651"/>
              <a:gd name="connsiteY0" fmla="*/ 0 h 499390"/>
              <a:gd name="connsiteX1" fmla="*/ 3197651 w 3197651"/>
              <a:gd name="connsiteY1" fmla="*/ 349213 h 499390"/>
              <a:gd name="connsiteX0" fmla="*/ 0 w 3197651"/>
              <a:gd name="connsiteY0" fmla="*/ 0 h 421477"/>
              <a:gd name="connsiteX1" fmla="*/ 3197651 w 3197651"/>
              <a:gd name="connsiteY1" fmla="*/ 349213 h 421477"/>
              <a:gd name="connsiteX0" fmla="*/ 0 w 3197651"/>
              <a:gd name="connsiteY0" fmla="*/ 0 h 480912"/>
              <a:gd name="connsiteX1" fmla="*/ 3197651 w 3197651"/>
              <a:gd name="connsiteY1" fmla="*/ 349213 h 480912"/>
              <a:gd name="connsiteX0" fmla="*/ 0 w 3181202"/>
              <a:gd name="connsiteY0" fmla="*/ 0 h 617329"/>
              <a:gd name="connsiteX1" fmla="*/ 3181202 w 3181202"/>
              <a:gd name="connsiteY1" fmla="*/ 540729 h 617329"/>
              <a:gd name="connsiteX0" fmla="*/ 0 w 3181202"/>
              <a:gd name="connsiteY0" fmla="*/ 0 h 589454"/>
              <a:gd name="connsiteX1" fmla="*/ 3181202 w 3181202"/>
              <a:gd name="connsiteY1" fmla="*/ 540729 h 589454"/>
              <a:gd name="connsiteX0" fmla="*/ 0 w 3164753"/>
              <a:gd name="connsiteY0" fmla="*/ 0 h 602523"/>
              <a:gd name="connsiteX1" fmla="*/ 3164753 w 3164753"/>
              <a:gd name="connsiteY1" fmla="*/ 556687 h 602523"/>
              <a:gd name="connsiteX0" fmla="*/ 0 w 3164753"/>
              <a:gd name="connsiteY0" fmla="*/ 0 h 585741"/>
              <a:gd name="connsiteX1" fmla="*/ 3164753 w 3164753"/>
              <a:gd name="connsiteY1" fmla="*/ 556687 h 585741"/>
              <a:gd name="connsiteX0" fmla="*/ 0 w 3164753"/>
              <a:gd name="connsiteY0" fmla="*/ 0 h 588616"/>
              <a:gd name="connsiteX1" fmla="*/ 3164753 w 3164753"/>
              <a:gd name="connsiteY1" fmla="*/ 556687 h 588616"/>
              <a:gd name="connsiteX0" fmla="*/ 0 w 4184262"/>
              <a:gd name="connsiteY0" fmla="*/ 0 h 1346832"/>
              <a:gd name="connsiteX1" fmla="*/ 4184262 w 4184262"/>
              <a:gd name="connsiteY1" fmla="*/ 1338715 h 1346832"/>
              <a:gd name="connsiteX0" fmla="*/ 0 w 4184262"/>
              <a:gd name="connsiteY0" fmla="*/ 0 h 1338716"/>
              <a:gd name="connsiteX1" fmla="*/ 4184262 w 4184262"/>
              <a:gd name="connsiteY1" fmla="*/ 1338715 h 1338716"/>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7922444"/>
              <a:gd name="connsiteY0" fmla="*/ 0 h 1354674"/>
              <a:gd name="connsiteX1" fmla="*/ 7922444 w 7922444"/>
              <a:gd name="connsiteY1" fmla="*/ 1354674 h 1354674"/>
              <a:gd name="connsiteX0" fmla="*/ 0 w 7922444"/>
              <a:gd name="connsiteY0" fmla="*/ 0 h 1354674"/>
              <a:gd name="connsiteX1" fmla="*/ 7922444 w 7922444"/>
              <a:gd name="connsiteY1" fmla="*/ 1354674 h 1354674"/>
              <a:gd name="connsiteX0" fmla="*/ 0 w 7922444"/>
              <a:gd name="connsiteY0" fmla="*/ 0 h 1967324"/>
              <a:gd name="connsiteX1" fmla="*/ 7922444 w 7922444"/>
              <a:gd name="connsiteY1" fmla="*/ 1354674 h 1967324"/>
              <a:gd name="connsiteX0" fmla="*/ 0 w 7856669"/>
              <a:gd name="connsiteY0" fmla="*/ 0 h 1882889"/>
              <a:gd name="connsiteX1" fmla="*/ 7856669 w 7856669"/>
              <a:gd name="connsiteY1" fmla="*/ 1120598 h 1882889"/>
              <a:gd name="connsiteX0" fmla="*/ 0 w 7856669"/>
              <a:gd name="connsiteY0" fmla="*/ 0 h 1907225"/>
              <a:gd name="connsiteX1" fmla="*/ 7856669 w 7856669"/>
              <a:gd name="connsiteY1" fmla="*/ 1120598 h 1907225"/>
              <a:gd name="connsiteX0" fmla="*/ 0 w 7856669"/>
              <a:gd name="connsiteY0" fmla="*/ 0 h 1953216"/>
              <a:gd name="connsiteX1" fmla="*/ 7856669 w 7856669"/>
              <a:gd name="connsiteY1" fmla="*/ 1120598 h 1953216"/>
              <a:gd name="connsiteX0" fmla="*/ 0 w 7840227"/>
              <a:gd name="connsiteY0" fmla="*/ 0 h 1914966"/>
              <a:gd name="connsiteX1" fmla="*/ 7840227 w 7840227"/>
              <a:gd name="connsiteY1" fmla="*/ 1008879 h 1914966"/>
              <a:gd name="connsiteX0" fmla="*/ 0 w 7840227"/>
              <a:gd name="connsiteY0" fmla="*/ 0 h 1817737"/>
              <a:gd name="connsiteX1" fmla="*/ 7840227 w 7840227"/>
              <a:gd name="connsiteY1" fmla="*/ 1008879 h 1817737"/>
              <a:gd name="connsiteX0" fmla="*/ 0 w 7790894"/>
              <a:gd name="connsiteY0" fmla="*/ 0 h 1806893"/>
              <a:gd name="connsiteX1" fmla="*/ 7790894 w 7790894"/>
              <a:gd name="connsiteY1" fmla="*/ 976956 h 1806893"/>
              <a:gd name="connsiteX0" fmla="*/ 0 w 7790894"/>
              <a:gd name="connsiteY0" fmla="*/ 0 h 1751365"/>
              <a:gd name="connsiteX1" fmla="*/ 7790894 w 7790894"/>
              <a:gd name="connsiteY1" fmla="*/ 976956 h 1751365"/>
              <a:gd name="connsiteX0" fmla="*/ 0 w 7790894"/>
              <a:gd name="connsiteY0" fmla="*/ 0 h 1820793"/>
              <a:gd name="connsiteX1" fmla="*/ 7790894 w 7790894"/>
              <a:gd name="connsiteY1" fmla="*/ 976956 h 1820793"/>
              <a:gd name="connsiteX0" fmla="*/ 0 w 7790894"/>
              <a:gd name="connsiteY0" fmla="*/ 0 h 1806893"/>
              <a:gd name="connsiteX1" fmla="*/ 7790894 w 7790894"/>
              <a:gd name="connsiteY1" fmla="*/ 976956 h 1806893"/>
              <a:gd name="connsiteX0" fmla="*/ 0 w 7646436"/>
              <a:gd name="connsiteY0" fmla="*/ 0 h 1749648"/>
              <a:gd name="connsiteX1" fmla="*/ 7646438 w 7646436"/>
              <a:gd name="connsiteY1" fmla="*/ 801919 h 1749648"/>
              <a:gd name="connsiteX0" fmla="*/ 0 w 7646436"/>
              <a:gd name="connsiteY0" fmla="*/ 0 h 1949180"/>
              <a:gd name="connsiteX1" fmla="*/ 7646438 w 7646436"/>
              <a:gd name="connsiteY1" fmla="*/ 801919 h 1949180"/>
              <a:gd name="connsiteX0" fmla="*/ 1 w 7654290"/>
              <a:gd name="connsiteY0" fmla="*/ 147701 h 1792575"/>
              <a:gd name="connsiteX1" fmla="*/ 7654292 w 7654290"/>
              <a:gd name="connsiteY1" fmla="*/ -1 h 1792575"/>
              <a:gd name="connsiteX0" fmla="*/ 1 w 7654290"/>
              <a:gd name="connsiteY0" fmla="*/ 147701 h 337093"/>
              <a:gd name="connsiteX1" fmla="*/ 7654292 w 7654290"/>
              <a:gd name="connsiteY1" fmla="*/ -1 h 337093"/>
              <a:gd name="connsiteX0" fmla="*/ 1 w 7654290"/>
              <a:gd name="connsiteY0" fmla="*/ 147701 h 309785"/>
              <a:gd name="connsiteX1" fmla="*/ 7654292 w 7654290"/>
              <a:gd name="connsiteY1" fmla="*/ -1 h 309785"/>
              <a:gd name="connsiteX0" fmla="*/ 1 w 7654290"/>
              <a:gd name="connsiteY0" fmla="*/ 147701 h 287229"/>
              <a:gd name="connsiteX1" fmla="*/ 7654292 w 7654290"/>
              <a:gd name="connsiteY1" fmla="*/ -1 h 287229"/>
              <a:gd name="connsiteX0" fmla="*/ 4 w 7452148"/>
              <a:gd name="connsiteY0" fmla="*/ 126512 h 274125"/>
              <a:gd name="connsiteX1" fmla="*/ 7452150 w 7452148"/>
              <a:gd name="connsiteY1" fmla="*/ -1 h 274125"/>
              <a:gd name="connsiteX0" fmla="*/ -2 w 7359956"/>
              <a:gd name="connsiteY0" fmla="*/ 175237 h 305111"/>
              <a:gd name="connsiteX1" fmla="*/ 7359958 w 7359956"/>
              <a:gd name="connsiteY1" fmla="*/ -1 h 305111"/>
              <a:gd name="connsiteX0" fmla="*/ -1 w 7465891"/>
              <a:gd name="connsiteY0" fmla="*/ 135252 h 279460"/>
              <a:gd name="connsiteX1" fmla="*/ 7465893 w 7465891"/>
              <a:gd name="connsiteY1" fmla="*/ -1 h 279460"/>
              <a:gd name="connsiteX0" fmla="*/ -1 w 11571957"/>
              <a:gd name="connsiteY0" fmla="*/ 1266380 h 1295265"/>
              <a:gd name="connsiteX1" fmla="*/ 11571957 w 11571957"/>
              <a:gd name="connsiteY1" fmla="*/ 1 h 1295265"/>
              <a:gd name="connsiteX0" fmla="*/ -1 w 11571957"/>
              <a:gd name="connsiteY0" fmla="*/ 1266380 h 1373167"/>
              <a:gd name="connsiteX1" fmla="*/ 3979169 w 11571957"/>
              <a:gd name="connsiteY1" fmla="*/ 1317909 h 1373167"/>
              <a:gd name="connsiteX2" fmla="*/ 11571957 w 11571957"/>
              <a:gd name="connsiteY2" fmla="*/ 1 h 1373167"/>
              <a:gd name="connsiteX0" fmla="*/ -1 w 11571957"/>
              <a:gd name="connsiteY0" fmla="*/ 1266380 h 1321797"/>
              <a:gd name="connsiteX1" fmla="*/ 3979169 w 11571957"/>
              <a:gd name="connsiteY1" fmla="*/ 1317909 h 1321797"/>
              <a:gd name="connsiteX2" fmla="*/ 11571957 w 11571957"/>
              <a:gd name="connsiteY2" fmla="*/ 1 h 1321797"/>
              <a:gd name="connsiteX0" fmla="*/ -1 w 11571957"/>
              <a:gd name="connsiteY0" fmla="*/ 1266380 h 1405388"/>
              <a:gd name="connsiteX1" fmla="*/ 3979169 w 11571957"/>
              <a:gd name="connsiteY1" fmla="*/ 1317909 h 1405388"/>
              <a:gd name="connsiteX2" fmla="*/ 11571957 w 11571957"/>
              <a:gd name="connsiteY2" fmla="*/ 1 h 1405388"/>
              <a:gd name="connsiteX0" fmla="*/ -1 w 11571957"/>
              <a:gd name="connsiteY0" fmla="*/ 1266380 h 1466387"/>
              <a:gd name="connsiteX1" fmla="*/ 4049395 w 11571957"/>
              <a:gd name="connsiteY1" fmla="*/ 1390915 h 1466387"/>
              <a:gd name="connsiteX2" fmla="*/ 11571957 w 11571957"/>
              <a:gd name="connsiteY2" fmla="*/ 1 h 1466387"/>
              <a:gd name="connsiteX0" fmla="*/ -1 w 11571957"/>
              <a:gd name="connsiteY0" fmla="*/ 1266380 h 1476321"/>
              <a:gd name="connsiteX1" fmla="*/ 4049395 w 11571957"/>
              <a:gd name="connsiteY1" fmla="*/ 1390915 h 1476321"/>
              <a:gd name="connsiteX2" fmla="*/ 11571957 w 11571957"/>
              <a:gd name="connsiteY2" fmla="*/ 1 h 1476321"/>
            </a:gdLst>
            <a:ahLst/>
            <a:cxnLst>
              <a:cxn ang="0">
                <a:pos x="connsiteX0" y="connsiteY0"/>
              </a:cxn>
              <a:cxn ang="0">
                <a:pos x="connsiteX1" y="connsiteY1"/>
              </a:cxn>
              <a:cxn ang="0">
                <a:pos x="connsiteX2" y="connsiteY2"/>
              </a:cxn>
            </a:cxnLst>
            <a:rect l="l" t="t" r="r" b="b"/>
            <a:pathLst>
              <a:path w="11571957" h="1476321">
                <a:moveTo>
                  <a:pt x="-1" y="1266380"/>
                </a:moveTo>
                <a:cubicBezTo>
                  <a:pt x="656351" y="1316810"/>
                  <a:pt x="1874773" y="1621862"/>
                  <a:pt x="4049395" y="1390915"/>
                </a:cubicBezTo>
                <a:cubicBezTo>
                  <a:pt x="6321668" y="1128668"/>
                  <a:pt x="9575995" y="325234"/>
                  <a:pt x="11571957" y="1"/>
                </a:cubicBezTo>
              </a:path>
            </a:pathLst>
          </a:custGeom>
          <a:noFill/>
          <a:ln w="12700" cap="flat" cmpd="sng" algn="ctr">
            <a:solidFill>
              <a:srgbClr val="13835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de-DE"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97" name="Freeform 103"/>
          <p:cNvSpPr/>
          <p:nvPr/>
        </p:nvSpPr>
        <p:spPr bwMode="auto">
          <a:xfrm rot="1320898">
            <a:off x="2610603" y="3163251"/>
            <a:ext cx="1628024" cy="361516"/>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2875322"/>
              <a:gd name="connsiteY0" fmla="*/ 0 h 1850561"/>
              <a:gd name="connsiteX1" fmla="*/ 2875322 w 2875322"/>
              <a:gd name="connsiteY1" fmla="*/ 1850561 h 1850561"/>
              <a:gd name="connsiteX0" fmla="*/ 0 w 2875322"/>
              <a:gd name="connsiteY0" fmla="*/ 0 h 1850561"/>
              <a:gd name="connsiteX1" fmla="*/ 2875322 w 2875322"/>
              <a:gd name="connsiteY1" fmla="*/ 1850561 h 1850561"/>
              <a:gd name="connsiteX0" fmla="*/ 0 w 2894703"/>
              <a:gd name="connsiteY0" fmla="*/ 0 h 1850561"/>
              <a:gd name="connsiteX1" fmla="*/ 2894703 w 2894703"/>
              <a:gd name="connsiteY1" fmla="*/ 1850561 h 1850561"/>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0239"/>
              <a:gd name="connsiteY0" fmla="*/ 0 h 2300301"/>
              <a:gd name="connsiteX1" fmla="*/ 3480239 w 3480239"/>
              <a:gd name="connsiteY1" fmla="*/ 2300301 h 2300301"/>
              <a:gd name="connsiteX0" fmla="*/ 0 w 3480239"/>
              <a:gd name="connsiteY0" fmla="*/ 0 h 2300301"/>
              <a:gd name="connsiteX1" fmla="*/ 3480239 w 348023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521439"/>
              <a:gd name="connsiteY0" fmla="*/ 0 h 2232170"/>
              <a:gd name="connsiteX1" fmla="*/ 3521439 w 3521439"/>
              <a:gd name="connsiteY1" fmla="*/ 2232170 h 2232170"/>
              <a:gd name="connsiteX0" fmla="*/ 0 w 3521439"/>
              <a:gd name="connsiteY0" fmla="*/ 0 h 2232170"/>
              <a:gd name="connsiteX1" fmla="*/ 3521439 w 3521439"/>
              <a:gd name="connsiteY1" fmla="*/ 2232170 h 2232170"/>
              <a:gd name="connsiteX0" fmla="*/ 0 w 3521439"/>
              <a:gd name="connsiteY0" fmla="*/ 0 h 2209460"/>
              <a:gd name="connsiteX1" fmla="*/ 3521439 w 3521439"/>
              <a:gd name="connsiteY1" fmla="*/ 2209460 h 2209460"/>
              <a:gd name="connsiteX0" fmla="*/ 0 w 3521439"/>
              <a:gd name="connsiteY0" fmla="*/ 0 h 2209460"/>
              <a:gd name="connsiteX1" fmla="*/ 3521439 w 3521439"/>
              <a:gd name="connsiteY1" fmla="*/ 2209460 h 2209460"/>
              <a:gd name="connsiteX0" fmla="*/ 0 w 3166484"/>
              <a:gd name="connsiteY0" fmla="*/ 0 h 1509983"/>
              <a:gd name="connsiteX1" fmla="*/ 3166484 w 3166484"/>
              <a:gd name="connsiteY1" fmla="*/ 1509983 h 1509983"/>
              <a:gd name="connsiteX0" fmla="*/ 0 w 2028493"/>
              <a:gd name="connsiteY0" fmla="*/ 0 h 405367"/>
              <a:gd name="connsiteX1" fmla="*/ 2028493 w 2028493"/>
              <a:gd name="connsiteY1" fmla="*/ 62202 h 405367"/>
              <a:gd name="connsiteX0" fmla="*/ 0 w 2028493"/>
              <a:gd name="connsiteY0" fmla="*/ 0 h 410101"/>
              <a:gd name="connsiteX1" fmla="*/ 2028493 w 2028493"/>
              <a:gd name="connsiteY1" fmla="*/ 62202 h 410101"/>
              <a:gd name="connsiteX0" fmla="*/ 0 w 2049034"/>
              <a:gd name="connsiteY0" fmla="*/ 0 h 413154"/>
              <a:gd name="connsiteX1" fmla="*/ 2049034 w 2049034"/>
              <a:gd name="connsiteY1" fmla="*/ 76396 h 413154"/>
              <a:gd name="connsiteX0" fmla="*/ 0 w 2049034"/>
              <a:gd name="connsiteY0" fmla="*/ 143813 h 220209"/>
              <a:gd name="connsiteX1" fmla="*/ 2049034 w 2049034"/>
              <a:gd name="connsiteY1" fmla="*/ 220209 h 220209"/>
              <a:gd name="connsiteX0" fmla="*/ 0 w 2049034"/>
              <a:gd name="connsiteY0" fmla="*/ 154753 h 231149"/>
              <a:gd name="connsiteX1" fmla="*/ 2049034 w 2049034"/>
              <a:gd name="connsiteY1" fmla="*/ 231149 h 231149"/>
              <a:gd name="connsiteX0" fmla="*/ 0 w 2057250"/>
              <a:gd name="connsiteY0" fmla="*/ 145732 h 242000"/>
              <a:gd name="connsiteX1" fmla="*/ 2057250 w 2057250"/>
              <a:gd name="connsiteY1" fmla="*/ 242000 h 242000"/>
              <a:gd name="connsiteX0" fmla="*/ 0 w 2057250"/>
              <a:gd name="connsiteY0" fmla="*/ 155638 h 251906"/>
              <a:gd name="connsiteX1" fmla="*/ 2057250 w 2057250"/>
              <a:gd name="connsiteY1" fmla="*/ 251906 h 251906"/>
              <a:gd name="connsiteX0" fmla="*/ 0 w 2057250"/>
              <a:gd name="connsiteY0" fmla="*/ 154153 h 250421"/>
              <a:gd name="connsiteX1" fmla="*/ 2057250 w 2057250"/>
              <a:gd name="connsiteY1" fmla="*/ 250421 h 250421"/>
              <a:gd name="connsiteX0" fmla="*/ 0 w 2057250"/>
              <a:gd name="connsiteY0" fmla="*/ 175529 h 271797"/>
              <a:gd name="connsiteX1" fmla="*/ 2057250 w 2057250"/>
              <a:gd name="connsiteY1" fmla="*/ 271797 h 271797"/>
              <a:gd name="connsiteX0" fmla="*/ 0 w 1925785"/>
              <a:gd name="connsiteY0" fmla="*/ 146190 h 318159"/>
              <a:gd name="connsiteX1" fmla="*/ 1925785 w 1925785"/>
              <a:gd name="connsiteY1" fmla="*/ 318159 h 318159"/>
              <a:gd name="connsiteX0" fmla="*/ 0 w 1942218"/>
              <a:gd name="connsiteY0" fmla="*/ 143309 h 323795"/>
              <a:gd name="connsiteX1" fmla="*/ 1942218 w 1942218"/>
              <a:gd name="connsiteY1" fmla="*/ 323795 h 323795"/>
              <a:gd name="connsiteX0" fmla="*/ 0 w 1942218"/>
              <a:gd name="connsiteY0" fmla="*/ 1 h 180487"/>
              <a:gd name="connsiteX1" fmla="*/ 1942218 w 1942218"/>
              <a:gd name="connsiteY1" fmla="*/ 180487 h 180487"/>
              <a:gd name="connsiteX0" fmla="*/ 0 w 1966867"/>
              <a:gd name="connsiteY0" fmla="*/ 0 h 171970"/>
              <a:gd name="connsiteX1" fmla="*/ 1966867 w 1966867"/>
              <a:gd name="connsiteY1" fmla="*/ 171971 h 171970"/>
              <a:gd name="connsiteX0" fmla="*/ 0 w 1966867"/>
              <a:gd name="connsiteY0" fmla="*/ 0 h 171971"/>
              <a:gd name="connsiteX1" fmla="*/ 1966867 w 1966867"/>
              <a:gd name="connsiteY1" fmla="*/ 171971 h 171971"/>
              <a:gd name="connsiteX0" fmla="*/ 0 w 1958651"/>
              <a:gd name="connsiteY0" fmla="*/ 0 h 186165"/>
              <a:gd name="connsiteX1" fmla="*/ 1958651 w 1958651"/>
              <a:gd name="connsiteY1" fmla="*/ 186165 h 186165"/>
              <a:gd name="connsiteX0" fmla="*/ 0 w 1954543"/>
              <a:gd name="connsiteY0" fmla="*/ 0 h 203197"/>
              <a:gd name="connsiteX1" fmla="*/ 1954543 w 1954543"/>
              <a:gd name="connsiteY1" fmla="*/ 203197 h 203197"/>
              <a:gd name="connsiteX0" fmla="*/ 0 w 2324286"/>
              <a:gd name="connsiteY0" fmla="*/ 0 h 475721"/>
              <a:gd name="connsiteX1" fmla="*/ 2324286 w 2324286"/>
              <a:gd name="connsiteY1" fmla="*/ 475721 h 475721"/>
              <a:gd name="connsiteX0" fmla="*/ 0 w 2324286"/>
              <a:gd name="connsiteY0" fmla="*/ 0 h 479624"/>
              <a:gd name="connsiteX1" fmla="*/ 2324286 w 2324286"/>
              <a:gd name="connsiteY1" fmla="*/ 475721 h 479624"/>
              <a:gd name="connsiteX0" fmla="*/ 0 w 2324286"/>
              <a:gd name="connsiteY0" fmla="*/ 0 h 480172"/>
              <a:gd name="connsiteX1" fmla="*/ 2324286 w 2324286"/>
              <a:gd name="connsiteY1" fmla="*/ 475721 h 480172"/>
              <a:gd name="connsiteX0" fmla="*/ 0 w 2324286"/>
              <a:gd name="connsiteY0" fmla="*/ 0 h 475721"/>
              <a:gd name="connsiteX1" fmla="*/ 2324286 w 2324286"/>
              <a:gd name="connsiteY1" fmla="*/ 475721 h 475721"/>
              <a:gd name="connsiteX0" fmla="*/ 0 w 2316069"/>
              <a:gd name="connsiteY0" fmla="*/ 0 h 498431"/>
              <a:gd name="connsiteX1" fmla="*/ 2316069 w 2316069"/>
              <a:gd name="connsiteY1" fmla="*/ 498431 h 498431"/>
              <a:gd name="connsiteX0" fmla="*/ 0 w 2316069"/>
              <a:gd name="connsiteY0" fmla="*/ 0 h 498431"/>
              <a:gd name="connsiteX1" fmla="*/ 2316069 w 2316069"/>
              <a:gd name="connsiteY1" fmla="*/ 498431 h 49843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04754"/>
              <a:gd name="connsiteY0" fmla="*/ 0 h 1015091"/>
              <a:gd name="connsiteX1" fmla="*/ 4604754 w 4604754"/>
              <a:gd name="connsiteY1" fmla="*/ 1015091 h 1015091"/>
              <a:gd name="connsiteX0" fmla="*/ 0 w 4604754"/>
              <a:gd name="connsiteY0" fmla="*/ 0 h 1015091"/>
              <a:gd name="connsiteX1" fmla="*/ 4604754 w 4604754"/>
              <a:gd name="connsiteY1" fmla="*/ 1015091 h 1015091"/>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23432 h 1021455"/>
              <a:gd name="connsiteX1" fmla="*/ 4604754 w 4604754"/>
              <a:gd name="connsiteY1" fmla="*/ 1021455 h 1021455"/>
              <a:gd name="connsiteX0" fmla="*/ 0 w 4621488"/>
              <a:gd name="connsiteY0" fmla="*/ 28563 h 866964"/>
              <a:gd name="connsiteX1" fmla="*/ 4621488 w 4621488"/>
              <a:gd name="connsiteY1" fmla="*/ 866966 h 866964"/>
              <a:gd name="connsiteX0" fmla="*/ 0 w 4621488"/>
              <a:gd name="connsiteY0" fmla="*/ 35875 h 874276"/>
              <a:gd name="connsiteX1" fmla="*/ 4621488 w 4621488"/>
              <a:gd name="connsiteY1" fmla="*/ 874278 h 874276"/>
              <a:gd name="connsiteX0" fmla="*/ 2 w 4634037"/>
              <a:gd name="connsiteY0" fmla="*/ 44537 h 763234"/>
              <a:gd name="connsiteX1" fmla="*/ 4634037 w 4634037"/>
              <a:gd name="connsiteY1" fmla="*/ 763236 h 763234"/>
              <a:gd name="connsiteX0" fmla="*/ 2 w 4634037"/>
              <a:gd name="connsiteY0" fmla="*/ -3 h 718694"/>
              <a:gd name="connsiteX1" fmla="*/ 4634037 w 4634037"/>
              <a:gd name="connsiteY1" fmla="*/ 718696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1413475"/>
              <a:gd name="connsiteY0" fmla="*/ 606407 h 728390"/>
              <a:gd name="connsiteX1" fmla="*/ 1413474 w 1413475"/>
              <a:gd name="connsiteY1" fmla="*/ 126977 h 728390"/>
              <a:gd name="connsiteX0" fmla="*/ 2 w 1413475"/>
              <a:gd name="connsiteY0" fmla="*/ 479431 h 721543"/>
              <a:gd name="connsiteX1" fmla="*/ 1413474 w 1413475"/>
              <a:gd name="connsiteY1" fmla="*/ 1 h 721543"/>
              <a:gd name="connsiteX0" fmla="*/ 3 w 1605506"/>
              <a:gd name="connsiteY0" fmla="*/ 487353 h 727739"/>
              <a:gd name="connsiteX1" fmla="*/ 1605505 w 1605506"/>
              <a:gd name="connsiteY1" fmla="*/ 1 h 727739"/>
              <a:gd name="connsiteX0" fmla="*/ 3 w 1605506"/>
              <a:gd name="connsiteY0" fmla="*/ 487353 h 595674"/>
              <a:gd name="connsiteX1" fmla="*/ 1605505 w 1605506"/>
              <a:gd name="connsiteY1" fmla="*/ 1 h 595674"/>
              <a:gd name="connsiteX0" fmla="*/ 3 w 1573179"/>
              <a:gd name="connsiteY0" fmla="*/ 635014 h 720486"/>
              <a:gd name="connsiteX1" fmla="*/ 1573180 w 1573179"/>
              <a:gd name="connsiteY1" fmla="*/ 1 h 720486"/>
              <a:gd name="connsiteX0" fmla="*/ 3 w 1573179"/>
              <a:gd name="connsiteY0" fmla="*/ 635014 h 727984"/>
              <a:gd name="connsiteX1" fmla="*/ 1573180 w 1573179"/>
              <a:gd name="connsiteY1" fmla="*/ 1 h 727984"/>
              <a:gd name="connsiteX0" fmla="*/ 3 w 1619069"/>
              <a:gd name="connsiteY0" fmla="*/ 464741 h 589089"/>
              <a:gd name="connsiteX1" fmla="*/ 1619069 w 1619069"/>
              <a:gd name="connsiteY1" fmla="*/ 1 h 589089"/>
              <a:gd name="connsiteX0" fmla="*/ 3 w 1619069"/>
              <a:gd name="connsiteY0" fmla="*/ 464741 h 644508"/>
              <a:gd name="connsiteX1" fmla="*/ 1619069 w 1619069"/>
              <a:gd name="connsiteY1" fmla="*/ 1 h 644508"/>
              <a:gd name="connsiteX0" fmla="*/ 3 w 1619069"/>
              <a:gd name="connsiteY0" fmla="*/ 464741 h 573752"/>
              <a:gd name="connsiteX1" fmla="*/ 1619069 w 1619069"/>
              <a:gd name="connsiteY1" fmla="*/ 1 h 573752"/>
              <a:gd name="connsiteX0" fmla="*/ 3 w 1619069"/>
              <a:gd name="connsiteY0" fmla="*/ 496657 h 598698"/>
              <a:gd name="connsiteX1" fmla="*/ 1619069 w 1619069"/>
              <a:gd name="connsiteY1" fmla="*/ 0 h 598698"/>
              <a:gd name="connsiteX0" fmla="*/ 3 w 7916977"/>
              <a:gd name="connsiteY0" fmla="*/ 2826772 h 2841912"/>
              <a:gd name="connsiteX1" fmla="*/ 7916977 w 7916977"/>
              <a:gd name="connsiteY1" fmla="*/ 0 h 2841912"/>
              <a:gd name="connsiteX0" fmla="*/ 3 w 7916977"/>
              <a:gd name="connsiteY0" fmla="*/ 2826772 h 2846255"/>
              <a:gd name="connsiteX1" fmla="*/ 7916977 w 7916977"/>
              <a:gd name="connsiteY1" fmla="*/ 0 h 2846255"/>
              <a:gd name="connsiteX0" fmla="*/ 3 w 7916977"/>
              <a:gd name="connsiteY0" fmla="*/ 2826772 h 3052074"/>
              <a:gd name="connsiteX1" fmla="*/ 7916977 w 7916977"/>
              <a:gd name="connsiteY1" fmla="*/ 0 h 3052074"/>
              <a:gd name="connsiteX0" fmla="*/ 3 w 7916977"/>
              <a:gd name="connsiteY0" fmla="*/ 2826772 h 3005674"/>
              <a:gd name="connsiteX1" fmla="*/ 7916977 w 7916977"/>
              <a:gd name="connsiteY1" fmla="*/ 0 h 3005674"/>
              <a:gd name="connsiteX0" fmla="*/ 0 w 7916977"/>
              <a:gd name="connsiteY0" fmla="*/ 2778890 h 2960467"/>
              <a:gd name="connsiteX1" fmla="*/ 7916977 w 7916977"/>
              <a:gd name="connsiteY1" fmla="*/ 0 h 2960467"/>
              <a:gd name="connsiteX0" fmla="*/ 0 w 7933419"/>
              <a:gd name="connsiteY0" fmla="*/ 2794848 h 2975527"/>
              <a:gd name="connsiteX1" fmla="*/ 7933419 w 7933419"/>
              <a:gd name="connsiteY1" fmla="*/ 0 h 2975527"/>
              <a:gd name="connsiteX0" fmla="*/ 0 w 7933419"/>
              <a:gd name="connsiteY0" fmla="*/ 2794848 h 3006384"/>
              <a:gd name="connsiteX1" fmla="*/ 7933419 w 7933419"/>
              <a:gd name="connsiteY1" fmla="*/ 0 h 3006384"/>
              <a:gd name="connsiteX0" fmla="*/ 0 w 7867644"/>
              <a:gd name="connsiteY0" fmla="*/ 2794848 h 3006384"/>
              <a:gd name="connsiteX1" fmla="*/ 7867644 w 7867644"/>
              <a:gd name="connsiteY1" fmla="*/ 0 h 3006384"/>
              <a:gd name="connsiteX0" fmla="*/ 0 w 7818311"/>
              <a:gd name="connsiteY0" fmla="*/ 2794848 h 3006384"/>
              <a:gd name="connsiteX1" fmla="*/ 7818311 w 7818311"/>
              <a:gd name="connsiteY1" fmla="*/ 0 h 3006384"/>
              <a:gd name="connsiteX0" fmla="*/ 0 w 7818311"/>
              <a:gd name="connsiteY0" fmla="*/ 2794848 h 2965500"/>
              <a:gd name="connsiteX1" fmla="*/ 7818311 w 7818311"/>
              <a:gd name="connsiteY1" fmla="*/ 0 h 2965500"/>
              <a:gd name="connsiteX0" fmla="*/ 0 w 7818311"/>
              <a:gd name="connsiteY0" fmla="*/ 2794848 h 3286471"/>
              <a:gd name="connsiteX1" fmla="*/ 7818311 w 7818311"/>
              <a:gd name="connsiteY1" fmla="*/ 0 h 3286471"/>
              <a:gd name="connsiteX0" fmla="*/ 0 w 7818311"/>
              <a:gd name="connsiteY0" fmla="*/ 2794848 h 3339226"/>
              <a:gd name="connsiteX1" fmla="*/ 7818311 w 7818311"/>
              <a:gd name="connsiteY1" fmla="*/ 0 h 3339226"/>
              <a:gd name="connsiteX0" fmla="*/ 0 w 7785714"/>
              <a:gd name="connsiteY0" fmla="*/ 2816939 h 3358589"/>
              <a:gd name="connsiteX1" fmla="*/ 7785714 w 7785714"/>
              <a:gd name="connsiteY1" fmla="*/ 0 h 3358589"/>
              <a:gd name="connsiteX0" fmla="*/ 0 w 7785714"/>
              <a:gd name="connsiteY0" fmla="*/ 2816939 h 3385208"/>
              <a:gd name="connsiteX1" fmla="*/ 7785714 w 7785714"/>
              <a:gd name="connsiteY1" fmla="*/ 0 h 3385208"/>
              <a:gd name="connsiteX0" fmla="*/ 0 w 12435088"/>
              <a:gd name="connsiteY0" fmla="*/ 2816939 h 3709783"/>
              <a:gd name="connsiteX1" fmla="*/ 12435088 w 12435088"/>
              <a:gd name="connsiteY1" fmla="*/ 3336277 h 3709783"/>
              <a:gd name="connsiteX2" fmla="*/ 7785714 w 12435088"/>
              <a:gd name="connsiteY2" fmla="*/ 0 h 3709783"/>
              <a:gd name="connsiteX0" fmla="*/ 0 w 12435088"/>
              <a:gd name="connsiteY0" fmla="*/ 2816939 h 3336277"/>
              <a:gd name="connsiteX1" fmla="*/ 12435088 w 12435088"/>
              <a:gd name="connsiteY1" fmla="*/ 3336277 h 3336277"/>
              <a:gd name="connsiteX2" fmla="*/ 7785714 w 12435088"/>
              <a:gd name="connsiteY2" fmla="*/ 0 h 3336277"/>
              <a:gd name="connsiteX0" fmla="*/ 0 w 11317410"/>
              <a:gd name="connsiteY0" fmla="*/ 2816939 h 2949445"/>
              <a:gd name="connsiteX1" fmla="*/ 11317410 w 11317410"/>
              <a:gd name="connsiteY1" fmla="*/ 2949445 h 2949445"/>
              <a:gd name="connsiteX2" fmla="*/ 7785714 w 11317410"/>
              <a:gd name="connsiteY2" fmla="*/ 0 h 2949445"/>
              <a:gd name="connsiteX0" fmla="*/ 0 w 11317410"/>
              <a:gd name="connsiteY0" fmla="*/ 2816939 h 3323644"/>
              <a:gd name="connsiteX1" fmla="*/ 6064362 w 11317410"/>
              <a:gd name="connsiteY1" fmla="*/ 3297594 h 3323644"/>
              <a:gd name="connsiteX2" fmla="*/ 11317410 w 11317410"/>
              <a:gd name="connsiteY2" fmla="*/ 2949445 h 3323644"/>
              <a:gd name="connsiteX3" fmla="*/ 7785714 w 11317410"/>
              <a:gd name="connsiteY3" fmla="*/ 0 h 3323644"/>
              <a:gd name="connsiteX0" fmla="*/ 0 w 11342779"/>
              <a:gd name="connsiteY0" fmla="*/ 2816939 h 3310586"/>
              <a:gd name="connsiteX1" fmla="*/ 6064362 w 11342779"/>
              <a:gd name="connsiteY1" fmla="*/ 3297594 h 3310586"/>
              <a:gd name="connsiteX2" fmla="*/ 11317410 w 11342779"/>
              <a:gd name="connsiteY2" fmla="*/ 2949445 h 3310586"/>
              <a:gd name="connsiteX3" fmla="*/ 9640916 w 11342779"/>
              <a:gd name="connsiteY3" fmla="*/ 821863 h 3310586"/>
              <a:gd name="connsiteX4" fmla="*/ 7785714 w 11342779"/>
              <a:gd name="connsiteY4" fmla="*/ 0 h 3310586"/>
              <a:gd name="connsiteX0" fmla="*/ 0 w 11759850"/>
              <a:gd name="connsiteY0" fmla="*/ 2816939 h 3310586"/>
              <a:gd name="connsiteX1" fmla="*/ 6064362 w 11759850"/>
              <a:gd name="connsiteY1" fmla="*/ 3297594 h 3310586"/>
              <a:gd name="connsiteX2" fmla="*/ 11317410 w 11759850"/>
              <a:gd name="connsiteY2" fmla="*/ 2949445 h 3310586"/>
              <a:gd name="connsiteX3" fmla="*/ 9640916 w 11759850"/>
              <a:gd name="connsiteY3" fmla="*/ 821863 h 3310586"/>
              <a:gd name="connsiteX4" fmla="*/ 7785714 w 11759850"/>
              <a:gd name="connsiteY4" fmla="*/ 0 h 3310586"/>
              <a:gd name="connsiteX0" fmla="*/ 0 w 11759850"/>
              <a:gd name="connsiteY0" fmla="*/ 2816939 h 3305764"/>
              <a:gd name="connsiteX1" fmla="*/ 6064362 w 11759850"/>
              <a:gd name="connsiteY1" fmla="*/ 3297594 h 3305764"/>
              <a:gd name="connsiteX2" fmla="*/ 11317410 w 11759850"/>
              <a:gd name="connsiteY2" fmla="*/ 2949445 h 3305764"/>
              <a:gd name="connsiteX3" fmla="*/ 9640916 w 11759850"/>
              <a:gd name="connsiteY3" fmla="*/ 821863 h 3305764"/>
              <a:gd name="connsiteX4" fmla="*/ 7785714 w 11759850"/>
              <a:gd name="connsiteY4" fmla="*/ 0 h 3305764"/>
              <a:gd name="connsiteX0" fmla="*/ 0 w 10832654"/>
              <a:gd name="connsiteY0" fmla="*/ 2816939 h 3300249"/>
              <a:gd name="connsiteX1" fmla="*/ 6064362 w 10832654"/>
              <a:gd name="connsiteY1" fmla="*/ 3297594 h 3300249"/>
              <a:gd name="connsiteX2" fmla="*/ 10199743 w 10832654"/>
              <a:gd name="connsiteY2" fmla="*/ 2833393 h 3300249"/>
              <a:gd name="connsiteX3" fmla="*/ 9640916 w 10832654"/>
              <a:gd name="connsiteY3" fmla="*/ 821863 h 3300249"/>
              <a:gd name="connsiteX4" fmla="*/ 7785714 w 10832654"/>
              <a:gd name="connsiteY4" fmla="*/ 0 h 3300249"/>
              <a:gd name="connsiteX0" fmla="*/ 0 w 10497357"/>
              <a:gd name="connsiteY0" fmla="*/ 3165091 h 3300249"/>
              <a:gd name="connsiteX1" fmla="*/ 5729065 w 10497357"/>
              <a:gd name="connsiteY1" fmla="*/ 3297594 h 3300249"/>
              <a:gd name="connsiteX2" fmla="*/ 9864446 w 10497357"/>
              <a:gd name="connsiteY2" fmla="*/ 2833393 h 3300249"/>
              <a:gd name="connsiteX3" fmla="*/ 9305619 w 10497357"/>
              <a:gd name="connsiteY3" fmla="*/ 821863 h 3300249"/>
              <a:gd name="connsiteX4" fmla="*/ 7450417 w 10497357"/>
              <a:gd name="connsiteY4" fmla="*/ 0 h 3300249"/>
              <a:gd name="connsiteX0" fmla="*/ 0 w 9890159"/>
              <a:gd name="connsiteY0" fmla="*/ 3165091 h 3300249"/>
              <a:gd name="connsiteX1" fmla="*/ 5729065 w 9890159"/>
              <a:gd name="connsiteY1" fmla="*/ 3297594 h 3300249"/>
              <a:gd name="connsiteX2" fmla="*/ 9864446 w 9890159"/>
              <a:gd name="connsiteY2" fmla="*/ 2833393 h 3300249"/>
              <a:gd name="connsiteX3" fmla="*/ 7450417 w 9890159"/>
              <a:gd name="connsiteY3" fmla="*/ 0 h 3300249"/>
              <a:gd name="connsiteX0" fmla="*/ 0 w 7450417"/>
              <a:gd name="connsiteY0" fmla="*/ 3165091 h 3503636"/>
              <a:gd name="connsiteX1" fmla="*/ 5729065 w 7450417"/>
              <a:gd name="connsiteY1" fmla="*/ 3297594 h 3503636"/>
              <a:gd name="connsiteX2" fmla="*/ 7450417 w 7450417"/>
              <a:gd name="connsiteY2" fmla="*/ 0 h 3503636"/>
              <a:gd name="connsiteX0" fmla="*/ 0 w 7361929"/>
              <a:gd name="connsiteY0" fmla="*/ 2505827 h 3385818"/>
              <a:gd name="connsiteX1" fmla="*/ 5640577 w 7361929"/>
              <a:gd name="connsiteY1" fmla="*/ 3297594 h 3385818"/>
              <a:gd name="connsiteX2" fmla="*/ 7361929 w 7361929"/>
              <a:gd name="connsiteY2" fmla="*/ 0 h 3385818"/>
              <a:gd name="connsiteX0" fmla="*/ 0 w 7538897"/>
              <a:gd name="connsiteY0" fmla="*/ 2505827 h 3385818"/>
              <a:gd name="connsiteX1" fmla="*/ 5640577 w 7538897"/>
              <a:gd name="connsiteY1" fmla="*/ 3297594 h 3385818"/>
              <a:gd name="connsiteX2" fmla="*/ 7538897 w 7538897"/>
              <a:gd name="connsiteY2" fmla="*/ 0 h 3385818"/>
              <a:gd name="connsiteX0" fmla="*/ 0 w 7566010"/>
              <a:gd name="connsiteY0" fmla="*/ 3313875 h 3549487"/>
              <a:gd name="connsiteX1" fmla="*/ 5667690 w 7566010"/>
              <a:gd name="connsiteY1" fmla="*/ 3297594 h 3549487"/>
              <a:gd name="connsiteX2" fmla="*/ 7566010 w 7566010"/>
              <a:gd name="connsiteY2" fmla="*/ 0 h 3549487"/>
              <a:gd name="connsiteX0" fmla="*/ 0 w 7566010"/>
              <a:gd name="connsiteY0" fmla="*/ 3313875 h 3753076"/>
              <a:gd name="connsiteX1" fmla="*/ 5667690 w 7566010"/>
              <a:gd name="connsiteY1" fmla="*/ 3297594 h 3753076"/>
              <a:gd name="connsiteX2" fmla="*/ 7566010 w 7566010"/>
              <a:gd name="connsiteY2" fmla="*/ 0 h 3753076"/>
              <a:gd name="connsiteX0" fmla="*/ 0 w 7566010"/>
              <a:gd name="connsiteY0" fmla="*/ 3313875 h 3854442"/>
              <a:gd name="connsiteX1" fmla="*/ 5667690 w 7566010"/>
              <a:gd name="connsiteY1" fmla="*/ 3297594 h 3854442"/>
              <a:gd name="connsiteX2" fmla="*/ 7566010 w 7566010"/>
              <a:gd name="connsiteY2" fmla="*/ 0 h 3854442"/>
              <a:gd name="connsiteX0" fmla="*/ 0 w 7566010"/>
              <a:gd name="connsiteY0" fmla="*/ 3313875 h 5390698"/>
              <a:gd name="connsiteX1" fmla="*/ 5667690 w 7566010"/>
              <a:gd name="connsiteY1" fmla="*/ 3297594 h 5390698"/>
              <a:gd name="connsiteX2" fmla="*/ 7566010 w 7566010"/>
              <a:gd name="connsiteY2" fmla="*/ 0 h 5390698"/>
              <a:gd name="connsiteX0" fmla="*/ 0 w 12621005"/>
              <a:gd name="connsiteY0" fmla="*/ 6997204 h 9074027"/>
              <a:gd name="connsiteX1" fmla="*/ 5667690 w 12621005"/>
              <a:gd name="connsiteY1" fmla="*/ 6980923 h 9074027"/>
              <a:gd name="connsiteX2" fmla="*/ 12621003 w 12621005"/>
              <a:gd name="connsiteY2" fmla="*/ -5 h 9074027"/>
              <a:gd name="connsiteX0" fmla="*/ 0 w 12621005"/>
              <a:gd name="connsiteY0" fmla="*/ 6997204 h 9074027"/>
              <a:gd name="connsiteX1" fmla="*/ 5667690 w 12621005"/>
              <a:gd name="connsiteY1" fmla="*/ 6980923 h 9074027"/>
              <a:gd name="connsiteX2" fmla="*/ 12621003 w 12621005"/>
              <a:gd name="connsiteY2" fmla="*/ -5 h 9074027"/>
              <a:gd name="connsiteX0" fmla="*/ 0 w 12406126"/>
              <a:gd name="connsiteY0" fmla="*/ 6849710 h 8926533"/>
              <a:gd name="connsiteX1" fmla="*/ 5667690 w 12406126"/>
              <a:gd name="connsiteY1" fmla="*/ 6833429 h 8926533"/>
              <a:gd name="connsiteX2" fmla="*/ 12406129 w 12406126"/>
              <a:gd name="connsiteY2" fmla="*/ -2 h 8926533"/>
              <a:gd name="connsiteX0" fmla="*/ 0 w 12406126"/>
              <a:gd name="connsiteY0" fmla="*/ 6849710 h 8926533"/>
              <a:gd name="connsiteX1" fmla="*/ 5667690 w 12406126"/>
              <a:gd name="connsiteY1" fmla="*/ 6833429 h 8926533"/>
              <a:gd name="connsiteX2" fmla="*/ 12406129 w 12406126"/>
              <a:gd name="connsiteY2" fmla="*/ -2 h 8926533"/>
              <a:gd name="connsiteX0" fmla="*/ 0 w 12406126"/>
              <a:gd name="connsiteY0" fmla="*/ 6849710 h 8926533"/>
              <a:gd name="connsiteX1" fmla="*/ 5667685 w 12406126"/>
              <a:gd name="connsiteY1" fmla="*/ 6833437 h 8926533"/>
              <a:gd name="connsiteX2" fmla="*/ 12406129 w 12406126"/>
              <a:gd name="connsiteY2" fmla="*/ -2 h 8926533"/>
              <a:gd name="connsiteX0" fmla="*/ 0 w 12406126"/>
              <a:gd name="connsiteY0" fmla="*/ 6849710 h 9211528"/>
              <a:gd name="connsiteX1" fmla="*/ 5621248 w 12406126"/>
              <a:gd name="connsiteY1" fmla="*/ 7666802 h 9211528"/>
              <a:gd name="connsiteX2" fmla="*/ 12406129 w 12406126"/>
              <a:gd name="connsiteY2" fmla="*/ -2 h 9211528"/>
              <a:gd name="connsiteX0" fmla="*/ 0 w 12406126"/>
              <a:gd name="connsiteY0" fmla="*/ 6849710 h 9349937"/>
              <a:gd name="connsiteX1" fmla="*/ 5621248 w 12406126"/>
              <a:gd name="connsiteY1" fmla="*/ 7666802 h 9349937"/>
              <a:gd name="connsiteX2" fmla="*/ 12406129 w 12406126"/>
              <a:gd name="connsiteY2" fmla="*/ -2 h 9349937"/>
              <a:gd name="connsiteX0" fmla="*/ 0 w 12406126"/>
              <a:gd name="connsiteY0" fmla="*/ 6849710 h 9349937"/>
              <a:gd name="connsiteX1" fmla="*/ 5621248 w 12406126"/>
              <a:gd name="connsiteY1" fmla="*/ 7666802 h 9349937"/>
              <a:gd name="connsiteX2" fmla="*/ 12406129 w 12406126"/>
              <a:gd name="connsiteY2" fmla="*/ -2 h 9349937"/>
              <a:gd name="connsiteX0" fmla="*/ 0 w 12406126"/>
              <a:gd name="connsiteY0" fmla="*/ 6849710 h 8812222"/>
              <a:gd name="connsiteX1" fmla="*/ 5621248 w 12406126"/>
              <a:gd name="connsiteY1" fmla="*/ 7666802 h 8812222"/>
              <a:gd name="connsiteX2" fmla="*/ 12406129 w 12406126"/>
              <a:gd name="connsiteY2" fmla="*/ -2 h 8812222"/>
              <a:gd name="connsiteX0" fmla="*/ 0 w 12406126"/>
              <a:gd name="connsiteY0" fmla="*/ 6849710 h 9122552"/>
              <a:gd name="connsiteX1" fmla="*/ 5621248 w 12406126"/>
              <a:gd name="connsiteY1" fmla="*/ 7666802 h 9122552"/>
              <a:gd name="connsiteX2" fmla="*/ 12406129 w 12406126"/>
              <a:gd name="connsiteY2" fmla="*/ -2 h 9122552"/>
              <a:gd name="connsiteX0" fmla="*/ 0 w 12406126"/>
              <a:gd name="connsiteY0" fmla="*/ 6849710 h 9122552"/>
              <a:gd name="connsiteX1" fmla="*/ 5621248 w 12406126"/>
              <a:gd name="connsiteY1" fmla="*/ 7666802 h 9122552"/>
              <a:gd name="connsiteX2" fmla="*/ 12406129 w 12406126"/>
              <a:gd name="connsiteY2" fmla="*/ -2 h 9122552"/>
            </a:gdLst>
            <a:ahLst/>
            <a:cxnLst>
              <a:cxn ang="0">
                <a:pos x="connsiteX0" y="connsiteY0"/>
              </a:cxn>
              <a:cxn ang="0">
                <a:pos x="connsiteX1" y="connsiteY1"/>
              </a:cxn>
              <a:cxn ang="0">
                <a:pos x="connsiteX2" y="connsiteY2"/>
              </a:cxn>
            </a:cxnLst>
            <a:rect l="l" t="t" r="r" b="b"/>
            <a:pathLst>
              <a:path w="12406126" h="9122552">
                <a:moveTo>
                  <a:pt x="0" y="6849710"/>
                </a:moveTo>
                <a:cubicBezTo>
                  <a:pt x="1470107" y="9737355"/>
                  <a:pt x="3494143" y="9718210"/>
                  <a:pt x="5621248" y="7666802"/>
                </a:cubicBezTo>
                <a:cubicBezTo>
                  <a:pt x="7246585" y="6707850"/>
                  <a:pt x="12378295" y="6343612"/>
                  <a:pt x="12406129" y="-2"/>
                </a:cubicBezTo>
              </a:path>
            </a:pathLst>
          </a:custGeom>
          <a:noFill/>
          <a:ln w="12700" cap="flat" cmpd="sng" algn="ctr">
            <a:solidFill>
              <a:srgbClr val="13835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de-DE"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01" name="Freeform 103"/>
          <p:cNvSpPr/>
          <p:nvPr/>
        </p:nvSpPr>
        <p:spPr bwMode="auto">
          <a:xfrm rot="16441414" flipH="1">
            <a:off x="2806909" y="2965932"/>
            <a:ext cx="353821" cy="758951"/>
          </a:xfrm>
          <a:custGeom>
            <a:avLst/>
            <a:gdLst>
              <a:gd name="connsiteX0" fmla="*/ 0 w 1574800"/>
              <a:gd name="connsiteY0" fmla="*/ 0 h 12700"/>
              <a:gd name="connsiteX1" fmla="*/ 1574800 w 1574800"/>
              <a:gd name="connsiteY1" fmla="*/ 12700 h 12700"/>
              <a:gd name="connsiteX0" fmla="*/ 0 w 1570037"/>
              <a:gd name="connsiteY0" fmla="*/ 0 h 12700"/>
              <a:gd name="connsiteX1" fmla="*/ 1570037 w 1570037"/>
              <a:gd name="connsiteY1" fmla="*/ 12700 h 12700"/>
              <a:gd name="connsiteX0" fmla="*/ 0 w 1570037"/>
              <a:gd name="connsiteY0" fmla="*/ 17204 h 29904"/>
              <a:gd name="connsiteX1" fmla="*/ 1570037 w 1570037"/>
              <a:gd name="connsiteY1" fmla="*/ 29904 h 29904"/>
              <a:gd name="connsiteX0" fmla="*/ 0 w 1565275"/>
              <a:gd name="connsiteY0" fmla="*/ 20717 h 20717"/>
              <a:gd name="connsiteX1" fmla="*/ 1565275 w 1565275"/>
              <a:gd name="connsiteY1" fmla="*/ 19130 h 20717"/>
              <a:gd name="connsiteX0" fmla="*/ 0 w 1565275"/>
              <a:gd name="connsiteY0" fmla="*/ 38547 h 38547"/>
              <a:gd name="connsiteX1" fmla="*/ 1565275 w 1565275"/>
              <a:gd name="connsiteY1" fmla="*/ 36960 h 38547"/>
              <a:gd name="connsiteX0" fmla="*/ 0 w 1565275"/>
              <a:gd name="connsiteY0" fmla="*/ 35135 h 39898"/>
              <a:gd name="connsiteX1" fmla="*/ 1565275 w 1565275"/>
              <a:gd name="connsiteY1" fmla="*/ 39898 h 39898"/>
              <a:gd name="connsiteX0" fmla="*/ 0 w 1565275"/>
              <a:gd name="connsiteY0" fmla="*/ 51512 h 56275"/>
              <a:gd name="connsiteX1" fmla="*/ 1565275 w 1565275"/>
              <a:gd name="connsiteY1" fmla="*/ 56275 h 56275"/>
              <a:gd name="connsiteX0" fmla="*/ 0 w 1562100"/>
              <a:gd name="connsiteY0" fmla="*/ 57048 h 57048"/>
              <a:gd name="connsiteX1" fmla="*/ 1562100 w 1562100"/>
              <a:gd name="connsiteY1" fmla="*/ 49111 h 57048"/>
              <a:gd name="connsiteX0" fmla="*/ 0 w 1562100"/>
              <a:gd name="connsiteY0" fmla="*/ 70322 h 70322"/>
              <a:gd name="connsiteX1" fmla="*/ 1562100 w 1562100"/>
              <a:gd name="connsiteY1" fmla="*/ 62385 h 70322"/>
              <a:gd name="connsiteX0" fmla="*/ 0 w 870536"/>
              <a:gd name="connsiteY0" fmla="*/ 5012 h 1026735"/>
              <a:gd name="connsiteX1" fmla="*/ 870536 w 870536"/>
              <a:gd name="connsiteY1" fmla="*/ 1026735 h 1026735"/>
              <a:gd name="connsiteX0" fmla="*/ 0 w 870536"/>
              <a:gd name="connsiteY0" fmla="*/ 5193 h 1026916"/>
              <a:gd name="connsiteX1" fmla="*/ 870536 w 870536"/>
              <a:gd name="connsiteY1" fmla="*/ 1026916 h 1026916"/>
              <a:gd name="connsiteX0" fmla="*/ 0 w 902286"/>
              <a:gd name="connsiteY0" fmla="*/ 5147 h 1036395"/>
              <a:gd name="connsiteX1" fmla="*/ 902286 w 902286"/>
              <a:gd name="connsiteY1" fmla="*/ 1036395 h 1036395"/>
              <a:gd name="connsiteX0" fmla="*/ 0 w 902286"/>
              <a:gd name="connsiteY0" fmla="*/ 5256 h 1036504"/>
              <a:gd name="connsiteX1" fmla="*/ 902286 w 902286"/>
              <a:gd name="connsiteY1" fmla="*/ 1036504 h 1036504"/>
              <a:gd name="connsiteX0" fmla="*/ 0 w 902286"/>
              <a:gd name="connsiteY0" fmla="*/ 0 h 1031248"/>
              <a:gd name="connsiteX1" fmla="*/ 902286 w 902286"/>
              <a:gd name="connsiteY1" fmla="*/ 1031248 h 1031248"/>
              <a:gd name="connsiteX0" fmla="*/ 0 w 902286"/>
              <a:gd name="connsiteY0" fmla="*/ 0 h 1021723"/>
              <a:gd name="connsiteX1" fmla="*/ 902286 w 902286"/>
              <a:gd name="connsiteY1" fmla="*/ 1021723 h 1021723"/>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92786"/>
              <a:gd name="connsiteY0" fmla="*/ 0 h 758198"/>
              <a:gd name="connsiteX1" fmla="*/ 1092786 w 1092786"/>
              <a:gd name="connsiteY1" fmla="*/ 758198 h 758198"/>
              <a:gd name="connsiteX0" fmla="*/ 0 w 1089611"/>
              <a:gd name="connsiteY0" fmla="*/ 0 h 761373"/>
              <a:gd name="connsiteX1" fmla="*/ 1089611 w 1089611"/>
              <a:gd name="connsiteY1" fmla="*/ 761373 h 761373"/>
              <a:gd name="connsiteX0" fmla="*/ 0 w 1089611"/>
              <a:gd name="connsiteY0" fmla="*/ 0 h 761373"/>
              <a:gd name="connsiteX1" fmla="*/ 1089611 w 1089611"/>
              <a:gd name="connsiteY1" fmla="*/ 761373 h 761373"/>
              <a:gd name="connsiteX0" fmla="*/ 0 w 889586"/>
              <a:gd name="connsiteY0" fmla="*/ 0 h 1018548"/>
              <a:gd name="connsiteX1" fmla="*/ 889586 w 889586"/>
              <a:gd name="connsiteY1" fmla="*/ 1018548 h 1018548"/>
              <a:gd name="connsiteX0" fmla="*/ 0 w 889586"/>
              <a:gd name="connsiteY0" fmla="*/ 0 h 1018548"/>
              <a:gd name="connsiteX1" fmla="*/ 889586 w 889586"/>
              <a:gd name="connsiteY1" fmla="*/ 1018548 h 1018548"/>
              <a:gd name="connsiteX0" fmla="*/ 0 w 908636"/>
              <a:gd name="connsiteY0" fmla="*/ 0 h 1028073"/>
              <a:gd name="connsiteX1" fmla="*/ 908636 w 908636"/>
              <a:gd name="connsiteY1" fmla="*/ 1028073 h 1028073"/>
              <a:gd name="connsiteX0" fmla="*/ 0 w 908636"/>
              <a:gd name="connsiteY0" fmla="*/ 0 h 1031248"/>
              <a:gd name="connsiteX1" fmla="*/ 908636 w 908636"/>
              <a:gd name="connsiteY1" fmla="*/ 1031248 h 1031248"/>
              <a:gd name="connsiteX0" fmla="*/ 0 w 908636"/>
              <a:gd name="connsiteY0" fmla="*/ 0 h 1031248"/>
              <a:gd name="connsiteX1" fmla="*/ 908636 w 908636"/>
              <a:gd name="connsiteY1" fmla="*/ 1031248 h 1031248"/>
              <a:gd name="connsiteX0" fmla="*/ 0 w 504175"/>
              <a:gd name="connsiteY0" fmla="*/ 0 h 993058"/>
              <a:gd name="connsiteX1" fmla="*/ 504175 w 504175"/>
              <a:gd name="connsiteY1" fmla="*/ 993058 h 993058"/>
              <a:gd name="connsiteX0" fmla="*/ 0 w 507038"/>
              <a:gd name="connsiteY0" fmla="*/ 0 h 993058"/>
              <a:gd name="connsiteX1" fmla="*/ 504175 w 507038"/>
              <a:gd name="connsiteY1" fmla="*/ 993058 h 993058"/>
              <a:gd name="connsiteX0" fmla="*/ 0 w 535379"/>
              <a:gd name="connsiteY0" fmla="*/ 0 h 998514"/>
              <a:gd name="connsiteX1" fmla="*/ 533066 w 535379"/>
              <a:gd name="connsiteY1" fmla="*/ 998514 h 998514"/>
              <a:gd name="connsiteX0" fmla="*/ 0 w 573414"/>
              <a:gd name="connsiteY0" fmla="*/ 0 h 993059"/>
              <a:gd name="connsiteX1" fmla="*/ 571586 w 573414"/>
              <a:gd name="connsiteY1" fmla="*/ 993059 h 993059"/>
              <a:gd name="connsiteX0" fmla="*/ 0 w 572775"/>
              <a:gd name="connsiteY0" fmla="*/ 0 h 993059"/>
              <a:gd name="connsiteX1" fmla="*/ 571586 w 572775"/>
              <a:gd name="connsiteY1" fmla="*/ 993059 h 993059"/>
              <a:gd name="connsiteX0" fmla="*/ 0 w 573513"/>
              <a:gd name="connsiteY0" fmla="*/ 0 h 993059"/>
              <a:gd name="connsiteX1" fmla="*/ 571586 w 573513"/>
              <a:gd name="connsiteY1" fmla="*/ 993059 h 993059"/>
              <a:gd name="connsiteX0" fmla="*/ 0 w 1997027"/>
              <a:gd name="connsiteY0" fmla="*/ 0 h 558101"/>
              <a:gd name="connsiteX1" fmla="*/ 1996830 w 1997027"/>
              <a:gd name="connsiteY1" fmla="*/ 558101 h 558101"/>
              <a:gd name="connsiteX0" fmla="*/ 0 w 1997027"/>
              <a:gd name="connsiteY0" fmla="*/ 0 h 558101"/>
              <a:gd name="connsiteX1" fmla="*/ 1996830 w 1997027"/>
              <a:gd name="connsiteY1" fmla="*/ 558101 h 558101"/>
              <a:gd name="connsiteX0" fmla="*/ 0 w 1997043"/>
              <a:gd name="connsiteY0" fmla="*/ 0 h 558101"/>
              <a:gd name="connsiteX1" fmla="*/ 1996830 w 1997043"/>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1996831"/>
              <a:gd name="connsiteY0" fmla="*/ 0 h 558101"/>
              <a:gd name="connsiteX1" fmla="*/ 1996830 w 1996831"/>
              <a:gd name="connsiteY1" fmla="*/ 558101 h 558101"/>
              <a:gd name="connsiteX0" fmla="*/ 0 w 807523"/>
              <a:gd name="connsiteY0" fmla="*/ 104815 h 143684"/>
              <a:gd name="connsiteX1" fmla="*/ 807523 w 807523"/>
              <a:gd name="connsiteY1" fmla="*/ 143684 h 143684"/>
              <a:gd name="connsiteX0" fmla="*/ 0 w 807523"/>
              <a:gd name="connsiteY0" fmla="*/ 0 h 38869"/>
              <a:gd name="connsiteX1" fmla="*/ 807523 w 807523"/>
              <a:gd name="connsiteY1" fmla="*/ 38869 h 38869"/>
              <a:gd name="connsiteX0" fmla="*/ 0 w 807523"/>
              <a:gd name="connsiteY0" fmla="*/ 19402 h 58271"/>
              <a:gd name="connsiteX1" fmla="*/ 807523 w 807523"/>
              <a:gd name="connsiteY1" fmla="*/ 58271 h 58271"/>
              <a:gd name="connsiteX0" fmla="*/ 0 w 807523"/>
              <a:gd name="connsiteY0" fmla="*/ 15598 h 54467"/>
              <a:gd name="connsiteX1" fmla="*/ 807523 w 807523"/>
              <a:gd name="connsiteY1" fmla="*/ 54467 h 54467"/>
              <a:gd name="connsiteX0" fmla="*/ 0 w 807523"/>
              <a:gd name="connsiteY0" fmla="*/ 10809 h 49678"/>
              <a:gd name="connsiteX1" fmla="*/ 807523 w 807523"/>
              <a:gd name="connsiteY1" fmla="*/ 49678 h 49678"/>
              <a:gd name="connsiteX0" fmla="*/ 0 w 3763942"/>
              <a:gd name="connsiteY0" fmla="*/ 402 h 555787"/>
              <a:gd name="connsiteX1" fmla="*/ 3763942 w 3763942"/>
              <a:gd name="connsiteY1" fmla="*/ 555787 h 555787"/>
              <a:gd name="connsiteX0" fmla="*/ 0 w 3763942"/>
              <a:gd name="connsiteY0" fmla="*/ 1187 h 556572"/>
              <a:gd name="connsiteX1" fmla="*/ 3763942 w 3763942"/>
              <a:gd name="connsiteY1" fmla="*/ 556572 h 556572"/>
              <a:gd name="connsiteX0" fmla="*/ 0 w 3763942"/>
              <a:gd name="connsiteY0" fmla="*/ 78583 h 633968"/>
              <a:gd name="connsiteX1" fmla="*/ 3763942 w 3763942"/>
              <a:gd name="connsiteY1" fmla="*/ 633968 h 633968"/>
              <a:gd name="connsiteX0" fmla="*/ 0 w 3763942"/>
              <a:gd name="connsiteY0" fmla="*/ 76803 h 632188"/>
              <a:gd name="connsiteX1" fmla="*/ 3763942 w 3763942"/>
              <a:gd name="connsiteY1" fmla="*/ 632188 h 632188"/>
              <a:gd name="connsiteX0" fmla="*/ 0 w 4245443"/>
              <a:gd name="connsiteY0" fmla="*/ 62188 h 769809"/>
              <a:gd name="connsiteX1" fmla="*/ 4245443 w 4245443"/>
              <a:gd name="connsiteY1" fmla="*/ 769809 h 769809"/>
              <a:gd name="connsiteX0" fmla="*/ 0 w 4245443"/>
              <a:gd name="connsiteY0" fmla="*/ 81893 h 789514"/>
              <a:gd name="connsiteX1" fmla="*/ 4245443 w 4245443"/>
              <a:gd name="connsiteY1" fmla="*/ 789514 h 789514"/>
              <a:gd name="connsiteX0" fmla="*/ 0 w 4245443"/>
              <a:gd name="connsiteY0" fmla="*/ 83295 h 780043"/>
              <a:gd name="connsiteX1" fmla="*/ 4245443 w 4245443"/>
              <a:gd name="connsiteY1" fmla="*/ 780043 h 780043"/>
              <a:gd name="connsiteX0" fmla="*/ 0 w 4245443"/>
              <a:gd name="connsiteY0" fmla="*/ 105633 h 802381"/>
              <a:gd name="connsiteX1" fmla="*/ 4245443 w 4245443"/>
              <a:gd name="connsiteY1" fmla="*/ 802381 h 802381"/>
              <a:gd name="connsiteX0" fmla="*/ 0 w 4264703"/>
              <a:gd name="connsiteY0" fmla="*/ 105633 h 802381"/>
              <a:gd name="connsiteX1" fmla="*/ 4264703 w 4264703"/>
              <a:gd name="connsiteY1" fmla="*/ 802381 h 802381"/>
              <a:gd name="connsiteX0" fmla="*/ 0 w 4288778"/>
              <a:gd name="connsiteY0" fmla="*/ 104477 h 809381"/>
              <a:gd name="connsiteX1" fmla="*/ 4288778 w 4288778"/>
              <a:gd name="connsiteY1" fmla="*/ 809381 h 809381"/>
              <a:gd name="connsiteX0" fmla="*/ 0 w 4288778"/>
              <a:gd name="connsiteY0" fmla="*/ 104477 h 809381"/>
              <a:gd name="connsiteX1" fmla="*/ 4288778 w 4288778"/>
              <a:gd name="connsiteY1" fmla="*/ 809381 h 809381"/>
              <a:gd name="connsiteX0" fmla="*/ 0 w 4288778"/>
              <a:gd name="connsiteY0" fmla="*/ 102770 h 807674"/>
              <a:gd name="connsiteX1" fmla="*/ 4288778 w 4288778"/>
              <a:gd name="connsiteY1" fmla="*/ 807674 h 807674"/>
              <a:gd name="connsiteX0" fmla="*/ 0 w 602430"/>
              <a:gd name="connsiteY0" fmla="*/ 182082 h 526700"/>
              <a:gd name="connsiteX1" fmla="*/ 116335 w 602430"/>
              <a:gd name="connsiteY1" fmla="*/ 526700 h 526700"/>
              <a:gd name="connsiteX0" fmla="*/ 0 w 692672"/>
              <a:gd name="connsiteY0" fmla="*/ 89474 h 434092"/>
              <a:gd name="connsiteX1" fmla="*/ 116335 w 692672"/>
              <a:gd name="connsiteY1" fmla="*/ 434092 h 434092"/>
              <a:gd name="connsiteX0" fmla="*/ 8855 w 665686"/>
              <a:gd name="connsiteY0" fmla="*/ 91033 h 422059"/>
              <a:gd name="connsiteX1" fmla="*/ 0 w 665686"/>
              <a:gd name="connsiteY1" fmla="*/ 422059 h 422059"/>
              <a:gd name="connsiteX0" fmla="*/ 8855 w 107820"/>
              <a:gd name="connsiteY0" fmla="*/ 0 h 331026"/>
              <a:gd name="connsiteX1" fmla="*/ 0 w 107820"/>
              <a:gd name="connsiteY1" fmla="*/ 331026 h 331026"/>
              <a:gd name="connsiteX0" fmla="*/ 0 w 108619"/>
              <a:gd name="connsiteY0" fmla="*/ 0 h 238598"/>
              <a:gd name="connsiteX1" fmla="*/ 15220 w 108619"/>
              <a:gd name="connsiteY1" fmla="*/ 238598 h 238598"/>
              <a:gd name="connsiteX0" fmla="*/ 0 w 93340"/>
              <a:gd name="connsiteY0" fmla="*/ 0 h 238598"/>
              <a:gd name="connsiteX1" fmla="*/ 15220 w 93340"/>
              <a:gd name="connsiteY1" fmla="*/ 238598 h 238598"/>
              <a:gd name="connsiteX0" fmla="*/ 13669 w 94472"/>
              <a:gd name="connsiteY0" fmla="*/ 0 h 219568"/>
              <a:gd name="connsiteX1" fmla="*/ 0 w 94472"/>
              <a:gd name="connsiteY1" fmla="*/ 219568 h 219568"/>
              <a:gd name="connsiteX0" fmla="*/ 13669 w 90070"/>
              <a:gd name="connsiteY0" fmla="*/ 0 h 219568"/>
              <a:gd name="connsiteX1" fmla="*/ 0 w 90070"/>
              <a:gd name="connsiteY1" fmla="*/ 219568 h 219568"/>
              <a:gd name="connsiteX0" fmla="*/ 13669 w 77794"/>
              <a:gd name="connsiteY0" fmla="*/ 0 h 219568"/>
              <a:gd name="connsiteX1" fmla="*/ 0 w 77794"/>
              <a:gd name="connsiteY1" fmla="*/ 219568 h 219568"/>
              <a:gd name="connsiteX0" fmla="*/ 0 w 1573334"/>
              <a:gd name="connsiteY0" fmla="*/ 0 h 1141140"/>
              <a:gd name="connsiteX1" fmla="*/ 1570461 w 1573334"/>
              <a:gd name="connsiteY1" fmla="*/ 1141140 h 1141140"/>
              <a:gd name="connsiteX0" fmla="*/ 0 w 3022881"/>
              <a:gd name="connsiteY0" fmla="*/ 0 h 1735585"/>
              <a:gd name="connsiteX1" fmla="*/ 3021376 w 3022881"/>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35585"/>
              <a:gd name="connsiteX1" fmla="*/ 3021376 w 3021377"/>
              <a:gd name="connsiteY1" fmla="*/ 1735585 h 1735585"/>
              <a:gd name="connsiteX0" fmla="*/ 0 w 3021377"/>
              <a:gd name="connsiteY0" fmla="*/ 0 h 1750084"/>
              <a:gd name="connsiteX1" fmla="*/ 3021376 w 3021377"/>
              <a:gd name="connsiteY1" fmla="*/ 1750084 h 1750084"/>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9210"/>
              <a:gd name="connsiteX1" fmla="*/ 2992485 w 2992486"/>
              <a:gd name="connsiteY1" fmla="*/ 1739210 h 1739210"/>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2992486"/>
              <a:gd name="connsiteY0" fmla="*/ 0 h 1731136"/>
              <a:gd name="connsiteX1" fmla="*/ 2992485 w 2992486"/>
              <a:gd name="connsiteY1" fmla="*/ 1731136 h 1731136"/>
              <a:gd name="connsiteX0" fmla="*/ 0 w 3004529"/>
              <a:gd name="connsiteY0" fmla="*/ 0 h 1698838"/>
              <a:gd name="connsiteX1" fmla="*/ 3004529 w 3004529"/>
              <a:gd name="connsiteY1" fmla="*/ 1698838 h 1698838"/>
              <a:gd name="connsiteX0" fmla="*/ 0 w 3004529"/>
              <a:gd name="connsiteY0" fmla="*/ 0 h 1698838"/>
              <a:gd name="connsiteX1" fmla="*/ 3004529 w 3004529"/>
              <a:gd name="connsiteY1" fmla="*/ 1698838 h 1698838"/>
              <a:gd name="connsiteX0" fmla="*/ 0 w 3030370"/>
              <a:gd name="connsiteY0" fmla="*/ 0 h 1726787"/>
              <a:gd name="connsiteX1" fmla="*/ 3030370 w 3030370"/>
              <a:gd name="connsiteY1" fmla="*/ 1726787 h 1726787"/>
              <a:gd name="connsiteX0" fmla="*/ 0 w 3030370"/>
              <a:gd name="connsiteY0" fmla="*/ 0 h 1726787"/>
              <a:gd name="connsiteX1" fmla="*/ 3030370 w 3030370"/>
              <a:gd name="connsiteY1" fmla="*/ 1726787 h 1726787"/>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3043291"/>
              <a:gd name="connsiteY0" fmla="*/ 0 h 1710816"/>
              <a:gd name="connsiteX1" fmla="*/ 3043291 w 3043291"/>
              <a:gd name="connsiteY1" fmla="*/ 1710816 h 1710816"/>
              <a:gd name="connsiteX0" fmla="*/ 0 w 2875322"/>
              <a:gd name="connsiteY0" fmla="*/ 0 h 1850561"/>
              <a:gd name="connsiteX1" fmla="*/ 2875322 w 2875322"/>
              <a:gd name="connsiteY1" fmla="*/ 1850561 h 1850561"/>
              <a:gd name="connsiteX0" fmla="*/ 0 w 2875322"/>
              <a:gd name="connsiteY0" fmla="*/ 0 h 1850561"/>
              <a:gd name="connsiteX1" fmla="*/ 2875322 w 2875322"/>
              <a:gd name="connsiteY1" fmla="*/ 1850561 h 1850561"/>
              <a:gd name="connsiteX0" fmla="*/ 0 w 2894703"/>
              <a:gd name="connsiteY0" fmla="*/ 0 h 1850561"/>
              <a:gd name="connsiteX1" fmla="*/ 2894703 w 2894703"/>
              <a:gd name="connsiteY1" fmla="*/ 1850561 h 1850561"/>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9057"/>
              <a:gd name="connsiteY0" fmla="*/ 0 h 2317708"/>
              <a:gd name="connsiteX1" fmla="*/ 3489057 w 3489057"/>
              <a:gd name="connsiteY1" fmla="*/ 2317708 h 2317708"/>
              <a:gd name="connsiteX0" fmla="*/ 0 w 3480239"/>
              <a:gd name="connsiteY0" fmla="*/ 0 h 2300301"/>
              <a:gd name="connsiteX1" fmla="*/ 3480239 w 3480239"/>
              <a:gd name="connsiteY1" fmla="*/ 2300301 h 2300301"/>
              <a:gd name="connsiteX0" fmla="*/ 0 w 3480239"/>
              <a:gd name="connsiteY0" fmla="*/ 0 h 2300301"/>
              <a:gd name="connsiteX1" fmla="*/ 3480239 w 348023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463229"/>
              <a:gd name="connsiteY0" fmla="*/ 0 h 2300301"/>
              <a:gd name="connsiteX1" fmla="*/ 3463229 w 3463229"/>
              <a:gd name="connsiteY1" fmla="*/ 2300301 h 2300301"/>
              <a:gd name="connsiteX0" fmla="*/ 0 w 3521439"/>
              <a:gd name="connsiteY0" fmla="*/ 0 h 2232170"/>
              <a:gd name="connsiteX1" fmla="*/ 3521439 w 3521439"/>
              <a:gd name="connsiteY1" fmla="*/ 2232170 h 2232170"/>
              <a:gd name="connsiteX0" fmla="*/ 0 w 3521439"/>
              <a:gd name="connsiteY0" fmla="*/ 0 h 2232170"/>
              <a:gd name="connsiteX1" fmla="*/ 3521439 w 3521439"/>
              <a:gd name="connsiteY1" fmla="*/ 2232170 h 2232170"/>
              <a:gd name="connsiteX0" fmla="*/ 0 w 3521439"/>
              <a:gd name="connsiteY0" fmla="*/ 0 h 2209460"/>
              <a:gd name="connsiteX1" fmla="*/ 3521439 w 3521439"/>
              <a:gd name="connsiteY1" fmla="*/ 2209460 h 2209460"/>
              <a:gd name="connsiteX0" fmla="*/ 0 w 3521439"/>
              <a:gd name="connsiteY0" fmla="*/ 0 h 2209460"/>
              <a:gd name="connsiteX1" fmla="*/ 3521439 w 3521439"/>
              <a:gd name="connsiteY1" fmla="*/ 2209460 h 2209460"/>
              <a:gd name="connsiteX0" fmla="*/ 0 w 3166484"/>
              <a:gd name="connsiteY0" fmla="*/ 0 h 1509983"/>
              <a:gd name="connsiteX1" fmla="*/ 3166484 w 3166484"/>
              <a:gd name="connsiteY1" fmla="*/ 1509983 h 1509983"/>
              <a:gd name="connsiteX0" fmla="*/ 0 w 2028493"/>
              <a:gd name="connsiteY0" fmla="*/ 0 h 405367"/>
              <a:gd name="connsiteX1" fmla="*/ 2028493 w 2028493"/>
              <a:gd name="connsiteY1" fmla="*/ 62202 h 405367"/>
              <a:gd name="connsiteX0" fmla="*/ 0 w 2028493"/>
              <a:gd name="connsiteY0" fmla="*/ 0 h 410101"/>
              <a:gd name="connsiteX1" fmla="*/ 2028493 w 2028493"/>
              <a:gd name="connsiteY1" fmla="*/ 62202 h 410101"/>
              <a:gd name="connsiteX0" fmla="*/ 0 w 2049034"/>
              <a:gd name="connsiteY0" fmla="*/ 0 h 413154"/>
              <a:gd name="connsiteX1" fmla="*/ 2049034 w 2049034"/>
              <a:gd name="connsiteY1" fmla="*/ 76396 h 413154"/>
              <a:gd name="connsiteX0" fmla="*/ 0 w 2049034"/>
              <a:gd name="connsiteY0" fmla="*/ 143813 h 220209"/>
              <a:gd name="connsiteX1" fmla="*/ 2049034 w 2049034"/>
              <a:gd name="connsiteY1" fmla="*/ 220209 h 220209"/>
              <a:gd name="connsiteX0" fmla="*/ 0 w 2049034"/>
              <a:gd name="connsiteY0" fmla="*/ 154753 h 231149"/>
              <a:gd name="connsiteX1" fmla="*/ 2049034 w 2049034"/>
              <a:gd name="connsiteY1" fmla="*/ 231149 h 231149"/>
              <a:gd name="connsiteX0" fmla="*/ 0 w 2057250"/>
              <a:gd name="connsiteY0" fmla="*/ 145732 h 242000"/>
              <a:gd name="connsiteX1" fmla="*/ 2057250 w 2057250"/>
              <a:gd name="connsiteY1" fmla="*/ 242000 h 242000"/>
              <a:gd name="connsiteX0" fmla="*/ 0 w 2057250"/>
              <a:gd name="connsiteY0" fmla="*/ 155638 h 251906"/>
              <a:gd name="connsiteX1" fmla="*/ 2057250 w 2057250"/>
              <a:gd name="connsiteY1" fmla="*/ 251906 h 251906"/>
              <a:gd name="connsiteX0" fmla="*/ 0 w 2057250"/>
              <a:gd name="connsiteY0" fmla="*/ 154153 h 250421"/>
              <a:gd name="connsiteX1" fmla="*/ 2057250 w 2057250"/>
              <a:gd name="connsiteY1" fmla="*/ 250421 h 250421"/>
              <a:gd name="connsiteX0" fmla="*/ 0 w 2057250"/>
              <a:gd name="connsiteY0" fmla="*/ 175529 h 271797"/>
              <a:gd name="connsiteX1" fmla="*/ 2057250 w 2057250"/>
              <a:gd name="connsiteY1" fmla="*/ 271797 h 271797"/>
              <a:gd name="connsiteX0" fmla="*/ 0 w 1925785"/>
              <a:gd name="connsiteY0" fmla="*/ 146190 h 318159"/>
              <a:gd name="connsiteX1" fmla="*/ 1925785 w 1925785"/>
              <a:gd name="connsiteY1" fmla="*/ 318159 h 318159"/>
              <a:gd name="connsiteX0" fmla="*/ 0 w 1942218"/>
              <a:gd name="connsiteY0" fmla="*/ 143309 h 323795"/>
              <a:gd name="connsiteX1" fmla="*/ 1942218 w 1942218"/>
              <a:gd name="connsiteY1" fmla="*/ 323795 h 323795"/>
              <a:gd name="connsiteX0" fmla="*/ 0 w 1942218"/>
              <a:gd name="connsiteY0" fmla="*/ 1 h 180487"/>
              <a:gd name="connsiteX1" fmla="*/ 1942218 w 1942218"/>
              <a:gd name="connsiteY1" fmla="*/ 180487 h 180487"/>
              <a:gd name="connsiteX0" fmla="*/ 0 w 1966867"/>
              <a:gd name="connsiteY0" fmla="*/ 0 h 171970"/>
              <a:gd name="connsiteX1" fmla="*/ 1966867 w 1966867"/>
              <a:gd name="connsiteY1" fmla="*/ 171971 h 171970"/>
              <a:gd name="connsiteX0" fmla="*/ 0 w 1966867"/>
              <a:gd name="connsiteY0" fmla="*/ 0 h 171971"/>
              <a:gd name="connsiteX1" fmla="*/ 1966867 w 1966867"/>
              <a:gd name="connsiteY1" fmla="*/ 171971 h 171971"/>
              <a:gd name="connsiteX0" fmla="*/ 0 w 1958651"/>
              <a:gd name="connsiteY0" fmla="*/ 0 h 186165"/>
              <a:gd name="connsiteX1" fmla="*/ 1958651 w 1958651"/>
              <a:gd name="connsiteY1" fmla="*/ 186165 h 186165"/>
              <a:gd name="connsiteX0" fmla="*/ 0 w 1954543"/>
              <a:gd name="connsiteY0" fmla="*/ 0 h 203197"/>
              <a:gd name="connsiteX1" fmla="*/ 1954543 w 1954543"/>
              <a:gd name="connsiteY1" fmla="*/ 203197 h 203197"/>
              <a:gd name="connsiteX0" fmla="*/ 0 w 2324286"/>
              <a:gd name="connsiteY0" fmla="*/ 0 h 475721"/>
              <a:gd name="connsiteX1" fmla="*/ 2324286 w 2324286"/>
              <a:gd name="connsiteY1" fmla="*/ 475721 h 475721"/>
              <a:gd name="connsiteX0" fmla="*/ 0 w 2324286"/>
              <a:gd name="connsiteY0" fmla="*/ 0 h 479624"/>
              <a:gd name="connsiteX1" fmla="*/ 2324286 w 2324286"/>
              <a:gd name="connsiteY1" fmla="*/ 475721 h 479624"/>
              <a:gd name="connsiteX0" fmla="*/ 0 w 2324286"/>
              <a:gd name="connsiteY0" fmla="*/ 0 h 480172"/>
              <a:gd name="connsiteX1" fmla="*/ 2324286 w 2324286"/>
              <a:gd name="connsiteY1" fmla="*/ 475721 h 480172"/>
              <a:gd name="connsiteX0" fmla="*/ 0 w 2324286"/>
              <a:gd name="connsiteY0" fmla="*/ 0 h 475721"/>
              <a:gd name="connsiteX1" fmla="*/ 2324286 w 2324286"/>
              <a:gd name="connsiteY1" fmla="*/ 475721 h 475721"/>
              <a:gd name="connsiteX0" fmla="*/ 0 w 2316069"/>
              <a:gd name="connsiteY0" fmla="*/ 0 h 498431"/>
              <a:gd name="connsiteX1" fmla="*/ 2316069 w 2316069"/>
              <a:gd name="connsiteY1" fmla="*/ 498431 h 498431"/>
              <a:gd name="connsiteX0" fmla="*/ 0 w 2316069"/>
              <a:gd name="connsiteY0" fmla="*/ 0 h 498431"/>
              <a:gd name="connsiteX1" fmla="*/ 2316069 w 2316069"/>
              <a:gd name="connsiteY1" fmla="*/ 498431 h 49843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57784"/>
              <a:gd name="connsiteY0" fmla="*/ 0 h 1015091"/>
              <a:gd name="connsiteX1" fmla="*/ 4657784 w 4657784"/>
              <a:gd name="connsiteY1" fmla="*/ 1015091 h 1015091"/>
              <a:gd name="connsiteX0" fmla="*/ 0 w 4604754"/>
              <a:gd name="connsiteY0" fmla="*/ 0 h 1015091"/>
              <a:gd name="connsiteX1" fmla="*/ 4604754 w 4604754"/>
              <a:gd name="connsiteY1" fmla="*/ 1015091 h 1015091"/>
              <a:gd name="connsiteX0" fmla="*/ 0 w 4604754"/>
              <a:gd name="connsiteY0" fmla="*/ 0 h 1015091"/>
              <a:gd name="connsiteX1" fmla="*/ 4604754 w 4604754"/>
              <a:gd name="connsiteY1" fmla="*/ 1015091 h 1015091"/>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0 h 998023"/>
              <a:gd name="connsiteX1" fmla="*/ 4604754 w 4604754"/>
              <a:gd name="connsiteY1" fmla="*/ 998023 h 998023"/>
              <a:gd name="connsiteX0" fmla="*/ 0 w 4604754"/>
              <a:gd name="connsiteY0" fmla="*/ 23432 h 1021455"/>
              <a:gd name="connsiteX1" fmla="*/ 4604754 w 4604754"/>
              <a:gd name="connsiteY1" fmla="*/ 1021455 h 1021455"/>
              <a:gd name="connsiteX0" fmla="*/ 0 w 4621488"/>
              <a:gd name="connsiteY0" fmla="*/ 28563 h 866964"/>
              <a:gd name="connsiteX1" fmla="*/ 4621488 w 4621488"/>
              <a:gd name="connsiteY1" fmla="*/ 866966 h 866964"/>
              <a:gd name="connsiteX0" fmla="*/ 0 w 4621488"/>
              <a:gd name="connsiteY0" fmla="*/ 35875 h 874276"/>
              <a:gd name="connsiteX1" fmla="*/ 4621488 w 4621488"/>
              <a:gd name="connsiteY1" fmla="*/ 874278 h 874276"/>
              <a:gd name="connsiteX0" fmla="*/ 2 w 4634037"/>
              <a:gd name="connsiteY0" fmla="*/ 44537 h 763234"/>
              <a:gd name="connsiteX1" fmla="*/ 4634037 w 4634037"/>
              <a:gd name="connsiteY1" fmla="*/ 763236 h 763234"/>
              <a:gd name="connsiteX0" fmla="*/ 2 w 4634037"/>
              <a:gd name="connsiteY0" fmla="*/ -3 h 718694"/>
              <a:gd name="connsiteX1" fmla="*/ 4634037 w 4634037"/>
              <a:gd name="connsiteY1" fmla="*/ 718696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4634037"/>
              <a:gd name="connsiteY0" fmla="*/ -3 h 718694"/>
              <a:gd name="connsiteX1" fmla="*/ 4634038 w 4634037"/>
              <a:gd name="connsiteY1" fmla="*/ 718695 h 718694"/>
              <a:gd name="connsiteX0" fmla="*/ 2 w 1413475"/>
              <a:gd name="connsiteY0" fmla="*/ 606407 h 728390"/>
              <a:gd name="connsiteX1" fmla="*/ 1413474 w 1413475"/>
              <a:gd name="connsiteY1" fmla="*/ 126977 h 728390"/>
              <a:gd name="connsiteX0" fmla="*/ 2 w 1413475"/>
              <a:gd name="connsiteY0" fmla="*/ 479431 h 721543"/>
              <a:gd name="connsiteX1" fmla="*/ 1413474 w 1413475"/>
              <a:gd name="connsiteY1" fmla="*/ 1 h 721543"/>
              <a:gd name="connsiteX0" fmla="*/ 3 w 1605506"/>
              <a:gd name="connsiteY0" fmla="*/ 487353 h 727739"/>
              <a:gd name="connsiteX1" fmla="*/ 1605505 w 1605506"/>
              <a:gd name="connsiteY1" fmla="*/ 1 h 727739"/>
              <a:gd name="connsiteX0" fmla="*/ 3 w 1605506"/>
              <a:gd name="connsiteY0" fmla="*/ 487353 h 595674"/>
              <a:gd name="connsiteX1" fmla="*/ 1605505 w 1605506"/>
              <a:gd name="connsiteY1" fmla="*/ 1 h 595674"/>
              <a:gd name="connsiteX0" fmla="*/ 3 w 1573179"/>
              <a:gd name="connsiteY0" fmla="*/ 635014 h 720486"/>
              <a:gd name="connsiteX1" fmla="*/ 1573180 w 1573179"/>
              <a:gd name="connsiteY1" fmla="*/ 1 h 720486"/>
              <a:gd name="connsiteX0" fmla="*/ 3 w 1573179"/>
              <a:gd name="connsiteY0" fmla="*/ 635014 h 727984"/>
              <a:gd name="connsiteX1" fmla="*/ 1573180 w 1573179"/>
              <a:gd name="connsiteY1" fmla="*/ 1 h 727984"/>
              <a:gd name="connsiteX0" fmla="*/ 3 w 1619069"/>
              <a:gd name="connsiteY0" fmla="*/ 464741 h 589089"/>
              <a:gd name="connsiteX1" fmla="*/ 1619069 w 1619069"/>
              <a:gd name="connsiteY1" fmla="*/ 1 h 589089"/>
              <a:gd name="connsiteX0" fmla="*/ 3 w 1619069"/>
              <a:gd name="connsiteY0" fmla="*/ 464741 h 644508"/>
              <a:gd name="connsiteX1" fmla="*/ 1619069 w 1619069"/>
              <a:gd name="connsiteY1" fmla="*/ 1 h 644508"/>
              <a:gd name="connsiteX0" fmla="*/ 3 w 1619069"/>
              <a:gd name="connsiteY0" fmla="*/ 464741 h 573752"/>
              <a:gd name="connsiteX1" fmla="*/ 1619069 w 1619069"/>
              <a:gd name="connsiteY1" fmla="*/ 1 h 573752"/>
              <a:gd name="connsiteX0" fmla="*/ 3 w 1619069"/>
              <a:gd name="connsiteY0" fmla="*/ 496657 h 598698"/>
              <a:gd name="connsiteX1" fmla="*/ 1619069 w 1619069"/>
              <a:gd name="connsiteY1" fmla="*/ 0 h 598698"/>
              <a:gd name="connsiteX0" fmla="*/ 3 w 7916977"/>
              <a:gd name="connsiteY0" fmla="*/ 2826772 h 2841912"/>
              <a:gd name="connsiteX1" fmla="*/ 7916977 w 7916977"/>
              <a:gd name="connsiteY1" fmla="*/ 0 h 2841912"/>
              <a:gd name="connsiteX0" fmla="*/ 3 w 7916977"/>
              <a:gd name="connsiteY0" fmla="*/ 2826772 h 2846255"/>
              <a:gd name="connsiteX1" fmla="*/ 7916977 w 7916977"/>
              <a:gd name="connsiteY1" fmla="*/ 0 h 2846255"/>
              <a:gd name="connsiteX0" fmla="*/ 3 w 7916977"/>
              <a:gd name="connsiteY0" fmla="*/ 2826772 h 3052074"/>
              <a:gd name="connsiteX1" fmla="*/ 7916977 w 7916977"/>
              <a:gd name="connsiteY1" fmla="*/ 0 h 3052074"/>
              <a:gd name="connsiteX0" fmla="*/ 3 w 7916977"/>
              <a:gd name="connsiteY0" fmla="*/ 2826772 h 3005674"/>
              <a:gd name="connsiteX1" fmla="*/ 7916977 w 7916977"/>
              <a:gd name="connsiteY1" fmla="*/ 0 h 3005674"/>
              <a:gd name="connsiteX0" fmla="*/ 0 w 7916977"/>
              <a:gd name="connsiteY0" fmla="*/ 2778890 h 2960467"/>
              <a:gd name="connsiteX1" fmla="*/ 7916977 w 7916977"/>
              <a:gd name="connsiteY1" fmla="*/ 0 h 2960467"/>
              <a:gd name="connsiteX0" fmla="*/ 0 w 7933419"/>
              <a:gd name="connsiteY0" fmla="*/ 2794848 h 2975527"/>
              <a:gd name="connsiteX1" fmla="*/ 7933419 w 7933419"/>
              <a:gd name="connsiteY1" fmla="*/ 0 h 2975527"/>
              <a:gd name="connsiteX0" fmla="*/ 0 w 7933419"/>
              <a:gd name="connsiteY0" fmla="*/ 2794848 h 3006384"/>
              <a:gd name="connsiteX1" fmla="*/ 7933419 w 7933419"/>
              <a:gd name="connsiteY1" fmla="*/ 0 h 3006384"/>
              <a:gd name="connsiteX0" fmla="*/ 0 w 7867644"/>
              <a:gd name="connsiteY0" fmla="*/ 2794848 h 3006384"/>
              <a:gd name="connsiteX1" fmla="*/ 7867644 w 7867644"/>
              <a:gd name="connsiteY1" fmla="*/ 0 h 3006384"/>
              <a:gd name="connsiteX0" fmla="*/ 0 w 3197651"/>
              <a:gd name="connsiteY0" fmla="*/ 0 h 1011361"/>
              <a:gd name="connsiteX1" fmla="*/ 3197651 w 3197651"/>
              <a:gd name="connsiteY1" fmla="*/ 349213 h 1011361"/>
              <a:gd name="connsiteX0" fmla="*/ 0 w 3197651"/>
              <a:gd name="connsiteY0" fmla="*/ 0 h 551058"/>
              <a:gd name="connsiteX1" fmla="*/ 3197651 w 3197651"/>
              <a:gd name="connsiteY1" fmla="*/ 349213 h 551058"/>
              <a:gd name="connsiteX0" fmla="*/ 0 w 3197651"/>
              <a:gd name="connsiteY0" fmla="*/ 0 h 499390"/>
              <a:gd name="connsiteX1" fmla="*/ 3197651 w 3197651"/>
              <a:gd name="connsiteY1" fmla="*/ 349213 h 499390"/>
              <a:gd name="connsiteX0" fmla="*/ 0 w 3197651"/>
              <a:gd name="connsiteY0" fmla="*/ 0 h 421477"/>
              <a:gd name="connsiteX1" fmla="*/ 3197651 w 3197651"/>
              <a:gd name="connsiteY1" fmla="*/ 349213 h 421477"/>
              <a:gd name="connsiteX0" fmla="*/ 0 w 3197651"/>
              <a:gd name="connsiteY0" fmla="*/ 0 h 480912"/>
              <a:gd name="connsiteX1" fmla="*/ 3197651 w 3197651"/>
              <a:gd name="connsiteY1" fmla="*/ 349213 h 480912"/>
              <a:gd name="connsiteX0" fmla="*/ 0 w 3181202"/>
              <a:gd name="connsiteY0" fmla="*/ 0 h 617329"/>
              <a:gd name="connsiteX1" fmla="*/ 3181202 w 3181202"/>
              <a:gd name="connsiteY1" fmla="*/ 540729 h 617329"/>
              <a:gd name="connsiteX0" fmla="*/ 0 w 3181202"/>
              <a:gd name="connsiteY0" fmla="*/ 0 h 589454"/>
              <a:gd name="connsiteX1" fmla="*/ 3181202 w 3181202"/>
              <a:gd name="connsiteY1" fmla="*/ 540729 h 589454"/>
              <a:gd name="connsiteX0" fmla="*/ 0 w 3164753"/>
              <a:gd name="connsiteY0" fmla="*/ 0 h 602523"/>
              <a:gd name="connsiteX1" fmla="*/ 3164753 w 3164753"/>
              <a:gd name="connsiteY1" fmla="*/ 556687 h 602523"/>
              <a:gd name="connsiteX0" fmla="*/ 0 w 3164753"/>
              <a:gd name="connsiteY0" fmla="*/ 0 h 585741"/>
              <a:gd name="connsiteX1" fmla="*/ 3164753 w 3164753"/>
              <a:gd name="connsiteY1" fmla="*/ 556687 h 585741"/>
              <a:gd name="connsiteX0" fmla="*/ 0 w 3164753"/>
              <a:gd name="connsiteY0" fmla="*/ 0 h 588616"/>
              <a:gd name="connsiteX1" fmla="*/ 3164753 w 3164753"/>
              <a:gd name="connsiteY1" fmla="*/ 556687 h 588616"/>
              <a:gd name="connsiteX0" fmla="*/ 0 w 4184262"/>
              <a:gd name="connsiteY0" fmla="*/ 0 h 1346832"/>
              <a:gd name="connsiteX1" fmla="*/ 4184262 w 4184262"/>
              <a:gd name="connsiteY1" fmla="*/ 1338715 h 1346832"/>
              <a:gd name="connsiteX0" fmla="*/ 0 w 4184262"/>
              <a:gd name="connsiteY0" fmla="*/ 0 h 1338716"/>
              <a:gd name="connsiteX1" fmla="*/ 4184262 w 4184262"/>
              <a:gd name="connsiteY1" fmla="*/ 1338715 h 1338716"/>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4151371"/>
              <a:gd name="connsiteY0" fmla="*/ 0 h 1354674"/>
              <a:gd name="connsiteX1" fmla="*/ 4151371 w 4151371"/>
              <a:gd name="connsiteY1" fmla="*/ 1354673 h 1354674"/>
              <a:gd name="connsiteX0" fmla="*/ 0 w 7922444"/>
              <a:gd name="connsiteY0" fmla="*/ 0 h 1354674"/>
              <a:gd name="connsiteX1" fmla="*/ 7922444 w 7922444"/>
              <a:gd name="connsiteY1" fmla="*/ 1354674 h 1354674"/>
              <a:gd name="connsiteX0" fmla="*/ 0 w 7922444"/>
              <a:gd name="connsiteY0" fmla="*/ 0 h 1354674"/>
              <a:gd name="connsiteX1" fmla="*/ 7922444 w 7922444"/>
              <a:gd name="connsiteY1" fmla="*/ 1354674 h 1354674"/>
              <a:gd name="connsiteX0" fmla="*/ 0 w 7922444"/>
              <a:gd name="connsiteY0" fmla="*/ 0 h 1967324"/>
              <a:gd name="connsiteX1" fmla="*/ 7922444 w 7922444"/>
              <a:gd name="connsiteY1" fmla="*/ 1354674 h 1967324"/>
              <a:gd name="connsiteX0" fmla="*/ 0 w 7856669"/>
              <a:gd name="connsiteY0" fmla="*/ 0 h 1882889"/>
              <a:gd name="connsiteX1" fmla="*/ 7856669 w 7856669"/>
              <a:gd name="connsiteY1" fmla="*/ 1120598 h 1882889"/>
              <a:gd name="connsiteX0" fmla="*/ 0 w 7856669"/>
              <a:gd name="connsiteY0" fmla="*/ 0 h 1907225"/>
              <a:gd name="connsiteX1" fmla="*/ 7856669 w 7856669"/>
              <a:gd name="connsiteY1" fmla="*/ 1120598 h 1907225"/>
              <a:gd name="connsiteX0" fmla="*/ 0 w 7856669"/>
              <a:gd name="connsiteY0" fmla="*/ 0 h 1953216"/>
              <a:gd name="connsiteX1" fmla="*/ 7856669 w 7856669"/>
              <a:gd name="connsiteY1" fmla="*/ 1120598 h 1953216"/>
              <a:gd name="connsiteX0" fmla="*/ 0 w 6146531"/>
              <a:gd name="connsiteY0" fmla="*/ 0 h 2377876"/>
              <a:gd name="connsiteX1" fmla="*/ 6146531 w 6146531"/>
              <a:gd name="connsiteY1" fmla="*/ 2120738 h 2377876"/>
              <a:gd name="connsiteX0" fmla="*/ 0 w 6146531"/>
              <a:gd name="connsiteY0" fmla="*/ 0 h 2353527"/>
              <a:gd name="connsiteX1" fmla="*/ 6146531 w 6146531"/>
              <a:gd name="connsiteY1" fmla="*/ 2120738 h 2353527"/>
              <a:gd name="connsiteX0" fmla="*/ 0 w 6146531"/>
              <a:gd name="connsiteY0" fmla="*/ 0 h 2120739"/>
              <a:gd name="connsiteX1" fmla="*/ 6146531 w 6146531"/>
              <a:gd name="connsiteY1" fmla="*/ 2120738 h 2120739"/>
              <a:gd name="connsiteX0" fmla="*/ 0 w 6124606"/>
              <a:gd name="connsiteY0" fmla="*/ 0 h 2227137"/>
              <a:gd name="connsiteX1" fmla="*/ 6124606 w 6124606"/>
              <a:gd name="connsiteY1" fmla="*/ 2227137 h 2227137"/>
              <a:gd name="connsiteX0" fmla="*/ 0 w 6124606"/>
              <a:gd name="connsiteY0" fmla="*/ 0 h 2227137"/>
              <a:gd name="connsiteX1" fmla="*/ 6124606 w 6124606"/>
              <a:gd name="connsiteY1" fmla="*/ 2227137 h 2227137"/>
              <a:gd name="connsiteX0" fmla="*/ 0 w 6080756"/>
              <a:gd name="connsiteY0" fmla="*/ 0 h 1993062"/>
              <a:gd name="connsiteX1" fmla="*/ 6080756 w 6080756"/>
              <a:gd name="connsiteY1" fmla="*/ 1993062 h 1993062"/>
              <a:gd name="connsiteX0" fmla="*/ 0 w 6080756"/>
              <a:gd name="connsiteY0" fmla="*/ 0 h 2056901"/>
              <a:gd name="connsiteX1" fmla="*/ 6080756 w 6080756"/>
              <a:gd name="connsiteY1" fmla="*/ 2056901 h 2056901"/>
              <a:gd name="connsiteX0" fmla="*/ 0 w 6080756"/>
              <a:gd name="connsiteY0" fmla="*/ 0 h 2056901"/>
              <a:gd name="connsiteX1" fmla="*/ 6080756 w 6080756"/>
              <a:gd name="connsiteY1" fmla="*/ 2056901 h 2056901"/>
              <a:gd name="connsiteX0" fmla="*/ 0 w 6080756"/>
              <a:gd name="connsiteY0" fmla="*/ 0 h 2056901"/>
              <a:gd name="connsiteX1" fmla="*/ 6080756 w 6080756"/>
              <a:gd name="connsiteY1" fmla="*/ 2056901 h 2056901"/>
              <a:gd name="connsiteX0" fmla="*/ 0 w 6064314"/>
              <a:gd name="connsiteY0" fmla="*/ 0 h 2072866"/>
              <a:gd name="connsiteX1" fmla="*/ 6064314 w 6064314"/>
              <a:gd name="connsiteY1" fmla="*/ 2072866 h 2072866"/>
              <a:gd name="connsiteX0" fmla="*/ 0 w 7215365"/>
              <a:gd name="connsiteY0" fmla="*/ 0 h 3493277"/>
              <a:gd name="connsiteX1" fmla="*/ 7215365 w 7215365"/>
              <a:gd name="connsiteY1" fmla="*/ 3493277 h 3493277"/>
              <a:gd name="connsiteX0" fmla="*/ 0 w 7215365"/>
              <a:gd name="connsiteY0" fmla="*/ 0 h 3493277"/>
              <a:gd name="connsiteX1" fmla="*/ 7215365 w 7215365"/>
              <a:gd name="connsiteY1" fmla="*/ 3493277 h 3493277"/>
              <a:gd name="connsiteX0" fmla="*/ 0 w 7182481"/>
              <a:gd name="connsiteY0" fmla="*/ 0 h 3493277"/>
              <a:gd name="connsiteX1" fmla="*/ 7182481 w 7182481"/>
              <a:gd name="connsiteY1" fmla="*/ 3493277 h 3493277"/>
              <a:gd name="connsiteX0" fmla="*/ 0 w 7182481"/>
              <a:gd name="connsiteY0" fmla="*/ 0 h 3493277"/>
              <a:gd name="connsiteX1" fmla="*/ 7182481 w 7182481"/>
              <a:gd name="connsiteY1" fmla="*/ 3493277 h 3493277"/>
              <a:gd name="connsiteX0" fmla="*/ 0 w 7264704"/>
              <a:gd name="connsiteY0" fmla="*/ 0 h 3397516"/>
              <a:gd name="connsiteX1" fmla="*/ 7264704 w 7264704"/>
              <a:gd name="connsiteY1" fmla="*/ 3397516 h 3397516"/>
              <a:gd name="connsiteX0" fmla="*/ 0 w 7346927"/>
              <a:gd name="connsiteY0" fmla="*/ 0 h 3237916"/>
              <a:gd name="connsiteX1" fmla="*/ 7346927 w 7346927"/>
              <a:gd name="connsiteY1" fmla="*/ 3237916 h 3237916"/>
              <a:gd name="connsiteX0" fmla="*/ 0 w 7346927"/>
              <a:gd name="connsiteY0" fmla="*/ 0 h 3237916"/>
              <a:gd name="connsiteX1" fmla="*/ 7346927 w 7346927"/>
              <a:gd name="connsiteY1" fmla="*/ 3237916 h 3237916"/>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79811"/>
              <a:gd name="connsiteY0" fmla="*/ 0 h 3142154"/>
              <a:gd name="connsiteX1" fmla="*/ 7379811 w 7379811"/>
              <a:gd name="connsiteY1" fmla="*/ 3142154 h 3142154"/>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7330478"/>
              <a:gd name="connsiteY0" fmla="*/ 0 h 3126189"/>
              <a:gd name="connsiteX1" fmla="*/ 7330478 w 7330478"/>
              <a:gd name="connsiteY1" fmla="*/ 3126189 h 3126189"/>
              <a:gd name="connsiteX0" fmla="*/ 0 w 3625180"/>
              <a:gd name="connsiteY0" fmla="*/ 0 h 2062210"/>
              <a:gd name="connsiteX1" fmla="*/ 3625180 w 3625180"/>
              <a:gd name="connsiteY1" fmla="*/ 2062210 h 2062210"/>
              <a:gd name="connsiteX0" fmla="*/ 0 w 3625180"/>
              <a:gd name="connsiteY0" fmla="*/ 0 h 2062210"/>
              <a:gd name="connsiteX1" fmla="*/ 3625180 w 3625180"/>
              <a:gd name="connsiteY1" fmla="*/ 2062210 h 2062210"/>
              <a:gd name="connsiteX0" fmla="*/ 0 w 2997182"/>
              <a:gd name="connsiteY0" fmla="*/ 0 h 2670861"/>
              <a:gd name="connsiteX1" fmla="*/ 2997184 w 2997182"/>
              <a:gd name="connsiteY1" fmla="*/ 2670860 h 2670861"/>
              <a:gd name="connsiteX0" fmla="*/ 0 w 2997182"/>
              <a:gd name="connsiteY0" fmla="*/ 0 h 2670861"/>
              <a:gd name="connsiteX1" fmla="*/ 2997184 w 2997182"/>
              <a:gd name="connsiteY1" fmla="*/ 2670860 h 2670861"/>
            </a:gdLst>
            <a:ahLst/>
            <a:cxnLst>
              <a:cxn ang="0">
                <a:pos x="connsiteX0" y="connsiteY0"/>
              </a:cxn>
              <a:cxn ang="0">
                <a:pos x="connsiteX1" y="connsiteY1"/>
              </a:cxn>
            </a:cxnLst>
            <a:rect l="l" t="t" r="r" b="b"/>
            <a:pathLst>
              <a:path w="2997182" h="2670861">
                <a:moveTo>
                  <a:pt x="0" y="0"/>
                </a:moveTo>
                <a:cubicBezTo>
                  <a:pt x="1769621" y="1045448"/>
                  <a:pt x="2358624" y="694800"/>
                  <a:pt x="2997184" y="2670860"/>
                </a:cubicBezTo>
              </a:path>
            </a:pathLst>
          </a:custGeom>
          <a:noFill/>
          <a:ln w="12700" cap="flat" cmpd="sng" algn="ctr">
            <a:solidFill>
              <a:srgbClr val="138350"/>
            </a:solidFill>
            <a:prstDash val="solid"/>
            <a:round/>
            <a:headEnd type="none" w="med" len="med"/>
            <a:tailEnd type="triangle" w="sm" len="med"/>
          </a:ln>
          <a:effectLst/>
        </p:spPr>
        <p:txBody>
          <a:bodyPr rtlCol="0" anchor="ctr"/>
          <a:lstStyle/>
          <a:p>
            <a:pPr marL="0" marR="0" lvl="0" indent="0" algn="ctr" defTabSz="914400" rtl="0" eaLnBrk="0" fontAlgn="base" latinLnBrk="0" hangingPunct="0">
              <a:lnSpc>
                <a:spcPct val="100000"/>
              </a:lnSpc>
              <a:spcBef>
                <a:spcPct val="0"/>
              </a:spcBef>
              <a:spcAft>
                <a:spcPct val="20000"/>
              </a:spcAft>
              <a:buClrTx/>
              <a:buSzTx/>
              <a:buFontTx/>
              <a:buNone/>
              <a:tabLst/>
              <a:defRPr/>
            </a:pPr>
            <a:endParaRPr kumimoji="0" lang="de-DE"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7" name="Rechteck 156"/>
          <p:cNvSpPr/>
          <p:nvPr/>
        </p:nvSpPr>
        <p:spPr bwMode="auto">
          <a:xfrm>
            <a:off x="197800" y="1244005"/>
            <a:ext cx="756792" cy="107776"/>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de-DE" sz="900" b="1" i="0" u="none" strike="noStrike" kern="1200" cap="none" spc="0" normalizeH="0" baseline="0" noProof="0" dirty="0" smtClean="0">
                <a:ln>
                  <a:noFill/>
                </a:ln>
                <a:solidFill>
                  <a:srgbClr val="000000"/>
                </a:solidFill>
                <a:effectLst/>
                <a:uLnTx/>
                <a:uFillTx/>
                <a:latin typeface="Arial" panose="020B0604020202020204"/>
                <a:ea typeface="+mn-ea"/>
                <a:cs typeface="+mn-cs"/>
              </a:rPr>
              <a:t>Aktivsumme</a:t>
            </a:r>
          </a:p>
        </p:txBody>
      </p:sp>
      <p:sp>
        <p:nvSpPr>
          <p:cNvPr id="158" name="Rechteck 157"/>
          <p:cNvSpPr/>
          <p:nvPr/>
        </p:nvSpPr>
        <p:spPr bwMode="auto">
          <a:xfrm>
            <a:off x="5343473" y="5530378"/>
            <a:ext cx="506591" cy="264760"/>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46800" rIns="36000" bIns="46800" numCol="1" rtlCol="0" anchor="ctr" anchorCtr="0" compatLnSpc="1">
            <a:prstTxWarp prst="textNoShape">
              <a:avLst/>
            </a:prstTxWarp>
          </a:bodyPr>
          <a:lstStyle/>
          <a:p>
            <a:pPr marL="0" marR="0" lvl="0" indent="0" algn="l" defTabSz="914400" rtl="0" eaLnBrk="0" fontAlgn="base" latinLnBrk="0" hangingPunct="0">
              <a:lnSpc>
                <a:spcPct val="100000"/>
              </a:lnSpc>
              <a:spcBef>
                <a:spcPts val="0"/>
              </a:spcBef>
              <a:spcAft>
                <a:spcPts val="0"/>
              </a:spcAft>
              <a:buClrTx/>
              <a:buSzTx/>
              <a:buFontTx/>
              <a:buNone/>
              <a:tabLst/>
              <a:defRPr/>
            </a:pPr>
            <a:r>
              <a:rPr kumimoji="0" lang="de-DE" sz="900" b="1" i="0" u="none" strike="noStrike" kern="1200" cap="none" spc="0" normalizeH="0" baseline="0" noProof="0" dirty="0" smtClean="0">
                <a:ln>
                  <a:noFill/>
                </a:ln>
                <a:solidFill>
                  <a:srgbClr val="000000"/>
                </a:solidFill>
                <a:effectLst/>
                <a:uLnTx/>
                <a:uFillTx/>
                <a:latin typeface="Arial" panose="020B0604020202020204"/>
                <a:ea typeface="+mn-ea"/>
                <a:cs typeface="+mn-cs"/>
              </a:rPr>
              <a:t>Passiv-summe</a:t>
            </a:r>
          </a:p>
        </p:txBody>
      </p:sp>
    </p:spTree>
    <p:extLst>
      <p:ext uri="{BB962C8B-B14F-4D97-AF65-F5344CB8AC3E}">
        <p14:creationId xmlns:p14="http://schemas.microsoft.com/office/powerpoint/2010/main" val="263673538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1">
                                            <p:txEl>
                                              <p:pRg st="0" end="0"/>
                                            </p:txEl>
                                          </p:spTgt>
                                        </p:tgtEl>
                                        <p:attrNameLst>
                                          <p:attrName>style.visibility</p:attrName>
                                        </p:attrNameLst>
                                      </p:cBhvr>
                                      <p:to>
                                        <p:strVal val="visible"/>
                                      </p:to>
                                    </p:set>
                                    <p:animEffect transition="in" filter="fade">
                                      <p:cBhvr>
                                        <p:cTn id="7" dur="500"/>
                                        <p:tgtEl>
                                          <p:spTgt spid="27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6"/>
                                        </p:tgtEl>
                                        <p:attrNameLst>
                                          <p:attrName>style.visibility</p:attrName>
                                        </p:attrNameLst>
                                      </p:cBhvr>
                                      <p:to>
                                        <p:strVal val="visible"/>
                                      </p:to>
                                    </p:set>
                                    <p:animEffect transition="in" filter="fade">
                                      <p:cBhvr>
                                        <p:cTn id="10" dur="500"/>
                                        <p:tgtEl>
                                          <p:spTgt spid="14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71">
                                            <p:txEl>
                                              <p:pRg st="1" end="1"/>
                                            </p:txEl>
                                          </p:spTgt>
                                        </p:tgtEl>
                                        <p:attrNameLst>
                                          <p:attrName>style.visibility</p:attrName>
                                        </p:attrNameLst>
                                      </p:cBhvr>
                                      <p:to>
                                        <p:strVal val="visible"/>
                                      </p:to>
                                    </p:set>
                                    <p:animEffect transition="in" filter="fade">
                                      <p:cBhvr>
                                        <p:cTn id="15" dur="500"/>
                                        <p:tgtEl>
                                          <p:spTgt spid="271">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66"/>
                                        </p:tgtEl>
                                        <p:attrNameLst>
                                          <p:attrName>style.visibility</p:attrName>
                                        </p:attrNameLst>
                                      </p:cBhvr>
                                      <p:to>
                                        <p:strVal val="visible"/>
                                      </p:to>
                                    </p:set>
                                    <p:animEffect transition="in" filter="fade">
                                      <p:cBhvr>
                                        <p:cTn id="18" dur="500"/>
                                        <p:tgtEl>
                                          <p:spTgt spid="266"/>
                                        </p:tgtEl>
                                      </p:cBhvr>
                                    </p:animEffect>
                                  </p:childTnLst>
                                </p:cTn>
                              </p:par>
                              <p:par>
                                <p:cTn id="19" presetID="22" presetClass="entr" presetSubtype="8" repeatCount="3000" fill="hold" grpId="0" nodeType="withEffect">
                                  <p:stCondLst>
                                    <p:cond delay="0"/>
                                  </p:stCondLst>
                                  <p:childTnLst>
                                    <p:set>
                                      <p:cBhvr>
                                        <p:cTn id="20" dur="1" fill="hold">
                                          <p:stCondLst>
                                            <p:cond delay="0"/>
                                          </p:stCondLst>
                                        </p:cTn>
                                        <p:tgtEl>
                                          <p:spTgt spid="293"/>
                                        </p:tgtEl>
                                        <p:attrNameLst>
                                          <p:attrName>style.visibility</p:attrName>
                                        </p:attrNameLst>
                                      </p:cBhvr>
                                      <p:to>
                                        <p:strVal val="visible"/>
                                      </p:to>
                                    </p:set>
                                    <p:animEffect transition="in" filter="wipe(left)">
                                      <p:cBhvr>
                                        <p:cTn id="21" dur="2000"/>
                                        <p:tgtEl>
                                          <p:spTgt spid="293"/>
                                        </p:tgtEl>
                                      </p:cBhvr>
                                    </p:animEffect>
                                  </p:childTnLst>
                                </p:cTn>
                              </p:par>
                              <p:par>
                                <p:cTn id="22" presetID="22" presetClass="entr" presetSubtype="8" repeatCount="3000" fill="hold" grpId="0" nodeType="withEffect">
                                  <p:stCondLst>
                                    <p:cond delay="0"/>
                                  </p:stCondLst>
                                  <p:childTnLst>
                                    <p:set>
                                      <p:cBhvr>
                                        <p:cTn id="23" dur="1" fill="hold">
                                          <p:stCondLst>
                                            <p:cond delay="0"/>
                                          </p:stCondLst>
                                        </p:cTn>
                                        <p:tgtEl>
                                          <p:spTgt spid="294"/>
                                        </p:tgtEl>
                                        <p:attrNameLst>
                                          <p:attrName>style.visibility</p:attrName>
                                        </p:attrNameLst>
                                      </p:cBhvr>
                                      <p:to>
                                        <p:strVal val="visible"/>
                                      </p:to>
                                    </p:set>
                                    <p:animEffect transition="in" filter="wipe(left)">
                                      <p:cBhvr>
                                        <p:cTn id="24" dur="2000"/>
                                        <p:tgtEl>
                                          <p:spTgt spid="294"/>
                                        </p:tgtEl>
                                      </p:cBhvr>
                                    </p:animEffect>
                                  </p:childTnLst>
                                </p:cTn>
                              </p:par>
                              <p:par>
                                <p:cTn id="25" presetID="22" presetClass="entr" presetSubtype="2" repeatCount="3000" fill="hold" grpId="0" nodeType="withEffect">
                                  <p:stCondLst>
                                    <p:cond delay="0"/>
                                  </p:stCondLst>
                                  <p:childTnLst>
                                    <p:set>
                                      <p:cBhvr>
                                        <p:cTn id="26" dur="1" fill="hold">
                                          <p:stCondLst>
                                            <p:cond delay="0"/>
                                          </p:stCondLst>
                                        </p:cTn>
                                        <p:tgtEl>
                                          <p:spTgt spid="295"/>
                                        </p:tgtEl>
                                        <p:attrNameLst>
                                          <p:attrName>style.visibility</p:attrName>
                                        </p:attrNameLst>
                                      </p:cBhvr>
                                      <p:to>
                                        <p:strVal val="visible"/>
                                      </p:to>
                                    </p:set>
                                    <p:animEffect transition="in" filter="wipe(right)">
                                      <p:cBhvr>
                                        <p:cTn id="27" dur="2000"/>
                                        <p:tgtEl>
                                          <p:spTgt spid="295"/>
                                        </p:tgtEl>
                                      </p:cBhvr>
                                    </p:animEffect>
                                  </p:childTnLst>
                                </p:cTn>
                              </p:par>
                              <p:par>
                                <p:cTn id="28" presetID="22" presetClass="entr" presetSubtype="1" repeatCount="3000" fill="hold" grpId="0" nodeType="withEffect">
                                  <p:stCondLst>
                                    <p:cond delay="0"/>
                                  </p:stCondLst>
                                  <p:childTnLst>
                                    <p:set>
                                      <p:cBhvr>
                                        <p:cTn id="29" dur="1" fill="hold">
                                          <p:stCondLst>
                                            <p:cond delay="0"/>
                                          </p:stCondLst>
                                        </p:cTn>
                                        <p:tgtEl>
                                          <p:spTgt spid="296"/>
                                        </p:tgtEl>
                                        <p:attrNameLst>
                                          <p:attrName>style.visibility</p:attrName>
                                        </p:attrNameLst>
                                      </p:cBhvr>
                                      <p:to>
                                        <p:strVal val="visible"/>
                                      </p:to>
                                    </p:set>
                                    <p:animEffect transition="in" filter="wipe(up)">
                                      <p:cBhvr>
                                        <p:cTn id="30" dur="2000"/>
                                        <p:tgtEl>
                                          <p:spTgt spid="296"/>
                                        </p:tgtEl>
                                      </p:cBhvr>
                                    </p:animEffect>
                                  </p:childTnLst>
                                </p:cTn>
                              </p:par>
                              <p:par>
                                <p:cTn id="31" presetID="22" presetClass="entr" presetSubtype="2" repeatCount="3000" fill="hold" grpId="0" nodeType="withEffect">
                                  <p:stCondLst>
                                    <p:cond delay="0"/>
                                  </p:stCondLst>
                                  <p:childTnLst>
                                    <p:set>
                                      <p:cBhvr>
                                        <p:cTn id="32" dur="1" fill="hold">
                                          <p:stCondLst>
                                            <p:cond delay="0"/>
                                          </p:stCondLst>
                                        </p:cTn>
                                        <p:tgtEl>
                                          <p:spTgt spid="291"/>
                                        </p:tgtEl>
                                        <p:attrNameLst>
                                          <p:attrName>style.visibility</p:attrName>
                                        </p:attrNameLst>
                                      </p:cBhvr>
                                      <p:to>
                                        <p:strVal val="visible"/>
                                      </p:to>
                                    </p:set>
                                    <p:animEffect transition="in" filter="wipe(right)">
                                      <p:cBhvr>
                                        <p:cTn id="33" dur="2000"/>
                                        <p:tgtEl>
                                          <p:spTgt spid="291"/>
                                        </p:tgtEl>
                                      </p:cBhvr>
                                    </p:animEffect>
                                  </p:childTnLst>
                                </p:cTn>
                              </p:par>
                              <p:par>
                                <p:cTn id="34" presetID="22" presetClass="entr" presetSubtype="2" repeatCount="3000" fill="hold" grpId="0" nodeType="withEffect">
                                  <p:stCondLst>
                                    <p:cond delay="0"/>
                                  </p:stCondLst>
                                  <p:childTnLst>
                                    <p:set>
                                      <p:cBhvr>
                                        <p:cTn id="35" dur="1" fill="hold">
                                          <p:stCondLst>
                                            <p:cond delay="0"/>
                                          </p:stCondLst>
                                        </p:cTn>
                                        <p:tgtEl>
                                          <p:spTgt spid="274"/>
                                        </p:tgtEl>
                                        <p:attrNameLst>
                                          <p:attrName>style.visibility</p:attrName>
                                        </p:attrNameLst>
                                      </p:cBhvr>
                                      <p:to>
                                        <p:strVal val="visible"/>
                                      </p:to>
                                    </p:set>
                                    <p:animEffect transition="in" filter="wipe(right)">
                                      <p:cBhvr>
                                        <p:cTn id="36" dur="2000"/>
                                        <p:tgtEl>
                                          <p:spTgt spid="274"/>
                                        </p:tgtEl>
                                      </p:cBhvr>
                                    </p:animEffect>
                                  </p:childTnLst>
                                </p:cTn>
                              </p:par>
                              <p:par>
                                <p:cTn id="37" presetID="22" presetClass="entr" presetSubtype="8" repeatCount="3000" fill="hold" grpId="0" nodeType="withEffect">
                                  <p:stCondLst>
                                    <p:cond delay="0"/>
                                  </p:stCondLst>
                                  <p:childTnLst>
                                    <p:set>
                                      <p:cBhvr>
                                        <p:cTn id="38" dur="1" fill="hold">
                                          <p:stCondLst>
                                            <p:cond delay="0"/>
                                          </p:stCondLst>
                                        </p:cTn>
                                        <p:tgtEl>
                                          <p:spTgt spid="113"/>
                                        </p:tgtEl>
                                        <p:attrNameLst>
                                          <p:attrName>style.visibility</p:attrName>
                                        </p:attrNameLst>
                                      </p:cBhvr>
                                      <p:to>
                                        <p:strVal val="visible"/>
                                      </p:to>
                                    </p:set>
                                    <p:animEffect transition="in" filter="wipe(left)">
                                      <p:cBhvr>
                                        <p:cTn id="39" dur="2000"/>
                                        <p:tgtEl>
                                          <p:spTgt spid="113"/>
                                        </p:tgtEl>
                                      </p:cBhvr>
                                    </p:animEffect>
                                  </p:childTnLst>
                                </p:cTn>
                              </p:par>
                              <p:par>
                                <p:cTn id="40" presetID="22" presetClass="entr" presetSubtype="2" repeatCount="3000" fill="hold" grpId="0" nodeType="withEffect">
                                  <p:stCondLst>
                                    <p:cond delay="0"/>
                                  </p:stCondLst>
                                  <p:childTnLst>
                                    <p:set>
                                      <p:cBhvr>
                                        <p:cTn id="41" dur="1" fill="hold">
                                          <p:stCondLst>
                                            <p:cond delay="0"/>
                                          </p:stCondLst>
                                        </p:cTn>
                                        <p:tgtEl>
                                          <p:spTgt spid="115"/>
                                        </p:tgtEl>
                                        <p:attrNameLst>
                                          <p:attrName>style.visibility</p:attrName>
                                        </p:attrNameLst>
                                      </p:cBhvr>
                                      <p:to>
                                        <p:strVal val="visible"/>
                                      </p:to>
                                    </p:set>
                                    <p:animEffect transition="in" filter="wipe(right)">
                                      <p:cBhvr>
                                        <p:cTn id="42" dur="2000"/>
                                        <p:tgtEl>
                                          <p:spTgt spid="115"/>
                                        </p:tgtEl>
                                      </p:cBhvr>
                                    </p:animEffect>
                                  </p:childTnLst>
                                </p:cTn>
                              </p:par>
                              <p:par>
                                <p:cTn id="43" presetID="22" presetClass="entr" presetSubtype="2" repeatCount="3000" fill="hold" grpId="0" nodeType="withEffect">
                                  <p:stCondLst>
                                    <p:cond delay="0"/>
                                  </p:stCondLst>
                                  <p:childTnLst>
                                    <p:set>
                                      <p:cBhvr>
                                        <p:cTn id="44" dur="1" fill="hold">
                                          <p:stCondLst>
                                            <p:cond delay="0"/>
                                          </p:stCondLst>
                                        </p:cTn>
                                        <p:tgtEl>
                                          <p:spTgt spid="116"/>
                                        </p:tgtEl>
                                        <p:attrNameLst>
                                          <p:attrName>style.visibility</p:attrName>
                                        </p:attrNameLst>
                                      </p:cBhvr>
                                      <p:to>
                                        <p:strVal val="visible"/>
                                      </p:to>
                                    </p:set>
                                    <p:animEffect transition="in" filter="wipe(right)">
                                      <p:cBhvr>
                                        <p:cTn id="45" dur="2000"/>
                                        <p:tgtEl>
                                          <p:spTgt spid="116"/>
                                        </p:tgtEl>
                                      </p:cBhvr>
                                    </p:animEffect>
                                  </p:childTnLst>
                                </p:cTn>
                              </p:par>
                              <p:par>
                                <p:cTn id="46" presetID="22" presetClass="entr" presetSubtype="8" repeatCount="3000" fill="hold" grpId="0" nodeType="withEffect">
                                  <p:stCondLst>
                                    <p:cond delay="0"/>
                                  </p:stCondLst>
                                  <p:childTnLst>
                                    <p:set>
                                      <p:cBhvr>
                                        <p:cTn id="47" dur="1" fill="hold">
                                          <p:stCondLst>
                                            <p:cond delay="0"/>
                                          </p:stCondLst>
                                        </p:cTn>
                                        <p:tgtEl>
                                          <p:spTgt spid="292"/>
                                        </p:tgtEl>
                                        <p:attrNameLst>
                                          <p:attrName>style.visibility</p:attrName>
                                        </p:attrNameLst>
                                      </p:cBhvr>
                                      <p:to>
                                        <p:strVal val="visible"/>
                                      </p:to>
                                    </p:set>
                                    <p:animEffect transition="in" filter="wipe(left)">
                                      <p:cBhvr>
                                        <p:cTn id="48" dur="2000"/>
                                        <p:tgtEl>
                                          <p:spTgt spid="292"/>
                                        </p:tgtEl>
                                      </p:cBhvr>
                                    </p:animEffect>
                                  </p:childTnLst>
                                </p:cTn>
                              </p:par>
                              <p:par>
                                <p:cTn id="49" presetID="22" presetClass="entr" presetSubtype="8" repeatCount="3000" fill="hold" grpId="0" nodeType="withEffect">
                                  <p:stCondLst>
                                    <p:cond delay="0"/>
                                  </p:stCondLst>
                                  <p:childTnLst>
                                    <p:set>
                                      <p:cBhvr>
                                        <p:cTn id="50" dur="1" fill="hold">
                                          <p:stCondLst>
                                            <p:cond delay="0"/>
                                          </p:stCondLst>
                                        </p:cTn>
                                        <p:tgtEl>
                                          <p:spTgt spid="287"/>
                                        </p:tgtEl>
                                        <p:attrNameLst>
                                          <p:attrName>style.visibility</p:attrName>
                                        </p:attrNameLst>
                                      </p:cBhvr>
                                      <p:to>
                                        <p:strVal val="visible"/>
                                      </p:to>
                                    </p:set>
                                    <p:animEffect transition="in" filter="wipe(left)">
                                      <p:cBhvr>
                                        <p:cTn id="51" dur="2000"/>
                                        <p:tgtEl>
                                          <p:spTgt spid="287"/>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271">
                                            <p:txEl>
                                              <p:pRg st="2" end="2"/>
                                            </p:txEl>
                                          </p:spTgt>
                                        </p:tgtEl>
                                        <p:attrNameLst>
                                          <p:attrName>style.visibility</p:attrName>
                                        </p:attrNameLst>
                                      </p:cBhvr>
                                      <p:to>
                                        <p:strVal val="visible"/>
                                      </p:to>
                                    </p:set>
                                    <p:animEffect transition="in" filter="fade">
                                      <p:cBhvr>
                                        <p:cTn id="56" dur="500"/>
                                        <p:tgtEl>
                                          <p:spTgt spid="271">
                                            <p:txEl>
                                              <p:pRg st="2" end="2"/>
                                            </p:txEl>
                                          </p:spTgt>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72"/>
                                        </p:tgtEl>
                                        <p:attrNameLst>
                                          <p:attrName>style.visibility</p:attrName>
                                        </p:attrNameLst>
                                      </p:cBhvr>
                                      <p:to>
                                        <p:strVal val="visible"/>
                                      </p:to>
                                    </p:set>
                                    <p:animEffect transition="in" filter="fade">
                                      <p:cBhvr>
                                        <p:cTn id="59" dur="2500"/>
                                        <p:tgtEl>
                                          <p:spTgt spid="272"/>
                                        </p:tgtEl>
                                      </p:cBhvr>
                                    </p:animEffect>
                                  </p:childTnLst>
                                </p:cTn>
                              </p:par>
                              <p:par>
                                <p:cTn id="60" presetID="22" presetClass="entr" presetSubtype="8" repeatCount="3000" fill="hold" grpId="0" nodeType="withEffect">
                                  <p:stCondLst>
                                    <p:cond delay="0"/>
                                  </p:stCondLst>
                                  <p:childTnLst>
                                    <p:set>
                                      <p:cBhvr>
                                        <p:cTn id="61" dur="1" fill="hold">
                                          <p:stCondLst>
                                            <p:cond delay="0"/>
                                          </p:stCondLst>
                                        </p:cTn>
                                        <p:tgtEl>
                                          <p:spTgt spid="297"/>
                                        </p:tgtEl>
                                        <p:attrNameLst>
                                          <p:attrName>style.visibility</p:attrName>
                                        </p:attrNameLst>
                                      </p:cBhvr>
                                      <p:to>
                                        <p:strVal val="visible"/>
                                      </p:to>
                                    </p:set>
                                    <p:animEffect transition="in" filter="wipe(left)">
                                      <p:cBhvr>
                                        <p:cTn id="62" dur="2500"/>
                                        <p:tgtEl>
                                          <p:spTgt spid="297"/>
                                        </p:tgtEl>
                                      </p:cBhvr>
                                    </p:animEffect>
                                  </p:childTnLst>
                                </p:cTn>
                              </p:par>
                              <p:par>
                                <p:cTn id="63" presetID="22" presetClass="entr" presetSubtype="8" repeatCount="3000" fill="hold" grpId="0" nodeType="withEffect">
                                  <p:stCondLst>
                                    <p:cond delay="0"/>
                                  </p:stCondLst>
                                  <p:childTnLst>
                                    <p:set>
                                      <p:cBhvr>
                                        <p:cTn id="64" dur="1" fill="hold">
                                          <p:stCondLst>
                                            <p:cond delay="0"/>
                                          </p:stCondLst>
                                        </p:cTn>
                                        <p:tgtEl>
                                          <p:spTgt spid="298"/>
                                        </p:tgtEl>
                                        <p:attrNameLst>
                                          <p:attrName>style.visibility</p:attrName>
                                        </p:attrNameLst>
                                      </p:cBhvr>
                                      <p:to>
                                        <p:strVal val="visible"/>
                                      </p:to>
                                    </p:set>
                                    <p:animEffect transition="in" filter="wipe(left)">
                                      <p:cBhvr>
                                        <p:cTn id="65" dur="2500"/>
                                        <p:tgtEl>
                                          <p:spTgt spid="298"/>
                                        </p:tgtEl>
                                      </p:cBhvr>
                                    </p:animEffect>
                                  </p:childTnLst>
                                </p:cTn>
                              </p:par>
                              <p:par>
                                <p:cTn id="66" presetID="22" presetClass="entr" presetSubtype="1" repeatCount="3000" fill="hold" grpId="0" nodeType="withEffect">
                                  <p:stCondLst>
                                    <p:cond delay="0"/>
                                  </p:stCondLst>
                                  <p:childTnLst>
                                    <p:set>
                                      <p:cBhvr>
                                        <p:cTn id="67" dur="1" fill="hold">
                                          <p:stCondLst>
                                            <p:cond delay="0"/>
                                          </p:stCondLst>
                                        </p:cTn>
                                        <p:tgtEl>
                                          <p:spTgt spid="300"/>
                                        </p:tgtEl>
                                        <p:attrNameLst>
                                          <p:attrName>style.visibility</p:attrName>
                                        </p:attrNameLst>
                                      </p:cBhvr>
                                      <p:to>
                                        <p:strVal val="visible"/>
                                      </p:to>
                                    </p:set>
                                    <p:animEffect transition="in" filter="wipe(up)">
                                      <p:cBhvr>
                                        <p:cTn id="68" dur="2500"/>
                                        <p:tgtEl>
                                          <p:spTgt spid="300"/>
                                        </p:tgtEl>
                                      </p:cBhvr>
                                    </p:animEffect>
                                  </p:childTnLst>
                                </p:cTn>
                              </p:par>
                              <p:par>
                                <p:cTn id="69" presetID="22" presetClass="entr" presetSubtype="1" repeatCount="3000" fill="hold" grpId="0" nodeType="withEffect">
                                  <p:stCondLst>
                                    <p:cond delay="0"/>
                                  </p:stCondLst>
                                  <p:childTnLst>
                                    <p:set>
                                      <p:cBhvr>
                                        <p:cTn id="70" dur="1" fill="hold">
                                          <p:stCondLst>
                                            <p:cond delay="0"/>
                                          </p:stCondLst>
                                        </p:cTn>
                                        <p:tgtEl>
                                          <p:spTgt spid="305"/>
                                        </p:tgtEl>
                                        <p:attrNameLst>
                                          <p:attrName>style.visibility</p:attrName>
                                        </p:attrNameLst>
                                      </p:cBhvr>
                                      <p:to>
                                        <p:strVal val="visible"/>
                                      </p:to>
                                    </p:set>
                                    <p:animEffect transition="in" filter="wipe(up)">
                                      <p:cBhvr>
                                        <p:cTn id="71" dur="2500"/>
                                        <p:tgtEl>
                                          <p:spTgt spid="305"/>
                                        </p:tgtEl>
                                      </p:cBhvr>
                                    </p:animEffect>
                                  </p:childTnLst>
                                </p:cTn>
                              </p:par>
                              <p:par>
                                <p:cTn id="72" presetID="22" presetClass="entr" presetSubtype="1" repeatCount="3000" fill="hold" grpId="0" nodeType="withEffect">
                                  <p:stCondLst>
                                    <p:cond delay="0"/>
                                  </p:stCondLst>
                                  <p:childTnLst>
                                    <p:set>
                                      <p:cBhvr>
                                        <p:cTn id="73" dur="1" fill="hold">
                                          <p:stCondLst>
                                            <p:cond delay="0"/>
                                          </p:stCondLst>
                                        </p:cTn>
                                        <p:tgtEl>
                                          <p:spTgt spid="303"/>
                                        </p:tgtEl>
                                        <p:attrNameLst>
                                          <p:attrName>style.visibility</p:attrName>
                                        </p:attrNameLst>
                                      </p:cBhvr>
                                      <p:to>
                                        <p:strVal val="visible"/>
                                      </p:to>
                                    </p:set>
                                    <p:animEffect transition="in" filter="wipe(up)">
                                      <p:cBhvr>
                                        <p:cTn id="74" dur="2500"/>
                                        <p:tgtEl>
                                          <p:spTgt spid="303"/>
                                        </p:tgtEl>
                                      </p:cBhvr>
                                    </p:animEffect>
                                  </p:childTnLst>
                                </p:cTn>
                              </p:par>
                              <p:par>
                                <p:cTn id="75" presetID="22" presetClass="entr" presetSubtype="1" repeatCount="3000" fill="hold" grpId="0" nodeType="withEffect">
                                  <p:stCondLst>
                                    <p:cond delay="0"/>
                                  </p:stCondLst>
                                  <p:childTnLst>
                                    <p:set>
                                      <p:cBhvr>
                                        <p:cTn id="76" dur="1" fill="hold">
                                          <p:stCondLst>
                                            <p:cond delay="0"/>
                                          </p:stCondLst>
                                        </p:cTn>
                                        <p:tgtEl>
                                          <p:spTgt spid="304"/>
                                        </p:tgtEl>
                                        <p:attrNameLst>
                                          <p:attrName>style.visibility</p:attrName>
                                        </p:attrNameLst>
                                      </p:cBhvr>
                                      <p:to>
                                        <p:strVal val="visible"/>
                                      </p:to>
                                    </p:set>
                                    <p:animEffect transition="in" filter="wipe(up)">
                                      <p:cBhvr>
                                        <p:cTn id="77" dur="2500"/>
                                        <p:tgtEl>
                                          <p:spTgt spid="304"/>
                                        </p:tgtEl>
                                      </p:cBhvr>
                                    </p:animEffect>
                                  </p:childTnLst>
                                </p:cTn>
                              </p:par>
                              <p:par>
                                <p:cTn id="78" presetID="22" presetClass="entr" presetSubtype="8" repeatCount="3000" fill="hold" grpId="0" nodeType="withEffect">
                                  <p:stCondLst>
                                    <p:cond delay="0"/>
                                  </p:stCondLst>
                                  <p:childTnLst>
                                    <p:set>
                                      <p:cBhvr>
                                        <p:cTn id="79" dur="1" fill="hold">
                                          <p:stCondLst>
                                            <p:cond delay="0"/>
                                          </p:stCondLst>
                                        </p:cTn>
                                        <p:tgtEl>
                                          <p:spTgt spid="301"/>
                                        </p:tgtEl>
                                        <p:attrNameLst>
                                          <p:attrName>style.visibility</p:attrName>
                                        </p:attrNameLst>
                                      </p:cBhvr>
                                      <p:to>
                                        <p:strVal val="visible"/>
                                      </p:to>
                                    </p:set>
                                    <p:animEffect transition="in" filter="wipe(left)">
                                      <p:cBhvr>
                                        <p:cTn id="80" dur="2500"/>
                                        <p:tgtEl>
                                          <p:spTgt spid="301"/>
                                        </p:tgtEl>
                                      </p:cBhvr>
                                    </p:animEffect>
                                  </p:childTnLst>
                                </p:cTn>
                              </p:par>
                              <p:par>
                                <p:cTn id="81" presetID="22" presetClass="entr" presetSubtype="1" repeatCount="3000" fill="hold" grpId="0" nodeType="withEffect">
                                  <p:stCondLst>
                                    <p:cond delay="0"/>
                                  </p:stCondLst>
                                  <p:childTnLst>
                                    <p:set>
                                      <p:cBhvr>
                                        <p:cTn id="82" dur="1" fill="hold">
                                          <p:stCondLst>
                                            <p:cond delay="0"/>
                                          </p:stCondLst>
                                        </p:cTn>
                                        <p:tgtEl>
                                          <p:spTgt spid="299"/>
                                        </p:tgtEl>
                                        <p:attrNameLst>
                                          <p:attrName>style.visibility</p:attrName>
                                        </p:attrNameLst>
                                      </p:cBhvr>
                                      <p:to>
                                        <p:strVal val="visible"/>
                                      </p:to>
                                    </p:set>
                                    <p:animEffect transition="in" filter="wipe(up)">
                                      <p:cBhvr>
                                        <p:cTn id="83" dur="2500"/>
                                        <p:tgtEl>
                                          <p:spTgt spid="299"/>
                                        </p:tgtEl>
                                      </p:cBhvr>
                                    </p:animEffect>
                                  </p:childTnLst>
                                </p:cTn>
                              </p:par>
                              <p:par>
                                <p:cTn id="84" presetID="22" presetClass="entr" presetSubtype="1" repeatCount="3000" fill="hold" grpId="0" nodeType="withEffect">
                                  <p:stCondLst>
                                    <p:cond delay="0"/>
                                  </p:stCondLst>
                                  <p:childTnLst>
                                    <p:set>
                                      <p:cBhvr>
                                        <p:cTn id="85" dur="1" fill="hold">
                                          <p:stCondLst>
                                            <p:cond delay="0"/>
                                          </p:stCondLst>
                                        </p:cTn>
                                        <p:tgtEl>
                                          <p:spTgt spid="306"/>
                                        </p:tgtEl>
                                        <p:attrNameLst>
                                          <p:attrName>style.visibility</p:attrName>
                                        </p:attrNameLst>
                                      </p:cBhvr>
                                      <p:to>
                                        <p:strVal val="visible"/>
                                      </p:to>
                                    </p:set>
                                    <p:animEffect transition="in" filter="wipe(up)">
                                      <p:cBhvr>
                                        <p:cTn id="86" dur="2500"/>
                                        <p:tgtEl>
                                          <p:spTgt spid="306"/>
                                        </p:tgtEl>
                                      </p:cBhvr>
                                    </p:animEffect>
                                  </p:childTnLst>
                                </p:cTn>
                              </p:par>
                              <p:par>
                                <p:cTn id="87" presetID="22" presetClass="entr" presetSubtype="8" repeatCount="3000" fill="hold" grpId="0" nodeType="withEffect">
                                  <p:stCondLst>
                                    <p:cond delay="0"/>
                                  </p:stCondLst>
                                  <p:childTnLst>
                                    <p:set>
                                      <p:cBhvr>
                                        <p:cTn id="88" dur="1" fill="hold">
                                          <p:stCondLst>
                                            <p:cond delay="0"/>
                                          </p:stCondLst>
                                        </p:cTn>
                                        <p:tgtEl>
                                          <p:spTgt spid="127"/>
                                        </p:tgtEl>
                                        <p:attrNameLst>
                                          <p:attrName>style.visibility</p:attrName>
                                        </p:attrNameLst>
                                      </p:cBhvr>
                                      <p:to>
                                        <p:strVal val="visible"/>
                                      </p:to>
                                    </p:set>
                                    <p:animEffect transition="in" filter="wipe(left)">
                                      <p:cBhvr>
                                        <p:cTn id="89" dur="2500"/>
                                        <p:tgtEl>
                                          <p:spTgt spid="127"/>
                                        </p:tgtEl>
                                      </p:cBhvr>
                                    </p:animEffect>
                                  </p:childTnLst>
                                </p:cTn>
                              </p:par>
                              <p:par>
                                <p:cTn id="90" presetID="22" presetClass="entr" presetSubtype="8" repeatCount="3000" fill="hold" grpId="0" nodeType="withEffect">
                                  <p:stCondLst>
                                    <p:cond delay="0"/>
                                  </p:stCondLst>
                                  <p:childTnLst>
                                    <p:set>
                                      <p:cBhvr>
                                        <p:cTn id="91" dur="1" fill="hold">
                                          <p:stCondLst>
                                            <p:cond delay="0"/>
                                          </p:stCondLst>
                                        </p:cTn>
                                        <p:tgtEl>
                                          <p:spTgt spid="143"/>
                                        </p:tgtEl>
                                        <p:attrNameLst>
                                          <p:attrName>style.visibility</p:attrName>
                                        </p:attrNameLst>
                                      </p:cBhvr>
                                      <p:to>
                                        <p:strVal val="visible"/>
                                      </p:to>
                                    </p:set>
                                    <p:animEffect transition="in" filter="wipe(left)">
                                      <p:cBhvr>
                                        <p:cTn id="92" dur="2500"/>
                                        <p:tgtEl>
                                          <p:spTgt spid="143"/>
                                        </p:tgtEl>
                                      </p:cBhvr>
                                    </p:animEffect>
                                  </p:childTnLst>
                                </p:cTn>
                              </p:par>
                              <p:par>
                                <p:cTn id="93" presetID="22" presetClass="entr" presetSubtype="8" repeatCount="3000" fill="hold" grpId="0" nodeType="withEffect">
                                  <p:stCondLst>
                                    <p:cond delay="0"/>
                                  </p:stCondLst>
                                  <p:childTnLst>
                                    <p:set>
                                      <p:cBhvr>
                                        <p:cTn id="94" dur="1" fill="hold">
                                          <p:stCondLst>
                                            <p:cond delay="0"/>
                                          </p:stCondLst>
                                        </p:cTn>
                                        <p:tgtEl>
                                          <p:spTgt spid="148"/>
                                        </p:tgtEl>
                                        <p:attrNameLst>
                                          <p:attrName>style.visibility</p:attrName>
                                        </p:attrNameLst>
                                      </p:cBhvr>
                                      <p:to>
                                        <p:strVal val="visible"/>
                                      </p:to>
                                    </p:set>
                                    <p:animEffect transition="in" filter="wipe(left)">
                                      <p:cBhvr>
                                        <p:cTn id="95" dur="2500"/>
                                        <p:tgtEl>
                                          <p:spTgt spid="148"/>
                                        </p:tgtEl>
                                      </p:cBhvr>
                                    </p:animEffect>
                                  </p:childTnLst>
                                </p:cTn>
                              </p:par>
                              <p:par>
                                <p:cTn id="96" presetID="22" presetClass="entr" presetSubtype="8" repeatCount="3000" fill="hold" grpId="0" nodeType="withEffect">
                                  <p:stCondLst>
                                    <p:cond delay="0"/>
                                  </p:stCondLst>
                                  <p:childTnLst>
                                    <p:set>
                                      <p:cBhvr>
                                        <p:cTn id="97" dur="1" fill="hold">
                                          <p:stCondLst>
                                            <p:cond delay="0"/>
                                          </p:stCondLst>
                                        </p:cTn>
                                        <p:tgtEl>
                                          <p:spTgt spid="149"/>
                                        </p:tgtEl>
                                        <p:attrNameLst>
                                          <p:attrName>style.visibility</p:attrName>
                                        </p:attrNameLst>
                                      </p:cBhvr>
                                      <p:to>
                                        <p:strVal val="visible"/>
                                      </p:to>
                                    </p:set>
                                    <p:animEffect transition="in" filter="wipe(left)">
                                      <p:cBhvr>
                                        <p:cTn id="98" dur="2500"/>
                                        <p:tgtEl>
                                          <p:spTgt spid="149"/>
                                        </p:tgtEl>
                                      </p:cBhvr>
                                    </p:animEffect>
                                  </p:childTnLst>
                                </p:cTn>
                              </p:par>
                              <p:par>
                                <p:cTn id="99" presetID="22" presetClass="entr" presetSubtype="8" repeatCount="3000" fill="hold" grpId="0" nodeType="withEffect">
                                  <p:stCondLst>
                                    <p:cond delay="0"/>
                                  </p:stCondLst>
                                  <p:childTnLst>
                                    <p:set>
                                      <p:cBhvr>
                                        <p:cTn id="100" dur="1" fill="hold">
                                          <p:stCondLst>
                                            <p:cond delay="0"/>
                                          </p:stCondLst>
                                        </p:cTn>
                                        <p:tgtEl>
                                          <p:spTgt spid="150"/>
                                        </p:tgtEl>
                                        <p:attrNameLst>
                                          <p:attrName>style.visibility</p:attrName>
                                        </p:attrNameLst>
                                      </p:cBhvr>
                                      <p:to>
                                        <p:strVal val="visible"/>
                                      </p:to>
                                    </p:set>
                                    <p:animEffect transition="in" filter="wipe(left)">
                                      <p:cBhvr>
                                        <p:cTn id="101" dur="2500"/>
                                        <p:tgtEl>
                                          <p:spTgt spid="150"/>
                                        </p:tgtEl>
                                      </p:cBhvr>
                                    </p:animEffect>
                                  </p:childTnLst>
                                </p:cTn>
                              </p:par>
                              <p:par>
                                <p:cTn id="102" presetID="22" presetClass="entr" presetSubtype="8" repeatCount="3000" fill="hold" grpId="0" nodeType="withEffect">
                                  <p:stCondLst>
                                    <p:cond delay="0"/>
                                  </p:stCondLst>
                                  <p:childTnLst>
                                    <p:set>
                                      <p:cBhvr>
                                        <p:cTn id="103" dur="1" fill="hold">
                                          <p:stCondLst>
                                            <p:cond delay="0"/>
                                          </p:stCondLst>
                                        </p:cTn>
                                        <p:tgtEl>
                                          <p:spTgt spid="154"/>
                                        </p:tgtEl>
                                        <p:attrNameLst>
                                          <p:attrName>style.visibility</p:attrName>
                                        </p:attrNameLst>
                                      </p:cBhvr>
                                      <p:to>
                                        <p:strVal val="visible"/>
                                      </p:to>
                                    </p:set>
                                    <p:animEffect transition="in" filter="wipe(left)">
                                      <p:cBhvr>
                                        <p:cTn id="104" dur="2500"/>
                                        <p:tgtEl>
                                          <p:spTgt spid="154"/>
                                        </p:tgtEl>
                                      </p:cBhvr>
                                    </p:animEffect>
                                  </p:childTnLst>
                                </p:cTn>
                              </p:par>
                            </p:childTnLst>
                          </p:cTn>
                        </p:par>
                      </p:childTnLst>
                    </p:cTn>
                  </p:par>
                  <p:par>
                    <p:cTn id="105" fill="hold">
                      <p:stCondLst>
                        <p:cond delay="indefinite"/>
                      </p:stCondLst>
                      <p:childTnLst>
                        <p:par>
                          <p:cTn id="106" fill="hold">
                            <p:stCondLst>
                              <p:cond delay="0"/>
                            </p:stCondLst>
                            <p:childTnLst>
                              <p:par>
                                <p:cTn id="107" presetID="10" presetClass="entr" presetSubtype="0" fill="hold" nodeType="clickEffect">
                                  <p:stCondLst>
                                    <p:cond delay="0"/>
                                  </p:stCondLst>
                                  <p:childTnLst>
                                    <p:set>
                                      <p:cBhvr>
                                        <p:cTn id="108" dur="1" fill="hold">
                                          <p:stCondLst>
                                            <p:cond delay="0"/>
                                          </p:stCondLst>
                                        </p:cTn>
                                        <p:tgtEl>
                                          <p:spTgt spid="271">
                                            <p:txEl>
                                              <p:pRg st="3" end="3"/>
                                            </p:txEl>
                                          </p:spTgt>
                                        </p:tgtEl>
                                        <p:attrNameLst>
                                          <p:attrName>style.visibility</p:attrName>
                                        </p:attrNameLst>
                                      </p:cBhvr>
                                      <p:to>
                                        <p:strVal val="visible"/>
                                      </p:to>
                                    </p:set>
                                    <p:animEffect transition="in" filter="fade">
                                      <p:cBhvr>
                                        <p:cTn id="109" dur="500"/>
                                        <p:tgtEl>
                                          <p:spTgt spid="271">
                                            <p:txEl>
                                              <p:pRg st="3" end="3"/>
                                            </p:txEl>
                                          </p:spTgt>
                                        </p:tgtEl>
                                      </p:cBhvr>
                                    </p:animEffect>
                                  </p:childTnLst>
                                </p:cTn>
                              </p:par>
                            </p:childTnLst>
                          </p:cTn>
                        </p:par>
                      </p:childTnLst>
                    </p:cTn>
                  </p:par>
                  <p:par>
                    <p:cTn id="110" fill="hold">
                      <p:stCondLst>
                        <p:cond delay="indefinite"/>
                      </p:stCondLst>
                      <p:childTnLst>
                        <p:par>
                          <p:cTn id="111" fill="hold">
                            <p:stCondLst>
                              <p:cond delay="0"/>
                            </p:stCondLst>
                            <p:childTnLst>
                              <p:par>
                                <p:cTn id="112" presetID="10" presetClass="entr" presetSubtype="0" fill="hold" nodeType="clickEffect">
                                  <p:stCondLst>
                                    <p:cond delay="0"/>
                                  </p:stCondLst>
                                  <p:childTnLst>
                                    <p:set>
                                      <p:cBhvr>
                                        <p:cTn id="113" dur="1" fill="hold">
                                          <p:stCondLst>
                                            <p:cond delay="0"/>
                                          </p:stCondLst>
                                        </p:cTn>
                                        <p:tgtEl>
                                          <p:spTgt spid="271">
                                            <p:txEl>
                                              <p:pRg st="5" end="5"/>
                                            </p:txEl>
                                          </p:spTgt>
                                        </p:tgtEl>
                                        <p:attrNameLst>
                                          <p:attrName>style.visibility</p:attrName>
                                        </p:attrNameLst>
                                      </p:cBhvr>
                                      <p:to>
                                        <p:strVal val="visible"/>
                                      </p:to>
                                    </p:set>
                                    <p:animEffect transition="in" filter="fade">
                                      <p:cBhvr>
                                        <p:cTn id="114" dur="500"/>
                                        <p:tgtEl>
                                          <p:spTgt spid="271">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2" grpId="0" animBg="1"/>
      <p:bldP spid="146" grpId="0" animBg="1"/>
      <p:bldP spid="266" grpId="0" animBg="1"/>
      <p:bldP spid="274" grpId="0" animBg="1"/>
      <p:bldP spid="287" grpId="0" animBg="1"/>
      <p:bldP spid="291" grpId="0" animBg="1"/>
      <p:bldP spid="292" grpId="0" animBg="1"/>
      <p:bldP spid="293" grpId="0" animBg="1"/>
      <p:bldP spid="294" grpId="0" animBg="1"/>
      <p:bldP spid="295" grpId="0" animBg="1"/>
      <p:bldP spid="296" grpId="0" animBg="1"/>
      <p:bldP spid="299" grpId="0" animBg="1"/>
      <p:bldP spid="300" grpId="0" animBg="1"/>
      <p:bldP spid="303" grpId="0" animBg="1"/>
      <p:bldP spid="304" grpId="0" animBg="1"/>
      <p:bldP spid="305" grpId="0" animBg="1"/>
      <p:bldP spid="306" grpId="0" animBg="1"/>
      <p:bldP spid="113" grpId="0" animBg="1"/>
      <p:bldP spid="115" grpId="0" animBg="1"/>
      <p:bldP spid="116" grpId="0" animBg="1"/>
      <p:bldP spid="127" grpId="0" animBg="1"/>
      <p:bldP spid="150" grpId="0" animBg="1"/>
      <p:bldP spid="149" grpId="0" animBg="1"/>
      <p:bldP spid="148" grpId="0" animBg="1"/>
      <p:bldP spid="143" grpId="0" animBg="1"/>
      <p:bldP spid="154" grpId="0" animBg="1"/>
      <p:bldP spid="298" grpId="0" animBg="1"/>
      <p:bldP spid="297" grpId="0" animBg="1"/>
      <p:bldP spid="301"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Grafik 43"/>
          <p:cNvPicPr>
            <a:picLocks noChangeAspect="1"/>
          </p:cNvPicPr>
          <p:nvPr/>
        </p:nvPicPr>
        <p:blipFill>
          <a:blip r:embed="rId2"/>
          <a:stretch>
            <a:fillRect/>
          </a:stretch>
        </p:blipFill>
        <p:spPr>
          <a:xfrm rot="5400000">
            <a:off x="1641998" y="-110601"/>
            <a:ext cx="5511799" cy="8425406"/>
          </a:xfrm>
          <a:prstGeom prst="rect">
            <a:avLst/>
          </a:prstGeom>
        </p:spPr>
      </p:pic>
      <p:sp>
        <p:nvSpPr>
          <p:cNvPr id="2" name="Titel 1"/>
          <p:cNvSpPr>
            <a:spLocks noGrp="1"/>
          </p:cNvSpPr>
          <p:nvPr>
            <p:ph type="title"/>
          </p:nvPr>
        </p:nvSpPr>
        <p:spPr>
          <a:xfrm>
            <a:off x="0" y="774411"/>
            <a:ext cx="9906000" cy="611188"/>
          </a:xfrm>
        </p:spPr>
        <p:txBody>
          <a:bodyPr/>
          <a:lstStyle/>
          <a:p>
            <a:r>
              <a:rPr lang="de-DE" sz="1800" dirty="0">
                <a:cs typeface="Calibri" panose="020F0502020204030204" pitchFamily="34" charset="0"/>
              </a:rPr>
              <a:t>Systemische Priorisierung der </a:t>
            </a:r>
            <a:r>
              <a:rPr lang="de-DE" sz="1800" dirty="0" smtClean="0">
                <a:cs typeface="Calibri" panose="020F0502020204030204" pitchFamily="34" charset="0"/>
              </a:rPr>
              <a:t>Handlungsempfehlungen </a:t>
            </a:r>
            <a:r>
              <a:rPr lang="de-DE" sz="1800" dirty="0">
                <a:cs typeface="Calibri" panose="020F0502020204030204" pitchFamily="34" charset="0"/>
              </a:rPr>
              <a:t>durch das Malik Experten-Team</a:t>
            </a:r>
            <a:br>
              <a:rPr lang="de-DE" sz="1800" dirty="0">
                <a:cs typeface="Calibri" panose="020F0502020204030204" pitchFamily="34" charset="0"/>
              </a:rPr>
            </a:br>
            <a:r>
              <a:rPr lang="de-DE" sz="1800" u="sng" dirty="0" smtClean="0">
                <a:solidFill>
                  <a:srgbClr val="00B050"/>
                </a:solidFill>
                <a:cs typeface="Calibri" panose="020F0502020204030204" pitchFamily="34" charset="0"/>
              </a:rPr>
              <a:t>15 (=65%) </a:t>
            </a:r>
            <a:r>
              <a:rPr lang="de-DE" sz="1800" u="sng" dirty="0">
                <a:solidFill>
                  <a:srgbClr val="00B050"/>
                </a:solidFill>
                <a:cs typeface="Calibri" panose="020F0502020204030204" pitchFamily="34" charset="0"/>
              </a:rPr>
              <a:t>der Handlungsempfehlungen machen &gt; 80% der Wirkung</a:t>
            </a:r>
            <a:endParaRPr lang="en-GB" sz="1800" dirty="0"/>
          </a:p>
        </p:txBody>
      </p:sp>
      <p:grpSp>
        <p:nvGrpSpPr>
          <p:cNvPr id="5" name="Gruppieren 4"/>
          <p:cNvGrpSpPr/>
          <p:nvPr/>
        </p:nvGrpSpPr>
        <p:grpSpPr>
          <a:xfrm rot="5400000">
            <a:off x="3486517" y="3652501"/>
            <a:ext cx="3471192" cy="2134157"/>
            <a:chOff x="-4579769" y="3818956"/>
            <a:chExt cx="3624489" cy="1585357"/>
          </a:xfrm>
        </p:grpSpPr>
        <p:cxnSp>
          <p:nvCxnSpPr>
            <p:cNvPr id="6" name="Gerader Verbinder 21"/>
            <p:cNvCxnSpPr/>
            <p:nvPr/>
          </p:nvCxnSpPr>
          <p:spPr bwMode="auto">
            <a:xfrm rot="16200000">
              <a:off x="-2760454" y="2013782"/>
              <a:ext cx="0" cy="3610349"/>
            </a:xfrm>
            <a:prstGeom prst="line">
              <a:avLst/>
            </a:prstGeom>
            <a:solidFill>
              <a:schemeClr val="accent1"/>
            </a:solidFill>
            <a:ln w="12700" cap="rnd" cmpd="sng" algn="ctr">
              <a:solidFill>
                <a:srgbClr val="C00000"/>
              </a:solidFill>
              <a:prstDash val="sysDash"/>
              <a:round/>
              <a:headEnd type="none" w="med" len="med"/>
              <a:tailEnd type="triangle" w="sm" len="med"/>
            </a:ln>
            <a:effectLst/>
          </p:spPr>
        </p:cxnSp>
        <p:cxnSp>
          <p:nvCxnSpPr>
            <p:cNvPr id="7" name="Gerader Verbinder 21"/>
            <p:cNvCxnSpPr/>
            <p:nvPr/>
          </p:nvCxnSpPr>
          <p:spPr bwMode="auto">
            <a:xfrm rot="16200000">
              <a:off x="-4630825" y="3870012"/>
              <a:ext cx="102442" cy="330"/>
            </a:xfrm>
            <a:prstGeom prst="line">
              <a:avLst/>
            </a:prstGeom>
            <a:solidFill>
              <a:schemeClr val="accent1"/>
            </a:solidFill>
            <a:ln w="12700" cap="rnd" cmpd="sng" algn="ctr">
              <a:solidFill>
                <a:schemeClr val="bg2">
                  <a:lumMod val="20000"/>
                  <a:lumOff val="80000"/>
                </a:schemeClr>
              </a:solidFill>
              <a:prstDash val="sysDash"/>
              <a:round/>
              <a:headEnd type="none" w="med" len="med"/>
              <a:tailEnd type="none" w="sm" len="med"/>
            </a:ln>
            <a:effectLst/>
          </p:spPr>
        </p:cxnSp>
        <p:cxnSp>
          <p:nvCxnSpPr>
            <p:cNvPr id="8" name="Gerader Verbinder 22"/>
            <p:cNvCxnSpPr/>
            <p:nvPr/>
          </p:nvCxnSpPr>
          <p:spPr bwMode="auto">
            <a:xfrm rot="16200000" flipH="1" flipV="1">
              <a:off x="-5318084" y="4665669"/>
              <a:ext cx="1476959" cy="329"/>
            </a:xfrm>
            <a:prstGeom prst="line">
              <a:avLst/>
            </a:prstGeom>
            <a:solidFill>
              <a:schemeClr val="accent1"/>
            </a:solidFill>
            <a:ln w="12700" cap="rnd" cmpd="sng" algn="ctr">
              <a:solidFill>
                <a:schemeClr val="bg2">
                  <a:lumMod val="20000"/>
                  <a:lumOff val="80000"/>
                </a:schemeClr>
              </a:solidFill>
              <a:prstDash val="sysDash"/>
              <a:round/>
              <a:headEnd type="none" w="med" len="med"/>
              <a:tailEnd type="triangle" w="sm" len="med"/>
            </a:ln>
            <a:effectLst/>
          </p:spPr>
        </p:cxnSp>
      </p:grpSp>
      <p:sp>
        <p:nvSpPr>
          <p:cNvPr id="9" name="Textfeld 8"/>
          <p:cNvSpPr txBox="1"/>
          <p:nvPr/>
        </p:nvSpPr>
        <p:spPr>
          <a:xfrm>
            <a:off x="8637978" y="6331872"/>
            <a:ext cx="1188720" cy="276999"/>
          </a:xfrm>
          <a:prstGeom prst="rect">
            <a:avLst/>
          </a:prstGeom>
          <a:ln algn="ctr"/>
        </p:spPr>
        <p:txBody>
          <a:bodyPr wrap="square" lIns="0" tIns="0" rIns="0" bIns="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1" i="0" u="none" strike="noStrike" kern="0" cap="none" spc="0" normalizeH="0" baseline="0" noProof="0" dirty="0" smtClean="0">
                <a:ln>
                  <a:noFill/>
                </a:ln>
                <a:solidFill>
                  <a:srgbClr val="000000"/>
                </a:solidFill>
                <a:effectLst/>
                <a:uLnTx/>
                <a:uFillTx/>
                <a:latin typeface="Arial" panose="020B0604020202020204"/>
                <a:ea typeface="+mn-ea"/>
                <a:cs typeface="+mn-cs"/>
              </a:rPr>
              <a:t>Akkumulierte Wirkung</a:t>
            </a:r>
          </a:p>
        </p:txBody>
      </p:sp>
      <p:sp>
        <p:nvSpPr>
          <p:cNvPr id="10" name="Textfeld 3"/>
          <p:cNvSpPr txBox="1"/>
          <p:nvPr/>
        </p:nvSpPr>
        <p:spPr>
          <a:xfrm>
            <a:off x="7981406" y="2062576"/>
            <a:ext cx="1924595" cy="1088366"/>
          </a:xfrm>
          <a:prstGeom prst="rect">
            <a:avLst/>
          </a:prstGeom>
          <a:solidFill>
            <a:schemeClr val="bg1">
              <a:alpha val="56000"/>
            </a:schemeClr>
          </a:solidFill>
          <a:ln algn="ctr"/>
        </p:spPr>
        <p:txBody>
          <a:bodyPr wrap="squar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1" i="0" u="none" strike="noStrike" kern="0" cap="none" spc="0" normalizeH="0" baseline="0" noProof="0" dirty="0">
                <a:ln>
                  <a:noFill/>
                </a:ln>
                <a:solidFill>
                  <a:srgbClr val="C00000"/>
                </a:solidFill>
                <a:effectLst/>
                <a:uLnTx/>
                <a:uFillTx/>
                <a:latin typeface="Arial" panose="020B0604020202020204"/>
                <a:ea typeface="+mn-ea"/>
                <a:cs typeface="+mn-cs"/>
              </a:rPr>
              <a:t>Einzelwirkung </a:t>
            </a:r>
            <a:endParaRPr kumimoji="0" lang="de-DE" sz="1100" b="1" i="0" u="none" strike="noStrike" kern="0" cap="none" spc="0" normalizeH="0" baseline="0" noProof="0" dirty="0" smtClean="0">
              <a:ln>
                <a:noFill/>
              </a:ln>
              <a:solidFill>
                <a:srgbClr val="C00000"/>
              </a:solidFill>
              <a:effectLst/>
              <a:uLnTx/>
              <a:uFillTx/>
              <a:latin typeface="Arial" panose="020B0604020202020204"/>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1" i="0" u="none" strike="noStrike" kern="0" cap="none" spc="0" normalizeH="0" baseline="0" noProof="0" dirty="0" smtClean="0">
                <a:ln>
                  <a:noFill/>
                </a:ln>
                <a:solidFill>
                  <a:srgbClr val="C00000"/>
                </a:solidFill>
                <a:effectLst/>
                <a:uLnTx/>
                <a:uFillTx/>
                <a:latin typeface="Arial" panose="020B0604020202020204"/>
                <a:ea typeface="+mn-ea"/>
                <a:cs typeface="+mn-cs"/>
              </a:rPr>
              <a:t>der 7 </a:t>
            </a:r>
            <a:r>
              <a:rPr kumimoji="0" lang="de-DE" sz="1100" b="1" i="0" u="none" strike="noStrike" kern="0" cap="none" spc="0" normalizeH="0" baseline="0" noProof="0" dirty="0">
                <a:ln>
                  <a:noFill/>
                </a:ln>
                <a:solidFill>
                  <a:srgbClr val="C00000"/>
                </a:solidFill>
                <a:effectLst/>
                <a:uLnTx/>
                <a:uFillTx/>
                <a:latin typeface="Arial" panose="020B0604020202020204"/>
                <a:ea typeface="+mn-ea"/>
                <a:cs typeface="+mn-cs"/>
              </a:rPr>
              <a:t>von </a:t>
            </a:r>
            <a:r>
              <a:rPr kumimoji="0" lang="de-DE" sz="1100" b="1" i="0" u="none" strike="noStrike" kern="0" cap="none" spc="0" normalizeH="0" baseline="0" noProof="0" dirty="0" smtClean="0">
                <a:ln>
                  <a:noFill/>
                </a:ln>
                <a:solidFill>
                  <a:srgbClr val="C00000"/>
                </a:solidFill>
                <a:effectLst/>
                <a:uLnTx/>
                <a:uFillTx/>
                <a:latin typeface="Arial" panose="020B0604020202020204"/>
                <a:ea typeface="+mn-ea"/>
                <a:cs typeface="+mn-cs"/>
              </a:rPr>
              <a:t>23 (=30%) Handlungsempfehlungen die </a:t>
            </a:r>
            <a:r>
              <a:rPr kumimoji="0" lang="de-DE" sz="1100" b="1" i="0" u="none" strike="noStrike" kern="0" cap="none" spc="0" normalizeH="0" baseline="0" noProof="0" dirty="0">
                <a:ln>
                  <a:noFill/>
                </a:ln>
                <a:solidFill>
                  <a:srgbClr val="C00000"/>
                </a:solidFill>
                <a:effectLst/>
                <a:uLnTx/>
                <a:uFillTx/>
                <a:latin typeface="Arial" panose="020B0604020202020204"/>
                <a:ea typeface="+mn-ea"/>
                <a:cs typeface="+mn-cs"/>
              </a:rPr>
              <a:t>kumuliert </a:t>
            </a:r>
            <a:r>
              <a:rPr kumimoji="0" lang="de-DE" sz="1100" b="1" i="0" u="none" strike="noStrike" kern="0" cap="none" spc="0" normalizeH="0" baseline="0" noProof="0" dirty="0" smtClean="0">
                <a:ln>
                  <a:noFill/>
                </a:ln>
                <a:solidFill>
                  <a:srgbClr val="C00000"/>
                </a:solidFill>
                <a:effectLst/>
                <a:uLnTx/>
                <a:uFillTx/>
                <a:latin typeface="Arial" panose="020B0604020202020204"/>
                <a:ea typeface="+mn-ea"/>
                <a:cs typeface="+mn-cs"/>
              </a:rPr>
              <a:t>&gt; 50%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1" i="0" u="none" strike="noStrike" kern="0" cap="none" spc="0" normalizeH="0" baseline="0" noProof="0" dirty="0" smtClean="0">
                <a:ln>
                  <a:noFill/>
                </a:ln>
                <a:solidFill>
                  <a:srgbClr val="C00000"/>
                </a:solidFill>
                <a:effectLst/>
                <a:uLnTx/>
                <a:uFillTx/>
                <a:latin typeface="Arial" panose="020B0604020202020204"/>
                <a:ea typeface="+mn-ea"/>
                <a:cs typeface="+mn-cs"/>
              </a:rPr>
              <a:t>der Gesamtwirkung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1" i="0" u="none" strike="noStrike" kern="0" cap="none" spc="0" normalizeH="0" baseline="0" noProof="0" dirty="0" smtClean="0">
                <a:ln>
                  <a:noFill/>
                </a:ln>
                <a:solidFill>
                  <a:srgbClr val="C00000"/>
                </a:solidFill>
                <a:effectLst/>
                <a:uLnTx/>
                <a:uFillTx/>
                <a:latin typeface="Arial" panose="020B0604020202020204"/>
                <a:ea typeface="+mn-ea"/>
                <a:cs typeface="+mn-cs"/>
              </a:rPr>
              <a:t>im </a:t>
            </a:r>
            <a:r>
              <a:rPr kumimoji="0" lang="de-DE" sz="1100" b="1" i="0" u="none" strike="noStrike" kern="0" cap="none" spc="0" normalizeH="0" baseline="0" noProof="0" dirty="0">
                <a:ln>
                  <a:noFill/>
                </a:ln>
                <a:solidFill>
                  <a:srgbClr val="C00000"/>
                </a:solidFill>
                <a:effectLst/>
                <a:uLnTx/>
                <a:uFillTx/>
                <a:latin typeface="Arial" panose="020B0604020202020204"/>
                <a:ea typeface="+mn-ea"/>
                <a:cs typeface="+mn-cs"/>
              </a:rPr>
              <a:t>System </a:t>
            </a:r>
            <a:r>
              <a:rPr kumimoji="0" lang="de-DE" sz="1100" b="1" i="0" u="none" strike="noStrike" kern="0" cap="none" spc="0" normalizeH="0" baseline="0" noProof="0" dirty="0" smtClean="0">
                <a:ln>
                  <a:noFill/>
                </a:ln>
                <a:solidFill>
                  <a:srgbClr val="C00000"/>
                </a:solidFill>
                <a:effectLst/>
                <a:uLnTx/>
                <a:uFillTx/>
                <a:latin typeface="Arial" panose="020B0604020202020204"/>
                <a:ea typeface="+mn-ea"/>
                <a:cs typeface="+mn-cs"/>
              </a:rPr>
              <a:t>ausmachen. </a:t>
            </a:r>
            <a:endParaRPr kumimoji="0" lang="de-DE" sz="1100" b="1" i="0" u="none" strike="noStrike" kern="0" cap="none" spc="0" normalizeH="0" baseline="0" noProof="0" dirty="0">
              <a:ln>
                <a:noFill/>
              </a:ln>
              <a:solidFill>
                <a:srgbClr val="C00000"/>
              </a:solidFill>
              <a:effectLst/>
              <a:uLnTx/>
              <a:uFillTx/>
              <a:latin typeface="Arial" panose="020B0604020202020204"/>
              <a:ea typeface="+mn-ea"/>
              <a:cs typeface="+mn-cs"/>
            </a:endParaRPr>
          </a:p>
        </p:txBody>
      </p:sp>
      <p:grpSp>
        <p:nvGrpSpPr>
          <p:cNvPr id="11" name="Gruppieren 10"/>
          <p:cNvGrpSpPr/>
          <p:nvPr/>
        </p:nvGrpSpPr>
        <p:grpSpPr>
          <a:xfrm>
            <a:off x="4162349" y="4667098"/>
            <a:ext cx="3428281" cy="1826357"/>
            <a:chOff x="3392482" y="3194415"/>
            <a:chExt cx="2367491" cy="2566053"/>
          </a:xfrm>
        </p:grpSpPr>
        <p:cxnSp>
          <p:nvCxnSpPr>
            <p:cNvPr id="12" name="Gerader Verbinder 27"/>
            <p:cNvCxnSpPr/>
            <p:nvPr/>
          </p:nvCxnSpPr>
          <p:spPr bwMode="auto">
            <a:xfrm>
              <a:off x="5757123" y="3194416"/>
              <a:ext cx="0" cy="2566052"/>
            </a:xfrm>
            <a:prstGeom prst="line">
              <a:avLst/>
            </a:prstGeom>
            <a:solidFill>
              <a:schemeClr val="accent1"/>
            </a:solidFill>
            <a:ln w="12700" cap="rnd" cmpd="sng" algn="ctr">
              <a:solidFill>
                <a:srgbClr val="4F81BD"/>
              </a:solidFill>
              <a:prstDash val="sysDash"/>
              <a:round/>
              <a:headEnd type="none" w="med" len="med"/>
              <a:tailEnd type="triangle" w="sm" len="med"/>
            </a:ln>
            <a:effectLst/>
          </p:spPr>
        </p:cxnSp>
        <p:cxnSp>
          <p:nvCxnSpPr>
            <p:cNvPr id="13" name="Gerader Verbinder 12"/>
            <p:cNvCxnSpPr/>
            <p:nvPr/>
          </p:nvCxnSpPr>
          <p:spPr bwMode="auto">
            <a:xfrm flipH="1" flipV="1">
              <a:off x="4376410" y="3194415"/>
              <a:ext cx="1383563" cy="1071"/>
            </a:xfrm>
            <a:prstGeom prst="line">
              <a:avLst/>
            </a:prstGeom>
            <a:solidFill>
              <a:schemeClr val="accent1"/>
            </a:solidFill>
            <a:ln w="12700" cap="rnd" cmpd="sng" algn="ctr">
              <a:solidFill>
                <a:srgbClr val="4F81BD"/>
              </a:solidFill>
              <a:prstDash val="sysDash"/>
              <a:round/>
              <a:headEnd type="none" w="med" len="med"/>
              <a:tailEnd type="none" w="sm" len="med"/>
            </a:ln>
            <a:effectLst/>
          </p:spPr>
        </p:cxnSp>
        <p:cxnSp>
          <p:nvCxnSpPr>
            <p:cNvPr id="14" name="Gerader Verbinder 28"/>
            <p:cNvCxnSpPr/>
            <p:nvPr/>
          </p:nvCxnSpPr>
          <p:spPr bwMode="auto">
            <a:xfrm flipH="1" flipV="1">
              <a:off x="3392482" y="3195484"/>
              <a:ext cx="1006228" cy="0"/>
            </a:xfrm>
            <a:prstGeom prst="line">
              <a:avLst/>
            </a:prstGeom>
            <a:solidFill>
              <a:schemeClr val="accent1"/>
            </a:solidFill>
            <a:ln w="12700" cap="rnd" cmpd="sng" algn="ctr">
              <a:solidFill>
                <a:srgbClr val="C8D7EA"/>
              </a:solidFill>
              <a:prstDash val="sysDash"/>
              <a:round/>
              <a:headEnd type="none" w="med" len="med"/>
              <a:tailEnd type="triangle" w="sm" len="med"/>
            </a:ln>
            <a:effectLst/>
          </p:spPr>
        </p:cxnSp>
      </p:grpSp>
      <p:sp>
        <p:nvSpPr>
          <p:cNvPr id="15" name="Textfeld 4"/>
          <p:cNvSpPr txBox="1"/>
          <p:nvPr/>
        </p:nvSpPr>
        <p:spPr>
          <a:xfrm>
            <a:off x="7981406" y="3372391"/>
            <a:ext cx="1924595" cy="846386"/>
          </a:xfrm>
          <a:prstGeom prst="rect">
            <a:avLst/>
          </a:prstGeom>
          <a:solidFill>
            <a:schemeClr val="bg1">
              <a:alpha val="56000"/>
            </a:schemeClr>
          </a:solidFill>
          <a:ln algn="ctr"/>
          <a:effectLst/>
        </p:spPr>
        <p:txBody>
          <a:bodyPr wrap="square" lIns="0" tIns="0" rIns="0" bIns="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1" i="0" u="none" strike="noStrike" kern="0" cap="none" spc="0" normalizeH="0" baseline="0" noProof="0" dirty="0">
                <a:ln>
                  <a:noFill/>
                </a:ln>
                <a:solidFill>
                  <a:srgbClr val="4070AA"/>
                </a:solidFill>
                <a:effectLst/>
                <a:uLnTx/>
                <a:uFillTx/>
                <a:latin typeface="Arial" panose="020B0604020202020204"/>
                <a:ea typeface="+mn-ea"/>
                <a:cs typeface="+mn-cs"/>
              </a:rPr>
              <a:t>Einzelwirkung </a:t>
            </a:r>
            <a:r>
              <a:rPr kumimoji="0" lang="de-DE" sz="1100" b="1" i="0" u="none" strike="noStrike" kern="0" cap="none" spc="0" normalizeH="0" baseline="0" noProof="0" dirty="0" smtClean="0">
                <a:ln>
                  <a:noFill/>
                </a:ln>
                <a:solidFill>
                  <a:srgbClr val="4070AA"/>
                </a:solidFill>
                <a:effectLst/>
                <a:uLnTx/>
                <a:uFillTx/>
                <a:latin typeface="Arial" panose="020B0604020202020204"/>
                <a:ea typeface="+mn-ea"/>
                <a:cs typeface="+mn-cs"/>
              </a:rPr>
              <a:t>der weitere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1" i="0" u="none" strike="noStrike" kern="0" cap="none" spc="0" normalizeH="0" baseline="0" noProof="0" dirty="0" smtClean="0">
                <a:ln>
                  <a:noFill/>
                </a:ln>
                <a:solidFill>
                  <a:srgbClr val="4070AA"/>
                </a:solidFill>
                <a:effectLst/>
                <a:uLnTx/>
                <a:uFillTx/>
                <a:latin typeface="Arial" panose="020B0604020202020204"/>
                <a:ea typeface="+mn-ea"/>
                <a:cs typeface="+mn-cs"/>
              </a:rPr>
              <a:t>8 Handlungsempfehlungen, die kumuliert zusätzlich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1" i="0" u="none" strike="noStrike" kern="0" cap="none" spc="0" normalizeH="0" baseline="0" noProof="0" dirty="0" smtClean="0">
                <a:ln>
                  <a:noFill/>
                </a:ln>
                <a:solidFill>
                  <a:srgbClr val="4070AA"/>
                </a:solidFill>
                <a:effectLst/>
                <a:uLnTx/>
                <a:uFillTx/>
                <a:latin typeface="Arial" panose="020B0604020202020204"/>
                <a:ea typeface="+mn-ea"/>
                <a:cs typeface="+mn-cs"/>
              </a:rPr>
              <a:t>30</a:t>
            </a:r>
            <a:r>
              <a:rPr kumimoji="0" lang="de-DE" sz="1100" b="1" i="0" u="none" strike="noStrike" kern="0" cap="none" spc="0" normalizeH="0" baseline="0" noProof="0" dirty="0">
                <a:ln>
                  <a:noFill/>
                </a:ln>
                <a:solidFill>
                  <a:srgbClr val="4070AA"/>
                </a:solidFill>
                <a:effectLst/>
                <a:uLnTx/>
                <a:uFillTx/>
                <a:latin typeface="Arial" panose="020B0604020202020204"/>
                <a:ea typeface="+mn-ea"/>
                <a:cs typeface="+mn-cs"/>
              </a:rPr>
              <a:t>% </a:t>
            </a:r>
            <a:r>
              <a:rPr kumimoji="0" lang="de-DE" sz="1100" b="1" i="0" u="none" strike="noStrike" kern="0" cap="none" spc="0" normalizeH="0" baseline="0" noProof="0" dirty="0" smtClean="0">
                <a:ln>
                  <a:noFill/>
                </a:ln>
                <a:solidFill>
                  <a:srgbClr val="4070AA"/>
                </a:solidFill>
                <a:effectLst/>
                <a:uLnTx/>
                <a:uFillTx/>
                <a:latin typeface="Arial" panose="020B0604020202020204"/>
                <a:ea typeface="+mn-ea"/>
                <a:cs typeface="+mn-cs"/>
              </a:rPr>
              <a:t>der Gesamtwirkung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100" b="1" i="0" u="none" strike="noStrike" kern="0" cap="none" spc="0" normalizeH="0" baseline="0" noProof="0" dirty="0" smtClean="0">
                <a:ln>
                  <a:noFill/>
                </a:ln>
                <a:solidFill>
                  <a:srgbClr val="4070AA"/>
                </a:solidFill>
                <a:effectLst/>
                <a:uLnTx/>
                <a:uFillTx/>
                <a:latin typeface="Arial" panose="020B0604020202020204"/>
                <a:ea typeface="+mn-ea"/>
                <a:cs typeface="+mn-cs"/>
              </a:rPr>
              <a:t>im System ausmachen</a:t>
            </a:r>
          </a:p>
        </p:txBody>
      </p:sp>
      <p:sp>
        <p:nvSpPr>
          <p:cNvPr id="16" name="Textfeld 15"/>
          <p:cNvSpPr txBox="1"/>
          <p:nvPr/>
        </p:nvSpPr>
        <p:spPr>
          <a:xfrm>
            <a:off x="8637978" y="1386592"/>
            <a:ext cx="1188720" cy="276999"/>
          </a:xfrm>
          <a:prstGeom prst="rect">
            <a:avLst/>
          </a:prstGeom>
          <a:ln algn="ctr"/>
        </p:spPr>
        <p:txBody>
          <a:bodyPr wrap="square" lIns="0" tIns="0" rIns="0" bIns="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1" i="0" u="none" strike="noStrike" kern="0" cap="none" spc="0" normalizeH="0" baseline="0" noProof="0" dirty="0" smtClean="0">
                <a:ln>
                  <a:noFill/>
                </a:ln>
                <a:solidFill>
                  <a:srgbClr val="DA4A4A"/>
                </a:solidFill>
                <a:effectLst/>
                <a:uLnTx/>
                <a:uFillTx/>
                <a:latin typeface="Arial" panose="020B0604020202020204"/>
                <a:ea typeface="+mn-ea"/>
                <a:cs typeface="Arial" panose="020B0604020202020204" pitchFamily="34" charset="0"/>
              </a:rPr>
              <a:t>Einzelwirkung</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900" b="0" i="0" u="none" strike="noStrike" kern="0" cap="none" spc="0" normalizeH="0" baseline="0" noProof="0" dirty="0" smtClean="0">
                <a:ln>
                  <a:noFill/>
                </a:ln>
                <a:solidFill>
                  <a:srgbClr val="DA4A4A"/>
                </a:solidFill>
                <a:effectLst/>
                <a:uLnTx/>
                <a:uFillTx/>
                <a:latin typeface="Arial" panose="020B0604020202020204"/>
                <a:ea typeface="+mn-ea"/>
                <a:cs typeface="Arial" panose="020B0604020202020204" pitchFamily="34" charset="0"/>
              </a:rPr>
              <a:t>(in % Gesamtwirkung)</a:t>
            </a:r>
          </a:p>
        </p:txBody>
      </p:sp>
      <p:sp>
        <p:nvSpPr>
          <p:cNvPr id="17" name="TextBox 21"/>
          <p:cNvSpPr txBox="1"/>
          <p:nvPr/>
        </p:nvSpPr>
        <p:spPr>
          <a:xfrm>
            <a:off x="1729179" y="1603690"/>
            <a:ext cx="148045" cy="234286"/>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050" b="1" i="0" u="none" strike="noStrike" kern="0" cap="none" spc="0" normalizeH="0" baseline="0" noProof="0" dirty="0" smtClean="0">
                <a:ln>
                  <a:noFill/>
                </a:ln>
                <a:solidFill>
                  <a:srgbClr val="C00000"/>
                </a:solidFill>
                <a:effectLst/>
                <a:uLnTx/>
                <a:uFillTx/>
                <a:latin typeface="Arial" panose="020B0604020202020204"/>
                <a:ea typeface="+mn-ea"/>
                <a:cs typeface="+mn-cs"/>
              </a:rPr>
              <a:t>1</a:t>
            </a:r>
            <a:endParaRPr kumimoji="0" lang="en-US" sz="1050" b="1" i="0" u="none" strike="noStrike" kern="0" cap="none" spc="0" normalizeH="0" baseline="0" noProof="0" dirty="0" err="1" smtClean="0">
              <a:ln>
                <a:noFill/>
              </a:ln>
              <a:solidFill>
                <a:srgbClr val="C00000"/>
              </a:solidFill>
              <a:effectLst/>
              <a:uLnTx/>
              <a:uFillTx/>
              <a:latin typeface="Arial" panose="020B0604020202020204"/>
              <a:ea typeface="+mn-ea"/>
              <a:cs typeface="+mn-cs"/>
            </a:endParaRPr>
          </a:p>
        </p:txBody>
      </p:sp>
      <p:sp>
        <p:nvSpPr>
          <p:cNvPr id="18" name="TextBox 22"/>
          <p:cNvSpPr txBox="1"/>
          <p:nvPr/>
        </p:nvSpPr>
        <p:spPr>
          <a:xfrm>
            <a:off x="993308" y="1817014"/>
            <a:ext cx="148045" cy="234286"/>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050" b="1" i="0" u="none" strike="noStrike" kern="0" cap="none" spc="0" normalizeH="0" baseline="0" noProof="0" dirty="0">
                <a:ln>
                  <a:noFill/>
                </a:ln>
                <a:solidFill>
                  <a:srgbClr val="C00000"/>
                </a:solidFill>
                <a:effectLst/>
                <a:uLnTx/>
                <a:uFillTx/>
                <a:latin typeface="Arial" panose="020B0604020202020204"/>
                <a:ea typeface="+mn-ea"/>
                <a:cs typeface="+mn-cs"/>
              </a:rPr>
              <a:t>2</a:t>
            </a:r>
            <a:endParaRPr kumimoji="0" lang="en-US" sz="1050" b="1" i="0" u="none" strike="noStrike" kern="0" cap="none" spc="0" normalizeH="0" baseline="0" noProof="0" dirty="0" err="1" smtClean="0">
              <a:ln>
                <a:noFill/>
              </a:ln>
              <a:solidFill>
                <a:srgbClr val="C00000"/>
              </a:solidFill>
              <a:effectLst/>
              <a:uLnTx/>
              <a:uFillTx/>
              <a:latin typeface="Arial" panose="020B0604020202020204"/>
              <a:ea typeface="+mn-ea"/>
              <a:cs typeface="+mn-cs"/>
            </a:endParaRPr>
          </a:p>
        </p:txBody>
      </p:sp>
      <p:sp>
        <p:nvSpPr>
          <p:cNvPr id="19" name="TextBox 24"/>
          <p:cNvSpPr txBox="1"/>
          <p:nvPr/>
        </p:nvSpPr>
        <p:spPr>
          <a:xfrm>
            <a:off x="2491693" y="2026195"/>
            <a:ext cx="148045" cy="234286"/>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050" b="1" i="0" u="none" strike="noStrike" kern="0" cap="none" spc="0" normalizeH="0" baseline="0" noProof="0" dirty="0" smtClean="0">
                <a:ln>
                  <a:noFill/>
                </a:ln>
                <a:solidFill>
                  <a:srgbClr val="C00000"/>
                </a:solidFill>
                <a:effectLst/>
                <a:uLnTx/>
                <a:uFillTx/>
                <a:latin typeface="Arial" panose="020B0604020202020204"/>
                <a:ea typeface="+mn-ea"/>
                <a:cs typeface="+mn-cs"/>
              </a:rPr>
              <a:t>3</a:t>
            </a:r>
            <a:endParaRPr kumimoji="0" lang="en-US" sz="1050" b="1" i="0" u="none" strike="noStrike" kern="0" cap="none" spc="0" normalizeH="0" baseline="0" noProof="0" dirty="0" err="1" smtClean="0">
              <a:ln>
                <a:noFill/>
              </a:ln>
              <a:solidFill>
                <a:srgbClr val="C00000"/>
              </a:solidFill>
              <a:effectLst/>
              <a:uLnTx/>
              <a:uFillTx/>
              <a:latin typeface="Arial" panose="020B0604020202020204"/>
              <a:ea typeface="+mn-ea"/>
              <a:cs typeface="+mn-cs"/>
            </a:endParaRPr>
          </a:p>
        </p:txBody>
      </p:sp>
      <p:sp>
        <p:nvSpPr>
          <p:cNvPr id="20" name="TextBox 25"/>
          <p:cNvSpPr txBox="1"/>
          <p:nvPr/>
        </p:nvSpPr>
        <p:spPr>
          <a:xfrm>
            <a:off x="1222155" y="2230387"/>
            <a:ext cx="148045" cy="234286"/>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050" b="1" i="0" u="none" strike="noStrike" kern="0" cap="none" spc="0" normalizeH="0" baseline="0" noProof="0" dirty="0" smtClean="0">
                <a:ln>
                  <a:noFill/>
                </a:ln>
                <a:solidFill>
                  <a:srgbClr val="C00000"/>
                </a:solidFill>
                <a:effectLst/>
                <a:uLnTx/>
                <a:uFillTx/>
                <a:latin typeface="Arial" panose="020B0604020202020204"/>
                <a:ea typeface="+mn-ea"/>
                <a:cs typeface="+mn-cs"/>
              </a:rPr>
              <a:t>4</a:t>
            </a:r>
            <a:endParaRPr kumimoji="0" lang="en-US" sz="1050" b="1" i="0" u="none" strike="noStrike" kern="0" cap="none" spc="0" normalizeH="0" baseline="0" noProof="0" dirty="0" err="1" smtClean="0">
              <a:ln>
                <a:noFill/>
              </a:ln>
              <a:solidFill>
                <a:srgbClr val="C00000"/>
              </a:solidFill>
              <a:effectLst/>
              <a:uLnTx/>
              <a:uFillTx/>
              <a:latin typeface="Arial" panose="020B0604020202020204"/>
              <a:ea typeface="+mn-ea"/>
              <a:cs typeface="+mn-cs"/>
            </a:endParaRPr>
          </a:p>
        </p:txBody>
      </p:sp>
      <p:sp>
        <p:nvSpPr>
          <p:cNvPr id="21" name="TextBox 27"/>
          <p:cNvSpPr txBox="1"/>
          <p:nvPr/>
        </p:nvSpPr>
        <p:spPr>
          <a:xfrm>
            <a:off x="2458951" y="2447583"/>
            <a:ext cx="148045" cy="234286"/>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050" b="1" i="0" u="none" strike="noStrike" kern="0" cap="none" spc="0" normalizeH="0" baseline="0" noProof="0" dirty="0" smtClean="0">
                <a:ln>
                  <a:noFill/>
                </a:ln>
                <a:solidFill>
                  <a:srgbClr val="C00000"/>
                </a:solidFill>
                <a:effectLst/>
                <a:uLnTx/>
                <a:uFillTx/>
                <a:latin typeface="Arial" panose="020B0604020202020204"/>
                <a:ea typeface="+mn-ea"/>
                <a:cs typeface="+mn-cs"/>
              </a:rPr>
              <a:t>5</a:t>
            </a:r>
            <a:endParaRPr kumimoji="0" lang="en-US" sz="1050" b="1" i="0" u="none" strike="noStrike" kern="0" cap="none" spc="0" normalizeH="0" baseline="0" noProof="0" dirty="0" err="1" smtClean="0">
              <a:ln>
                <a:noFill/>
              </a:ln>
              <a:solidFill>
                <a:srgbClr val="C00000"/>
              </a:solidFill>
              <a:effectLst/>
              <a:uLnTx/>
              <a:uFillTx/>
              <a:latin typeface="Arial" panose="020B0604020202020204"/>
              <a:ea typeface="+mn-ea"/>
              <a:cs typeface="+mn-cs"/>
            </a:endParaRPr>
          </a:p>
        </p:txBody>
      </p:sp>
      <p:sp>
        <p:nvSpPr>
          <p:cNvPr id="22" name="TextBox 28"/>
          <p:cNvSpPr txBox="1"/>
          <p:nvPr/>
        </p:nvSpPr>
        <p:spPr>
          <a:xfrm>
            <a:off x="2279528" y="2646029"/>
            <a:ext cx="148045" cy="234286"/>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050" b="1" i="0" u="none" strike="noStrike" kern="0" cap="none" spc="0" normalizeH="0" baseline="0" noProof="0" dirty="0" smtClean="0">
                <a:ln>
                  <a:noFill/>
                </a:ln>
                <a:solidFill>
                  <a:srgbClr val="C00000"/>
                </a:solidFill>
                <a:effectLst/>
                <a:uLnTx/>
                <a:uFillTx/>
                <a:latin typeface="Arial" panose="020B0604020202020204"/>
                <a:ea typeface="+mn-ea"/>
                <a:cs typeface="+mn-cs"/>
              </a:rPr>
              <a:t>6</a:t>
            </a:r>
            <a:endParaRPr kumimoji="0" lang="en-US" sz="1050" b="1" i="0" u="none" strike="noStrike" kern="0" cap="none" spc="0" normalizeH="0" baseline="0" noProof="0" dirty="0" err="1" smtClean="0">
              <a:ln>
                <a:noFill/>
              </a:ln>
              <a:solidFill>
                <a:srgbClr val="C00000"/>
              </a:solidFill>
              <a:effectLst/>
              <a:uLnTx/>
              <a:uFillTx/>
              <a:latin typeface="Arial" panose="020B0604020202020204"/>
              <a:ea typeface="+mn-ea"/>
              <a:cs typeface="+mn-cs"/>
            </a:endParaRPr>
          </a:p>
        </p:txBody>
      </p:sp>
      <p:sp>
        <p:nvSpPr>
          <p:cNvPr id="23" name="TextBox 29"/>
          <p:cNvSpPr txBox="1"/>
          <p:nvPr/>
        </p:nvSpPr>
        <p:spPr>
          <a:xfrm>
            <a:off x="2627415" y="2863789"/>
            <a:ext cx="148045" cy="234286"/>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050" b="1" i="0" u="none" strike="noStrike" kern="0" cap="none" spc="0" normalizeH="0" baseline="0" noProof="0" dirty="0" smtClean="0">
                <a:ln>
                  <a:noFill/>
                </a:ln>
                <a:solidFill>
                  <a:srgbClr val="C00000"/>
                </a:solidFill>
                <a:effectLst/>
                <a:uLnTx/>
                <a:uFillTx/>
                <a:latin typeface="Arial" panose="020B0604020202020204"/>
                <a:ea typeface="+mn-ea"/>
                <a:cs typeface="+mn-cs"/>
              </a:rPr>
              <a:t>7</a:t>
            </a:r>
            <a:endParaRPr kumimoji="0" lang="en-US" sz="1050" b="1" i="0" u="none" strike="noStrike" kern="0" cap="none" spc="0" normalizeH="0" baseline="0" noProof="0" dirty="0" err="1" smtClean="0">
              <a:ln>
                <a:noFill/>
              </a:ln>
              <a:solidFill>
                <a:srgbClr val="C00000"/>
              </a:solidFill>
              <a:effectLst/>
              <a:uLnTx/>
              <a:uFillTx/>
              <a:latin typeface="Arial" panose="020B0604020202020204"/>
              <a:ea typeface="+mn-ea"/>
              <a:cs typeface="+mn-cs"/>
            </a:endParaRPr>
          </a:p>
        </p:txBody>
      </p:sp>
      <p:sp>
        <p:nvSpPr>
          <p:cNvPr id="24" name="TextBox 33"/>
          <p:cNvSpPr txBox="1"/>
          <p:nvPr/>
        </p:nvSpPr>
        <p:spPr>
          <a:xfrm>
            <a:off x="1766858" y="3291370"/>
            <a:ext cx="148045" cy="234286"/>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050" b="1" i="0" u="none" strike="noStrike" kern="0" cap="none" spc="0" normalizeH="0" baseline="0" noProof="0" dirty="0" smtClean="0">
                <a:ln>
                  <a:noFill/>
                </a:ln>
                <a:solidFill>
                  <a:srgbClr val="4F81BD"/>
                </a:solidFill>
                <a:effectLst/>
                <a:uLnTx/>
                <a:uFillTx/>
                <a:latin typeface="Arial" panose="020B0604020202020204"/>
                <a:ea typeface="+mn-ea"/>
                <a:cs typeface="+mn-cs"/>
              </a:rPr>
              <a:t>9</a:t>
            </a:r>
            <a:endParaRPr kumimoji="0" lang="en-US" sz="1050" b="1" i="0" u="none" strike="noStrike" kern="0" cap="none" spc="0" normalizeH="0" baseline="0" noProof="0" dirty="0" err="1" smtClean="0">
              <a:ln>
                <a:noFill/>
              </a:ln>
              <a:solidFill>
                <a:srgbClr val="4F81BD"/>
              </a:solidFill>
              <a:effectLst/>
              <a:uLnTx/>
              <a:uFillTx/>
              <a:latin typeface="Arial" panose="020B0604020202020204"/>
              <a:ea typeface="+mn-ea"/>
              <a:cs typeface="+mn-cs"/>
            </a:endParaRPr>
          </a:p>
        </p:txBody>
      </p:sp>
      <p:sp>
        <p:nvSpPr>
          <p:cNvPr id="25" name="TextBox 35"/>
          <p:cNvSpPr txBox="1"/>
          <p:nvPr/>
        </p:nvSpPr>
        <p:spPr>
          <a:xfrm>
            <a:off x="3173483" y="3497484"/>
            <a:ext cx="223385" cy="234286"/>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050" b="1" i="0" u="none" strike="noStrike" kern="0" cap="none" spc="0" normalizeH="0" baseline="0" noProof="0" dirty="0" smtClean="0">
                <a:ln>
                  <a:noFill/>
                </a:ln>
                <a:solidFill>
                  <a:srgbClr val="4F81BD"/>
                </a:solidFill>
                <a:effectLst/>
                <a:uLnTx/>
                <a:uFillTx/>
                <a:latin typeface="Arial" panose="020B0604020202020204"/>
                <a:ea typeface="+mn-ea"/>
                <a:cs typeface="+mn-cs"/>
              </a:rPr>
              <a:t>10</a:t>
            </a:r>
            <a:endParaRPr kumimoji="0" lang="en-US" sz="1050" b="1" i="0" u="none" strike="noStrike" kern="0" cap="none" spc="0" normalizeH="0" baseline="0" noProof="0" dirty="0" err="1" smtClean="0">
              <a:ln>
                <a:noFill/>
              </a:ln>
              <a:solidFill>
                <a:srgbClr val="4F81BD"/>
              </a:solidFill>
              <a:effectLst/>
              <a:uLnTx/>
              <a:uFillTx/>
              <a:latin typeface="Arial" panose="020B0604020202020204"/>
              <a:ea typeface="+mn-ea"/>
              <a:cs typeface="+mn-cs"/>
            </a:endParaRPr>
          </a:p>
        </p:txBody>
      </p:sp>
      <p:sp>
        <p:nvSpPr>
          <p:cNvPr id="26" name="TextBox 36"/>
          <p:cNvSpPr txBox="1"/>
          <p:nvPr/>
        </p:nvSpPr>
        <p:spPr>
          <a:xfrm>
            <a:off x="1454663" y="3711509"/>
            <a:ext cx="223385" cy="234286"/>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050" b="1" i="0" u="none" strike="noStrike" kern="0" cap="none" spc="0" normalizeH="0" baseline="0" noProof="0" dirty="0" smtClean="0">
                <a:ln>
                  <a:noFill/>
                </a:ln>
                <a:solidFill>
                  <a:srgbClr val="4F81BD"/>
                </a:solidFill>
                <a:effectLst/>
                <a:uLnTx/>
                <a:uFillTx/>
                <a:latin typeface="Arial" panose="020B0604020202020204"/>
                <a:ea typeface="+mn-ea"/>
                <a:cs typeface="+mn-cs"/>
              </a:rPr>
              <a:t>11</a:t>
            </a:r>
            <a:endParaRPr kumimoji="0" lang="en-US" sz="1050" b="1" i="0" u="none" strike="noStrike" kern="0" cap="none" spc="0" normalizeH="0" baseline="0" noProof="0" dirty="0" err="1" smtClean="0">
              <a:ln>
                <a:noFill/>
              </a:ln>
              <a:solidFill>
                <a:srgbClr val="4F81BD"/>
              </a:solidFill>
              <a:effectLst/>
              <a:uLnTx/>
              <a:uFillTx/>
              <a:latin typeface="Arial" panose="020B0604020202020204"/>
              <a:ea typeface="+mn-ea"/>
              <a:cs typeface="+mn-cs"/>
            </a:endParaRPr>
          </a:p>
        </p:txBody>
      </p:sp>
      <p:sp>
        <p:nvSpPr>
          <p:cNvPr id="27" name="TextBox 37"/>
          <p:cNvSpPr txBox="1"/>
          <p:nvPr/>
        </p:nvSpPr>
        <p:spPr>
          <a:xfrm>
            <a:off x="2948723" y="3921325"/>
            <a:ext cx="223385" cy="234286"/>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050" b="1" i="0" u="none" strike="noStrike" kern="0" cap="none" spc="0" normalizeH="0" baseline="0" noProof="0" dirty="0" smtClean="0">
                <a:ln>
                  <a:noFill/>
                </a:ln>
                <a:solidFill>
                  <a:srgbClr val="4F81BD"/>
                </a:solidFill>
                <a:effectLst/>
                <a:uLnTx/>
                <a:uFillTx/>
                <a:latin typeface="Arial" panose="020B0604020202020204"/>
                <a:ea typeface="+mn-ea"/>
                <a:cs typeface="+mn-cs"/>
              </a:rPr>
              <a:t>12</a:t>
            </a:r>
            <a:endParaRPr kumimoji="0" lang="en-US" sz="1050" b="1" i="0" u="none" strike="noStrike" kern="0" cap="none" spc="0" normalizeH="0" baseline="0" noProof="0" dirty="0" err="1" smtClean="0">
              <a:ln>
                <a:noFill/>
              </a:ln>
              <a:solidFill>
                <a:srgbClr val="4F81BD"/>
              </a:solidFill>
              <a:effectLst/>
              <a:uLnTx/>
              <a:uFillTx/>
              <a:latin typeface="Arial" panose="020B0604020202020204"/>
              <a:ea typeface="+mn-ea"/>
              <a:cs typeface="+mn-cs"/>
            </a:endParaRPr>
          </a:p>
        </p:txBody>
      </p:sp>
      <p:sp>
        <p:nvSpPr>
          <p:cNvPr id="28" name="TextBox 38"/>
          <p:cNvSpPr txBox="1"/>
          <p:nvPr/>
        </p:nvSpPr>
        <p:spPr>
          <a:xfrm>
            <a:off x="221264" y="4136642"/>
            <a:ext cx="223385" cy="234286"/>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050" b="1" i="0" u="none" strike="noStrike" kern="0" cap="none" spc="0" normalizeH="0" baseline="0" noProof="0" dirty="0" smtClean="0">
                <a:ln>
                  <a:noFill/>
                </a:ln>
                <a:solidFill>
                  <a:srgbClr val="4F81BD"/>
                </a:solidFill>
                <a:effectLst/>
                <a:uLnTx/>
                <a:uFillTx/>
                <a:latin typeface="Arial" panose="020B0604020202020204"/>
                <a:ea typeface="+mn-ea"/>
                <a:cs typeface="+mn-cs"/>
              </a:rPr>
              <a:t>13</a:t>
            </a:r>
            <a:endParaRPr kumimoji="0" lang="en-US" sz="1050" b="1" i="0" u="none" strike="noStrike" kern="0" cap="none" spc="0" normalizeH="0" baseline="0" noProof="0" dirty="0" err="1" smtClean="0">
              <a:ln>
                <a:noFill/>
              </a:ln>
              <a:solidFill>
                <a:srgbClr val="4F81BD"/>
              </a:solidFill>
              <a:effectLst/>
              <a:uLnTx/>
              <a:uFillTx/>
              <a:latin typeface="Arial" panose="020B0604020202020204"/>
              <a:ea typeface="+mn-ea"/>
              <a:cs typeface="+mn-cs"/>
            </a:endParaRPr>
          </a:p>
        </p:txBody>
      </p:sp>
      <p:sp>
        <p:nvSpPr>
          <p:cNvPr id="29" name="TextBox 39"/>
          <p:cNvSpPr txBox="1"/>
          <p:nvPr/>
        </p:nvSpPr>
        <p:spPr>
          <a:xfrm>
            <a:off x="1316815" y="4345764"/>
            <a:ext cx="223385" cy="234286"/>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050" b="1" i="0" u="none" strike="noStrike" kern="0" cap="none" spc="0" normalizeH="0" baseline="0" noProof="0" dirty="0" smtClean="0">
                <a:ln>
                  <a:noFill/>
                </a:ln>
                <a:solidFill>
                  <a:srgbClr val="4F81BD"/>
                </a:solidFill>
                <a:effectLst/>
                <a:uLnTx/>
                <a:uFillTx/>
                <a:latin typeface="Arial" panose="020B0604020202020204"/>
                <a:ea typeface="+mn-ea"/>
                <a:cs typeface="+mn-cs"/>
              </a:rPr>
              <a:t>14</a:t>
            </a:r>
            <a:endParaRPr kumimoji="0" lang="en-US" sz="1050" b="1" i="0" u="none" strike="noStrike" kern="0" cap="none" spc="0" normalizeH="0" baseline="0" noProof="0" dirty="0" err="1" smtClean="0">
              <a:ln>
                <a:noFill/>
              </a:ln>
              <a:solidFill>
                <a:srgbClr val="4F81BD"/>
              </a:solidFill>
              <a:effectLst/>
              <a:uLnTx/>
              <a:uFillTx/>
              <a:latin typeface="Arial" panose="020B0604020202020204"/>
              <a:ea typeface="+mn-ea"/>
              <a:cs typeface="+mn-cs"/>
            </a:endParaRPr>
          </a:p>
        </p:txBody>
      </p:sp>
      <p:sp>
        <p:nvSpPr>
          <p:cNvPr id="30" name="TextBox 40"/>
          <p:cNvSpPr txBox="1"/>
          <p:nvPr/>
        </p:nvSpPr>
        <p:spPr>
          <a:xfrm>
            <a:off x="1107109" y="4553903"/>
            <a:ext cx="223385" cy="234286"/>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050" b="1" i="0" u="none" strike="noStrike" kern="0" cap="none" spc="0" normalizeH="0" baseline="0" noProof="0" dirty="0" smtClean="0">
                <a:ln>
                  <a:noFill/>
                </a:ln>
                <a:solidFill>
                  <a:srgbClr val="4F81BD"/>
                </a:solidFill>
                <a:effectLst/>
                <a:uLnTx/>
                <a:uFillTx/>
                <a:latin typeface="Arial" panose="020B0604020202020204"/>
                <a:ea typeface="+mn-ea"/>
                <a:cs typeface="+mn-cs"/>
              </a:rPr>
              <a:t>15</a:t>
            </a:r>
            <a:endParaRPr kumimoji="0" lang="en-US" sz="1050" b="1" i="0" u="none" strike="noStrike" kern="0" cap="none" spc="0" normalizeH="0" baseline="0" noProof="0" dirty="0" err="1" smtClean="0">
              <a:ln>
                <a:noFill/>
              </a:ln>
              <a:solidFill>
                <a:srgbClr val="4F81BD"/>
              </a:solidFill>
              <a:effectLst/>
              <a:uLnTx/>
              <a:uFillTx/>
              <a:latin typeface="Arial" panose="020B0604020202020204"/>
              <a:ea typeface="+mn-ea"/>
              <a:cs typeface="+mn-cs"/>
            </a:endParaRPr>
          </a:p>
        </p:txBody>
      </p:sp>
      <p:sp>
        <p:nvSpPr>
          <p:cNvPr id="31" name="TextBox 41"/>
          <p:cNvSpPr txBox="1"/>
          <p:nvPr/>
        </p:nvSpPr>
        <p:spPr>
          <a:xfrm>
            <a:off x="2415605" y="4767835"/>
            <a:ext cx="223385" cy="234286"/>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050" b="1" i="0" u="none" strike="noStrike" kern="0" cap="none" spc="0" normalizeH="0" baseline="0" noProof="0" dirty="0" smtClean="0">
                <a:ln>
                  <a:noFill/>
                </a:ln>
                <a:solidFill>
                  <a:srgbClr val="7F7F7F"/>
                </a:solidFill>
                <a:effectLst/>
                <a:uLnTx/>
                <a:uFillTx/>
                <a:latin typeface="Arial" panose="020B0604020202020204"/>
                <a:ea typeface="+mn-ea"/>
                <a:cs typeface="+mn-cs"/>
              </a:rPr>
              <a:t>16</a:t>
            </a:r>
            <a:endParaRPr kumimoji="0" lang="en-US" sz="1050" b="1" i="0" u="none" strike="noStrike" kern="0" cap="none" spc="0" normalizeH="0" baseline="0" noProof="0" dirty="0" err="1" smtClean="0">
              <a:ln>
                <a:noFill/>
              </a:ln>
              <a:solidFill>
                <a:srgbClr val="7F7F7F"/>
              </a:solidFill>
              <a:effectLst/>
              <a:uLnTx/>
              <a:uFillTx/>
              <a:latin typeface="Arial" panose="020B0604020202020204"/>
              <a:ea typeface="+mn-ea"/>
              <a:cs typeface="+mn-cs"/>
            </a:endParaRPr>
          </a:p>
        </p:txBody>
      </p:sp>
      <p:sp>
        <p:nvSpPr>
          <p:cNvPr id="32" name="TextBox 42"/>
          <p:cNvSpPr txBox="1"/>
          <p:nvPr/>
        </p:nvSpPr>
        <p:spPr>
          <a:xfrm>
            <a:off x="2492328" y="4985595"/>
            <a:ext cx="223385" cy="234286"/>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050" b="1" i="0" u="none" strike="noStrike" kern="0" cap="none" spc="0" normalizeH="0" baseline="0" noProof="0" dirty="0" smtClean="0">
                <a:ln>
                  <a:noFill/>
                </a:ln>
                <a:solidFill>
                  <a:srgbClr val="7F7F7F"/>
                </a:solidFill>
                <a:effectLst/>
                <a:uLnTx/>
                <a:uFillTx/>
                <a:latin typeface="Arial" panose="020B0604020202020204"/>
                <a:ea typeface="+mn-ea"/>
                <a:cs typeface="+mn-cs"/>
              </a:rPr>
              <a:t>17</a:t>
            </a:r>
            <a:endParaRPr kumimoji="0" lang="en-US" sz="1050" b="1" i="0" u="none" strike="noStrike" kern="0" cap="none" spc="0" normalizeH="0" baseline="0" noProof="0" dirty="0" err="1" smtClean="0">
              <a:ln>
                <a:noFill/>
              </a:ln>
              <a:solidFill>
                <a:srgbClr val="7F7F7F"/>
              </a:solidFill>
              <a:effectLst/>
              <a:uLnTx/>
              <a:uFillTx/>
              <a:latin typeface="Arial" panose="020B0604020202020204"/>
              <a:ea typeface="+mn-ea"/>
              <a:cs typeface="+mn-cs"/>
            </a:endParaRPr>
          </a:p>
        </p:txBody>
      </p:sp>
      <p:sp>
        <p:nvSpPr>
          <p:cNvPr id="33" name="TextBox 43"/>
          <p:cNvSpPr txBox="1"/>
          <p:nvPr/>
        </p:nvSpPr>
        <p:spPr>
          <a:xfrm>
            <a:off x="2921631" y="5185918"/>
            <a:ext cx="223385" cy="234286"/>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050" b="1" i="0" u="none" strike="noStrike" kern="0" cap="none" spc="0" normalizeH="0" baseline="0" noProof="0" dirty="0" smtClean="0">
                <a:ln>
                  <a:noFill/>
                </a:ln>
                <a:solidFill>
                  <a:srgbClr val="7F7F7F"/>
                </a:solidFill>
                <a:effectLst/>
                <a:uLnTx/>
                <a:uFillTx/>
                <a:latin typeface="Arial" panose="020B0604020202020204"/>
                <a:ea typeface="+mn-ea"/>
                <a:cs typeface="+mn-cs"/>
              </a:rPr>
              <a:t>18</a:t>
            </a:r>
            <a:endParaRPr kumimoji="0" lang="en-US" sz="1050" b="1" i="0" u="none" strike="noStrike" kern="0" cap="none" spc="0" normalizeH="0" baseline="0" noProof="0" dirty="0" err="1" smtClean="0">
              <a:ln>
                <a:noFill/>
              </a:ln>
              <a:solidFill>
                <a:srgbClr val="7F7F7F"/>
              </a:solidFill>
              <a:effectLst/>
              <a:uLnTx/>
              <a:uFillTx/>
              <a:latin typeface="Arial" panose="020B0604020202020204"/>
              <a:ea typeface="+mn-ea"/>
              <a:cs typeface="+mn-cs"/>
            </a:endParaRPr>
          </a:p>
        </p:txBody>
      </p:sp>
      <p:sp>
        <p:nvSpPr>
          <p:cNvPr id="34" name="TextBox 44"/>
          <p:cNvSpPr txBox="1"/>
          <p:nvPr/>
        </p:nvSpPr>
        <p:spPr>
          <a:xfrm>
            <a:off x="2802823" y="5401237"/>
            <a:ext cx="223385" cy="234286"/>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050" b="1" i="0" u="none" strike="noStrike" kern="0" cap="none" spc="0" normalizeH="0" baseline="0" noProof="0" dirty="0" smtClean="0">
                <a:ln>
                  <a:noFill/>
                </a:ln>
                <a:solidFill>
                  <a:srgbClr val="7F7F7F"/>
                </a:solidFill>
                <a:effectLst/>
                <a:uLnTx/>
                <a:uFillTx/>
                <a:latin typeface="Arial" panose="020B0604020202020204"/>
                <a:ea typeface="+mn-ea"/>
                <a:cs typeface="+mn-cs"/>
              </a:rPr>
              <a:t>19</a:t>
            </a:r>
            <a:endParaRPr kumimoji="0" lang="en-US" sz="1050" b="1" i="0" u="none" strike="noStrike" kern="0" cap="none" spc="0" normalizeH="0" baseline="0" noProof="0" dirty="0" err="1" smtClean="0">
              <a:ln>
                <a:noFill/>
              </a:ln>
              <a:solidFill>
                <a:srgbClr val="7F7F7F"/>
              </a:solidFill>
              <a:effectLst/>
              <a:uLnTx/>
              <a:uFillTx/>
              <a:latin typeface="Arial" panose="020B0604020202020204"/>
              <a:ea typeface="+mn-ea"/>
              <a:cs typeface="+mn-cs"/>
            </a:endParaRPr>
          </a:p>
        </p:txBody>
      </p:sp>
      <p:sp>
        <p:nvSpPr>
          <p:cNvPr id="35" name="TextBox 45"/>
          <p:cNvSpPr txBox="1"/>
          <p:nvPr/>
        </p:nvSpPr>
        <p:spPr>
          <a:xfrm>
            <a:off x="34346" y="5609369"/>
            <a:ext cx="223385" cy="234286"/>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050" b="1" i="0" u="none" strike="noStrike" kern="0" cap="none" spc="0" normalizeH="0" baseline="0" noProof="0" dirty="0" smtClean="0">
                <a:ln>
                  <a:noFill/>
                </a:ln>
                <a:solidFill>
                  <a:srgbClr val="7F7F7F"/>
                </a:solidFill>
                <a:effectLst/>
                <a:uLnTx/>
                <a:uFillTx/>
                <a:latin typeface="Arial" panose="020B0604020202020204"/>
                <a:ea typeface="+mn-ea"/>
                <a:cs typeface="+mn-cs"/>
              </a:rPr>
              <a:t>20</a:t>
            </a:r>
            <a:endParaRPr kumimoji="0" lang="en-US" sz="1050" b="1" i="0" u="none" strike="noStrike" kern="0" cap="none" spc="0" normalizeH="0" baseline="0" noProof="0" dirty="0" err="1" smtClean="0">
              <a:ln>
                <a:noFill/>
              </a:ln>
              <a:solidFill>
                <a:srgbClr val="7F7F7F"/>
              </a:solidFill>
              <a:effectLst/>
              <a:uLnTx/>
              <a:uFillTx/>
              <a:latin typeface="Arial" panose="020B0604020202020204"/>
              <a:ea typeface="+mn-ea"/>
              <a:cs typeface="+mn-cs"/>
            </a:endParaRPr>
          </a:p>
        </p:txBody>
      </p:sp>
      <p:sp>
        <p:nvSpPr>
          <p:cNvPr id="36" name="TextBox 46"/>
          <p:cNvSpPr txBox="1"/>
          <p:nvPr/>
        </p:nvSpPr>
        <p:spPr>
          <a:xfrm>
            <a:off x="2300299" y="5823173"/>
            <a:ext cx="223385" cy="234286"/>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050" b="1" i="0" u="none" strike="noStrike" kern="0" cap="none" spc="0" normalizeH="0" baseline="0" noProof="0" dirty="0" smtClean="0">
                <a:ln>
                  <a:noFill/>
                </a:ln>
                <a:solidFill>
                  <a:srgbClr val="7F7F7F"/>
                </a:solidFill>
                <a:effectLst/>
                <a:uLnTx/>
                <a:uFillTx/>
                <a:latin typeface="Arial" panose="020B0604020202020204"/>
                <a:ea typeface="+mn-ea"/>
                <a:cs typeface="+mn-cs"/>
              </a:rPr>
              <a:t>21</a:t>
            </a:r>
            <a:endParaRPr kumimoji="0" lang="en-US" sz="1050" b="1" i="0" u="none" strike="noStrike" kern="0" cap="none" spc="0" normalizeH="0" baseline="0" noProof="0" dirty="0" err="1" smtClean="0">
              <a:ln>
                <a:noFill/>
              </a:ln>
              <a:solidFill>
                <a:srgbClr val="7F7F7F"/>
              </a:solidFill>
              <a:effectLst/>
              <a:uLnTx/>
              <a:uFillTx/>
              <a:latin typeface="Arial" panose="020B0604020202020204"/>
              <a:ea typeface="+mn-ea"/>
              <a:cs typeface="+mn-cs"/>
            </a:endParaRPr>
          </a:p>
        </p:txBody>
      </p:sp>
      <p:sp>
        <p:nvSpPr>
          <p:cNvPr id="37" name="TextBox 47"/>
          <p:cNvSpPr txBox="1"/>
          <p:nvPr/>
        </p:nvSpPr>
        <p:spPr>
          <a:xfrm>
            <a:off x="2233889" y="6027547"/>
            <a:ext cx="223385" cy="234286"/>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050" b="1" i="0" u="none" strike="noStrike" kern="0" cap="none" spc="0" normalizeH="0" baseline="0" noProof="0" dirty="0" smtClean="0">
                <a:ln>
                  <a:noFill/>
                </a:ln>
                <a:solidFill>
                  <a:srgbClr val="7F7F7F"/>
                </a:solidFill>
                <a:effectLst/>
                <a:uLnTx/>
                <a:uFillTx/>
                <a:latin typeface="Arial" panose="020B0604020202020204"/>
                <a:ea typeface="+mn-ea"/>
                <a:cs typeface="+mn-cs"/>
              </a:rPr>
              <a:t>22</a:t>
            </a:r>
            <a:endParaRPr kumimoji="0" lang="en-US" sz="1050" b="1" i="0" u="none" strike="noStrike" kern="0" cap="none" spc="0" normalizeH="0" baseline="0" noProof="0" dirty="0" err="1" smtClean="0">
              <a:ln>
                <a:noFill/>
              </a:ln>
              <a:solidFill>
                <a:srgbClr val="7F7F7F"/>
              </a:solidFill>
              <a:effectLst/>
              <a:uLnTx/>
              <a:uFillTx/>
              <a:latin typeface="Arial" panose="020B0604020202020204"/>
              <a:ea typeface="+mn-ea"/>
              <a:cs typeface="+mn-cs"/>
            </a:endParaRPr>
          </a:p>
        </p:txBody>
      </p:sp>
      <p:sp>
        <p:nvSpPr>
          <p:cNvPr id="38" name="TextBox 48"/>
          <p:cNvSpPr txBox="1"/>
          <p:nvPr/>
        </p:nvSpPr>
        <p:spPr>
          <a:xfrm>
            <a:off x="776183" y="6250258"/>
            <a:ext cx="223385" cy="234286"/>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050" b="1" i="0" u="none" strike="noStrike" kern="0" cap="none" spc="0" normalizeH="0" baseline="0" noProof="0" dirty="0" smtClean="0">
                <a:ln>
                  <a:noFill/>
                </a:ln>
                <a:solidFill>
                  <a:srgbClr val="7F7F7F"/>
                </a:solidFill>
                <a:effectLst/>
                <a:uLnTx/>
                <a:uFillTx/>
                <a:latin typeface="Arial" panose="020B0604020202020204"/>
                <a:ea typeface="+mn-ea"/>
                <a:cs typeface="+mn-cs"/>
              </a:rPr>
              <a:t>23</a:t>
            </a:r>
            <a:endParaRPr kumimoji="0" lang="en-US" sz="1050" b="1" i="0" u="none" strike="noStrike" kern="0" cap="none" spc="0" normalizeH="0" baseline="0" noProof="0" dirty="0" err="1" smtClean="0">
              <a:ln>
                <a:noFill/>
              </a:ln>
              <a:solidFill>
                <a:srgbClr val="7F7F7F"/>
              </a:solidFill>
              <a:effectLst/>
              <a:uLnTx/>
              <a:uFillTx/>
              <a:latin typeface="Arial" panose="020B0604020202020204"/>
              <a:ea typeface="+mn-ea"/>
              <a:cs typeface="+mn-cs"/>
            </a:endParaRPr>
          </a:p>
        </p:txBody>
      </p:sp>
      <p:sp>
        <p:nvSpPr>
          <p:cNvPr id="41" name="TextBox 33"/>
          <p:cNvSpPr txBox="1"/>
          <p:nvPr/>
        </p:nvSpPr>
        <p:spPr>
          <a:xfrm>
            <a:off x="3391111" y="3073966"/>
            <a:ext cx="148045" cy="234286"/>
          </a:xfrm>
          <a:prstGeom prst="rect">
            <a:avLst/>
          </a:prstGeom>
          <a:ln algn="ctr"/>
        </p:spPr>
        <p:txBody>
          <a:bodyPr wrap="none" lIns="36000" tIns="36000" rIns="36000" bIns="360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1050" b="1" i="0" u="none" strike="noStrike" kern="0" cap="none" spc="0" normalizeH="0" baseline="0" noProof="0" dirty="0">
                <a:ln>
                  <a:noFill/>
                </a:ln>
                <a:solidFill>
                  <a:srgbClr val="4F81BD"/>
                </a:solidFill>
                <a:effectLst/>
                <a:uLnTx/>
                <a:uFillTx/>
                <a:latin typeface="Arial" panose="020B0604020202020204"/>
                <a:ea typeface="+mn-ea"/>
                <a:cs typeface="+mn-cs"/>
              </a:rPr>
              <a:t>8</a:t>
            </a:r>
            <a:endParaRPr kumimoji="0" lang="en-US" sz="1050" b="1" i="0" u="none" strike="noStrike" kern="0" cap="none" spc="0" normalizeH="0" baseline="0" noProof="0" dirty="0" err="1" smtClean="0">
              <a:ln>
                <a:noFill/>
              </a:ln>
              <a:solidFill>
                <a:srgbClr val="4F81BD"/>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3386004"/>
      </p:ext>
    </p:extLst>
  </p:cSld>
  <p:clrMapOvr>
    <a:masterClrMapping/>
  </p:clrMapOvr>
  <p:transition spd="slow"/>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el 1"/>
          <p:cNvSpPr>
            <a:spLocks noGrp="1"/>
          </p:cNvSpPr>
          <p:nvPr>
            <p:ph type="title"/>
          </p:nvPr>
        </p:nvSpPr>
        <p:spPr/>
        <p:txBody>
          <a:bodyPr/>
          <a:lstStyle/>
          <a:p>
            <a:r>
              <a:rPr lang="de-DE" dirty="0"/>
              <a:t>Das Wachstum kann weitergehen, aber auf einem anderen Pfad</a:t>
            </a:r>
            <a:r>
              <a:rPr lang="de-DE" dirty="0" smtClean="0"/>
              <a:t>.</a:t>
            </a:r>
            <a:br>
              <a:rPr lang="de-DE" dirty="0" smtClean="0"/>
            </a:br>
            <a:r>
              <a:rPr lang="de-DE" dirty="0" smtClean="0"/>
              <a:t>Wenn komplexe Systeme zu stark </a:t>
            </a:r>
            <a:r>
              <a:rPr lang="de-DE" dirty="0" err="1" smtClean="0"/>
              <a:t>gestretcht</a:t>
            </a:r>
            <a:r>
              <a:rPr lang="de-DE" dirty="0" smtClean="0"/>
              <a:t> werden, können sie kollabieren. </a:t>
            </a:r>
            <a:endParaRPr lang="de-DE" dirty="0"/>
          </a:p>
        </p:txBody>
      </p:sp>
      <p:cxnSp>
        <p:nvCxnSpPr>
          <p:cNvPr id="92" name="Gerade Verbindung mit Pfeil 8"/>
          <p:cNvCxnSpPr>
            <a:cxnSpLocks noChangeShapeType="1"/>
          </p:cNvCxnSpPr>
          <p:nvPr/>
        </p:nvCxnSpPr>
        <p:spPr bwMode="auto">
          <a:xfrm>
            <a:off x="2667396" y="5189506"/>
            <a:ext cx="4249791" cy="1095"/>
          </a:xfrm>
          <a:prstGeom prst="straightConnector1">
            <a:avLst/>
          </a:prstGeom>
          <a:noFill/>
          <a:ln w="12700" cap="rnd" algn="ctr">
            <a:solidFill>
              <a:schemeClr val="tx1"/>
            </a:solidFill>
            <a:round/>
            <a:headEnd/>
            <a:tailEnd type="triangle" w="med" len="med"/>
          </a:ln>
        </p:spPr>
      </p:cxnSp>
      <p:sp>
        <p:nvSpPr>
          <p:cNvPr id="93" name="Textfeld 53"/>
          <p:cNvSpPr txBox="1">
            <a:spLocks noChangeArrowheads="1"/>
          </p:cNvSpPr>
          <p:nvPr/>
        </p:nvSpPr>
        <p:spPr bwMode="auto">
          <a:xfrm>
            <a:off x="6489656" y="2404879"/>
            <a:ext cx="1347338" cy="500449"/>
          </a:xfrm>
          <a:prstGeom prst="rect">
            <a:avLst/>
          </a:prstGeom>
          <a:noFill/>
          <a:ln w="9525">
            <a:noFill/>
            <a:miter lim="800000"/>
            <a:headEnd/>
            <a:tailEnd/>
          </a:ln>
        </p:spPr>
        <p:txBody>
          <a:bodyPr wrap="none" lIns="63110" tIns="31555" rIns="63110" bIns="31555">
            <a:spAutoFit/>
          </a:bodyP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0" lang="de-DE" sz="1038" b="0" i="0" u="none" strike="noStrike" kern="1200" cap="none" spc="0" normalizeH="0" baseline="0" noProof="0" dirty="0">
                <a:ln>
                  <a:noFill/>
                </a:ln>
                <a:solidFill>
                  <a:srgbClr val="009E47"/>
                </a:solidFill>
                <a:effectLst/>
                <a:uLnTx/>
                <a:uFillTx/>
                <a:latin typeface="Arial"/>
                <a:ea typeface="+mn-ea"/>
                <a:cs typeface="Arial" charset="0"/>
              </a:rPr>
              <a:t>Grundlagen der </a:t>
            </a:r>
          </a:p>
          <a:p>
            <a:pPr marL="0" marR="0" lvl="0" indent="0" algn="l" defTabSz="844083" rtl="0" eaLnBrk="1" fontAlgn="base" latinLnBrk="0" hangingPunct="1">
              <a:lnSpc>
                <a:spcPct val="100000"/>
              </a:lnSpc>
              <a:spcBef>
                <a:spcPct val="0"/>
              </a:spcBef>
              <a:spcAft>
                <a:spcPct val="0"/>
              </a:spcAft>
              <a:buClrTx/>
              <a:buSzTx/>
              <a:buFontTx/>
              <a:buNone/>
              <a:tabLst/>
              <a:defRPr/>
            </a:pPr>
            <a:r>
              <a:rPr kumimoji="0" lang="de-DE" sz="1038" b="0" i="0" u="none" strike="noStrike" kern="1200" cap="none" spc="0" normalizeH="0" baseline="0" noProof="0">
                <a:ln>
                  <a:noFill/>
                </a:ln>
                <a:solidFill>
                  <a:srgbClr val="009E47"/>
                </a:solidFill>
                <a:effectLst/>
                <a:uLnTx/>
                <a:uFillTx/>
                <a:latin typeface="Arial"/>
                <a:ea typeface="+mn-ea"/>
                <a:cs typeface="Arial" charset="0"/>
              </a:rPr>
              <a:t>zukünftigen Existenz</a:t>
            </a:r>
          </a:p>
          <a:p>
            <a:pPr marL="0" marR="0" lvl="0" indent="0" algn="l" defTabSz="844083" rtl="0" eaLnBrk="1" fontAlgn="base" latinLnBrk="0" hangingPunct="1">
              <a:lnSpc>
                <a:spcPct val="100000"/>
              </a:lnSpc>
              <a:spcBef>
                <a:spcPct val="0"/>
              </a:spcBef>
              <a:spcAft>
                <a:spcPct val="0"/>
              </a:spcAft>
              <a:buClrTx/>
              <a:buSzTx/>
              <a:buFontTx/>
              <a:buNone/>
              <a:tabLst/>
              <a:defRPr/>
            </a:pPr>
            <a:r>
              <a:rPr kumimoji="0" lang="de-DE" sz="762" b="0" i="0" u="none" strike="noStrike" kern="1200" cap="none" spc="0" normalizeH="0" baseline="0" noProof="0">
                <a:ln>
                  <a:noFill/>
                </a:ln>
                <a:solidFill>
                  <a:srgbClr val="009E47"/>
                </a:solidFill>
                <a:effectLst/>
                <a:uLnTx/>
                <a:uFillTx/>
                <a:latin typeface="Arial"/>
                <a:ea typeface="+mn-ea"/>
                <a:cs typeface="Arial" charset="0"/>
              </a:rPr>
              <a:t>Malik Management Modelle</a:t>
            </a:r>
            <a:endParaRPr kumimoji="0" lang="de-DE" sz="1038" b="0" i="0" u="none" strike="noStrike" kern="1200" cap="none" spc="0" normalizeH="0" baseline="0" noProof="0" dirty="0">
              <a:ln>
                <a:noFill/>
              </a:ln>
              <a:solidFill>
                <a:srgbClr val="009E47"/>
              </a:solidFill>
              <a:effectLst/>
              <a:uLnTx/>
              <a:uFillTx/>
              <a:latin typeface="Arial"/>
              <a:ea typeface="+mn-ea"/>
              <a:cs typeface="Arial" charset="0"/>
            </a:endParaRPr>
          </a:p>
        </p:txBody>
      </p:sp>
      <p:sp>
        <p:nvSpPr>
          <p:cNvPr id="95" name="Textfeld 57"/>
          <p:cNvSpPr txBox="1">
            <a:spLocks noChangeArrowheads="1"/>
          </p:cNvSpPr>
          <p:nvPr/>
        </p:nvSpPr>
        <p:spPr bwMode="auto">
          <a:xfrm rot="16200000">
            <a:off x="1105468" y="3662494"/>
            <a:ext cx="2884618" cy="223450"/>
          </a:xfrm>
          <a:prstGeom prst="rect">
            <a:avLst/>
          </a:prstGeom>
          <a:noFill/>
          <a:ln w="9525">
            <a:noFill/>
            <a:miter lim="800000"/>
            <a:headEnd/>
            <a:tailEnd/>
          </a:ln>
        </p:spPr>
        <p:txBody>
          <a:bodyPr wrap="none" lIns="63110" tIns="31555" rIns="63110" bIns="31555">
            <a:spAutoFit/>
          </a:bodyP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0" lang="de-DE" sz="1038" b="0" i="0" u="none" strike="noStrike" kern="1200" cap="none" spc="0" normalizeH="0" baseline="0" noProof="0" dirty="0">
                <a:ln>
                  <a:noFill/>
                </a:ln>
                <a:solidFill>
                  <a:srgbClr val="000000"/>
                </a:solidFill>
                <a:effectLst/>
                <a:uLnTx/>
                <a:uFillTx/>
                <a:latin typeface="Arial"/>
                <a:ea typeface="+mn-ea"/>
                <a:cs typeface="Arial" charset="0"/>
              </a:rPr>
              <a:t>Entwicklungsverläufe wichtiger Systemaspekte</a:t>
            </a:r>
          </a:p>
        </p:txBody>
      </p:sp>
      <p:sp>
        <p:nvSpPr>
          <p:cNvPr id="96" name="Textfeld 58"/>
          <p:cNvSpPr txBox="1">
            <a:spLocks noChangeArrowheads="1"/>
          </p:cNvSpPr>
          <p:nvPr/>
        </p:nvSpPr>
        <p:spPr bwMode="auto">
          <a:xfrm>
            <a:off x="2853648" y="5174801"/>
            <a:ext cx="989868" cy="223450"/>
          </a:xfrm>
          <a:prstGeom prst="rect">
            <a:avLst/>
          </a:prstGeom>
          <a:noFill/>
          <a:ln w="9525">
            <a:noFill/>
            <a:miter lim="800000"/>
            <a:headEnd/>
            <a:tailEnd/>
          </a:ln>
        </p:spPr>
        <p:txBody>
          <a:bodyPr wrap="none" lIns="63110" tIns="31555" rIns="63110" bIns="31555">
            <a:spAutoFit/>
          </a:bodyPr>
          <a:lstStyle/>
          <a:p>
            <a:pPr marL="0" marR="0" lvl="0" indent="0" algn="r" defTabSz="844083" rtl="0" eaLnBrk="1" fontAlgn="base" latinLnBrk="0" hangingPunct="1">
              <a:lnSpc>
                <a:spcPct val="100000"/>
              </a:lnSpc>
              <a:spcBef>
                <a:spcPct val="0"/>
              </a:spcBef>
              <a:spcAft>
                <a:spcPct val="0"/>
              </a:spcAft>
              <a:buClrTx/>
              <a:buSzTx/>
              <a:buFontTx/>
              <a:buNone/>
              <a:tabLst/>
              <a:defRPr/>
            </a:pPr>
            <a:r>
              <a:rPr kumimoji="0" lang="de-DE" sz="1038" b="0" i="0" u="none" strike="noStrike" kern="1200" cap="none" spc="0" normalizeH="0" baseline="0" noProof="0" dirty="0">
                <a:ln>
                  <a:noFill/>
                </a:ln>
                <a:solidFill>
                  <a:srgbClr val="000000"/>
                </a:solidFill>
                <a:effectLst/>
                <a:uLnTx/>
                <a:uFillTx/>
                <a:latin typeface="Arial"/>
                <a:ea typeface="+mn-ea"/>
                <a:cs typeface="Arial" charset="0"/>
              </a:rPr>
              <a:t>Vergangenheit</a:t>
            </a:r>
          </a:p>
        </p:txBody>
      </p:sp>
      <p:sp>
        <p:nvSpPr>
          <p:cNvPr id="97" name="Textfeld 59"/>
          <p:cNvSpPr txBox="1">
            <a:spLocks noChangeArrowheads="1"/>
          </p:cNvSpPr>
          <p:nvPr/>
        </p:nvSpPr>
        <p:spPr bwMode="auto">
          <a:xfrm>
            <a:off x="4132021" y="5376270"/>
            <a:ext cx="481717" cy="223450"/>
          </a:xfrm>
          <a:prstGeom prst="rect">
            <a:avLst/>
          </a:prstGeom>
          <a:noFill/>
          <a:ln w="9525">
            <a:noFill/>
            <a:miter lim="800000"/>
            <a:headEnd/>
            <a:tailEnd/>
          </a:ln>
        </p:spPr>
        <p:txBody>
          <a:bodyPr wrap="none" lIns="63110" tIns="31555" rIns="63110" bIns="31555">
            <a:spAutoFit/>
          </a:bodyP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0" lang="de-DE" sz="1038" b="0" i="0" u="none" strike="noStrike" kern="1200" cap="none" spc="0" normalizeH="0" baseline="0" noProof="0" dirty="0">
                <a:ln>
                  <a:noFill/>
                </a:ln>
                <a:solidFill>
                  <a:srgbClr val="000000"/>
                </a:solidFill>
                <a:effectLst/>
                <a:uLnTx/>
                <a:uFillTx/>
                <a:latin typeface="Arial"/>
                <a:ea typeface="+mn-ea"/>
                <a:cs typeface="Arial" charset="0"/>
              </a:rPr>
              <a:t>Heute</a:t>
            </a:r>
          </a:p>
        </p:txBody>
      </p:sp>
      <p:sp>
        <p:nvSpPr>
          <p:cNvPr id="98" name="Textfeld 60"/>
          <p:cNvSpPr txBox="1">
            <a:spLocks noChangeArrowheads="1"/>
          </p:cNvSpPr>
          <p:nvPr/>
        </p:nvSpPr>
        <p:spPr bwMode="auto">
          <a:xfrm>
            <a:off x="4810164" y="5176120"/>
            <a:ext cx="571485" cy="223450"/>
          </a:xfrm>
          <a:prstGeom prst="rect">
            <a:avLst/>
          </a:prstGeom>
          <a:noFill/>
          <a:ln w="9525">
            <a:noFill/>
            <a:miter lim="800000"/>
            <a:headEnd/>
            <a:tailEnd/>
          </a:ln>
        </p:spPr>
        <p:txBody>
          <a:bodyPr wrap="none" lIns="63110" tIns="31555" rIns="63110" bIns="31555">
            <a:spAutoFit/>
          </a:bodyP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0" lang="de-DE" sz="1038" b="0" i="0" u="none" strike="noStrike" kern="1200" cap="none" spc="0" normalizeH="0" baseline="0" noProof="0" dirty="0">
                <a:ln>
                  <a:noFill/>
                </a:ln>
                <a:solidFill>
                  <a:srgbClr val="000000"/>
                </a:solidFill>
                <a:effectLst/>
                <a:uLnTx/>
                <a:uFillTx/>
                <a:latin typeface="Arial"/>
                <a:ea typeface="+mn-ea"/>
                <a:cs typeface="Arial" charset="0"/>
              </a:rPr>
              <a:t>Zukunft</a:t>
            </a:r>
          </a:p>
        </p:txBody>
      </p:sp>
      <p:cxnSp>
        <p:nvCxnSpPr>
          <p:cNvPr id="99" name="Gerade Verbindung mit Pfeil 117"/>
          <p:cNvCxnSpPr>
            <a:cxnSpLocks noChangeShapeType="1"/>
          </p:cNvCxnSpPr>
          <p:nvPr/>
        </p:nvCxnSpPr>
        <p:spPr bwMode="auto">
          <a:xfrm>
            <a:off x="4418435" y="5286286"/>
            <a:ext cx="388406" cy="0"/>
          </a:xfrm>
          <a:prstGeom prst="straightConnector1">
            <a:avLst/>
          </a:prstGeom>
          <a:noFill/>
          <a:ln w="6350" algn="ctr">
            <a:solidFill>
              <a:schemeClr val="tx1"/>
            </a:solidFill>
            <a:round/>
            <a:headEnd/>
            <a:tailEnd type="triangle" w="med" len="med"/>
          </a:ln>
        </p:spPr>
      </p:cxnSp>
      <p:cxnSp>
        <p:nvCxnSpPr>
          <p:cNvPr id="100" name="Gerade Verbindung mit Pfeil 118"/>
          <p:cNvCxnSpPr>
            <a:cxnSpLocks noChangeShapeType="1"/>
          </p:cNvCxnSpPr>
          <p:nvPr/>
        </p:nvCxnSpPr>
        <p:spPr bwMode="auto">
          <a:xfrm flipH="1">
            <a:off x="3925986" y="5286286"/>
            <a:ext cx="388406" cy="0"/>
          </a:xfrm>
          <a:prstGeom prst="straightConnector1">
            <a:avLst/>
          </a:prstGeom>
          <a:noFill/>
          <a:ln w="6350" algn="ctr">
            <a:solidFill>
              <a:schemeClr val="tx1"/>
            </a:solidFill>
            <a:round/>
            <a:headEnd/>
            <a:tailEnd type="triangle" w="med" len="med"/>
          </a:ln>
        </p:spPr>
      </p:cxnSp>
      <p:sp>
        <p:nvSpPr>
          <p:cNvPr id="101" name="Freihandform 54"/>
          <p:cNvSpPr>
            <a:spLocks/>
          </p:cNvSpPr>
          <p:nvPr/>
        </p:nvSpPr>
        <p:spPr bwMode="auto">
          <a:xfrm rot="21396569">
            <a:off x="3634241" y="3603091"/>
            <a:ext cx="1421205" cy="1080801"/>
          </a:xfrm>
          <a:custGeom>
            <a:avLst/>
            <a:gdLst>
              <a:gd name="T0" fmla="*/ 4815 w 1944304"/>
              <a:gd name="T1" fmla="*/ 1019810 h 1090863"/>
              <a:gd name="T2" fmla="*/ 678849 w 1944304"/>
              <a:gd name="T3" fmla="*/ 452179 h 1090863"/>
              <a:gd name="T4" fmla="*/ 1131416 w 1944304"/>
              <a:gd name="T5" fmla="*/ 240521 h 1090863"/>
              <a:gd name="T6" fmla="*/ 1901742 w 1944304"/>
              <a:gd name="T7" fmla="*/ 48104 h 1090863"/>
              <a:gd name="T8" fmla="*/ 1391401 w 1944304"/>
              <a:gd name="T9" fmla="*/ 529147 h 1090863"/>
              <a:gd name="T10" fmla="*/ 707737 w 1944304"/>
              <a:gd name="T11" fmla="*/ 875497 h 1090863"/>
              <a:gd name="T12" fmla="*/ 4815 w 1944304"/>
              <a:gd name="T13" fmla="*/ 1019810 h 1090863"/>
              <a:gd name="T14" fmla="*/ 0 60000 65536"/>
              <a:gd name="T15" fmla="*/ 0 60000 65536"/>
              <a:gd name="T16" fmla="*/ 0 60000 65536"/>
              <a:gd name="T17" fmla="*/ 0 60000 65536"/>
              <a:gd name="T18" fmla="*/ 0 60000 65536"/>
              <a:gd name="T19" fmla="*/ 0 60000 65536"/>
              <a:gd name="T20" fmla="*/ 0 60000 65536"/>
              <a:gd name="connsiteX0" fmla="*/ 39 w 1842839"/>
              <a:gd name="connsiteY0" fmla="*/ 959272 h 981220"/>
              <a:gd name="connsiteX1" fmla="*/ 616799 w 1842839"/>
              <a:gd name="connsiteY1" fmla="*/ 412589 h 981220"/>
              <a:gd name="connsiteX2" fmla="*/ 1069187 w 1842839"/>
              <a:gd name="connsiteY2" fmla="*/ 200833 h 981220"/>
              <a:gd name="connsiteX3" fmla="*/ 1839208 w 1842839"/>
              <a:gd name="connsiteY3" fmla="*/ 8328 h 981220"/>
              <a:gd name="connsiteX4" fmla="*/ 1329069 w 1842839"/>
              <a:gd name="connsiteY4" fmla="*/ 489591 h 981220"/>
              <a:gd name="connsiteX5" fmla="*/ 645675 w 1842839"/>
              <a:gd name="connsiteY5" fmla="*/ 836101 h 981220"/>
              <a:gd name="connsiteX6" fmla="*/ 39 w 1842839"/>
              <a:gd name="connsiteY6" fmla="*/ 959272 h 981220"/>
              <a:gd name="connsiteX0" fmla="*/ 463 w 1843263"/>
              <a:gd name="connsiteY0" fmla="*/ 959272 h 981747"/>
              <a:gd name="connsiteX1" fmla="*/ 617223 w 1843263"/>
              <a:gd name="connsiteY1" fmla="*/ 412589 h 981747"/>
              <a:gd name="connsiteX2" fmla="*/ 1069611 w 1843263"/>
              <a:gd name="connsiteY2" fmla="*/ 200833 h 981747"/>
              <a:gd name="connsiteX3" fmla="*/ 1839632 w 1843263"/>
              <a:gd name="connsiteY3" fmla="*/ 8328 h 981747"/>
              <a:gd name="connsiteX4" fmla="*/ 1329493 w 1843263"/>
              <a:gd name="connsiteY4" fmla="*/ 489591 h 981747"/>
              <a:gd name="connsiteX5" fmla="*/ 719223 w 1843263"/>
              <a:gd name="connsiteY5" fmla="*/ 838859 h 981747"/>
              <a:gd name="connsiteX6" fmla="*/ 463 w 1843263"/>
              <a:gd name="connsiteY6" fmla="*/ 959272 h 981747"/>
              <a:gd name="connsiteX0" fmla="*/ 55759 w 1898559"/>
              <a:gd name="connsiteY0" fmla="*/ 959272 h 960290"/>
              <a:gd name="connsiteX1" fmla="*/ 672519 w 1898559"/>
              <a:gd name="connsiteY1" fmla="*/ 412589 h 960290"/>
              <a:gd name="connsiteX2" fmla="*/ 1124907 w 1898559"/>
              <a:gd name="connsiteY2" fmla="*/ 200833 h 960290"/>
              <a:gd name="connsiteX3" fmla="*/ 1894928 w 1898559"/>
              <a:gd name="connsiteY3" fmla="*/ 8328 h 960290"/>
              <a:gd name="connsiteX4" fmla="*/ 1384789 w 1898559"/>
              <a:gd name="connsiteY4" fmla="*/ 489591 h 960290"/>
              <a:gd name="connsiteX5" fmla="*/ 774519 w 1898559"/>
              <a:gd name="connsiteY5" fmla="*/ 838859 h 960290"/>
              <a:gd name="connsiteX6" fmla="*/ 55759 w 1898559"/>
              <a:gd name="connsiteY6" fmla="*/ 959272 h 960290"/>
              <a:gd name="connsiteX0" fmla="*/ 55759 w 1898559"/>
              <a:gd name="connsiteY0" fmla="*/ 959272 h 960290"/>
              <a:gd name="connsiteX1" fmla="*/ 672519 w 1898559"/>
              <a:gd name="connsiteY1" fmla="*/ 412589 h 960290"/>
              <a:gd name="connsiteX2" fmla="*/ 1124907 w 1898559"/>
              <a:gd name="connsiteY2" fmla="*/ 200833 h 960290"/>
              <a:gd name="connsiteX3" fmla="*/ 1894928 w 1898559"/>
              <a:gd name="connsiteY3" fmla="*/ 8328 h 960290"/>
              <a:gd name="connsiteX4" fmla="*/ 1384789 w 1898559"/>
              <a:gd name="connsiteY4" fmla="*/ 489591 h 960290"/>
              <a:gd name="connsiteX5" fmla="*/ 774519 w 1898559"/>
              <a:gd name="connsiteY5" fmla="*/ 838859 h 960290"/>
              <a:gd name="connsiteX6" fmla="*/ 55759 w 1898559"/>
              <a:gd name="connsiteY6" fmla="*/ 959272 h 960290"/>
              <a:gd name="connsiteX0" fmla="*/ 0 w 1842800"/>
              <a:gd name="connsiteY0" fmla="*/ 959272 h 959272"/>
              <a:gd name="connsiteX1" fmla="*/ 616760 w 1842800"/>
              <a:gd name="connsiteY1" fmla="*/ 412589 h 959272"/>
              <a:gd name="connsiteX2" fmla="*/ 1069148 w 1842800"/>
              <a:gd name="connsiteY2" fmla="*/ 200833 h 959272"/>
              <a:gd name="connsiteX3" fmla="*/ 1839169 w 1842800"/>
              <a:gd name="connsiteY3" fmla="*/ 8328 h 959272"/>
              <a:gd name="connsiteX4" fmla="*/ 1329030 w 1842800"/>
              <a:gd name="connsiteY4" fmla="*/ 489591 h 959272"/>
              <a:gd name="connsiteX5" fmla="*/ 718760 w 1842800"/>
              <a:gd name="connsiteY5" fmla="*/ 838859 h 959272"/>
              <a:gd name="connsiteX6" fmla="*/ 0 w 1842800"/>
              <a:gd name="connsiteY6" fmla="*/ 959272 h 959272"/>
              <a:gd name="connsiteX0" fmla="*/ 0 w 1842800"/>
              <a:gd name="connsiteY0" fmla="*/ 959272 h 959272"/>
              <a:gd name="connsiteX1" fmla="*/ 616760 w 1842800"/>
              <a:gd name="connsiteY1" fmla="*/ 412589 h 959272"/>
              <a:gd name="connsiteX2" fmla="*/ 1069148 w 1842800"/>
              <a:gd name="connsiteY2" fmla="*/ 200833 h 959272"/>
              <a:gd name="connsiteX3" fmla="*/ 1839169 w 1842800"/>
              <a:gd name="connsiteY3" fmla="*/ 8328 h 959272"/>
              <a:gd name="connsiteX4" fmla="*/ 1329030 w 1842800"/>
              <a:gd name="connsiteY4" fmla="*/ 489591 h 959272"/>
              <a:gd name="connsiteX5" fmla="*/ 718760 w 1842800"/>
              <a:gd name="connsiteY5" fmla="*/ 838859 h 959272"/>
              <a:gd name="connsiteX6" fmla="*/ 0 w 1842800"/>
              <a:gd name="connsiteY6" fmla="*/ 959272 h 959272"/>
              <a:gd name="connsiteX0" fmla="*/ 0 w 1839169"/>
              <a:gd name="connsiteY0" fmla="*/ 959272 h 959272"/>
              <a:gd name="connsiteX1" fmla="*/ 616760 w 1839169"/>
              <a:gd name="connsiteY1" fmla="*/ 412589 h 959272"/>
              <a:gd name="connsiteX2" fmla="*/ 1069148 w 1839169"/>
              <a:gd name="connsiteY2" fmla="*/ 200833 h 959272"/>
              <a:gd name="connsiteX3" fmla="*/ 1839169 w 1839169"/>
              <a:gd name="connsiteY3" fmla="*/ 8328 h 959272"/>
              <a:gd name="connsiteX4" fmla="*/ 1329030 w 1839169"/>
              <a:gd name="connsiteY4" fmla="*/ 489591 h 959272"/>
              <a:gd name="connsiteX5" fmla="*/ 718760 w 1839169"/>
              <a:gd name="connsiteY5" fmla="*/ 838859 h 959272"/>
              <a:gd name="connsiteX6" fmla="*/ 0 w 1839169"/>
              <a:gd name="connsiteY6" fmla="*/ 959272 h 959272"/>
              <a:gd name="connsiteX0" fmla="*/ 0 w 1839169"/>
              <a:gd name="connsiteY0" fmla="*/ 950944 h 950944"/>
              <a:gd name="connsiteX1" fmla="*/ 616760 w 1839169"/>
              <a:gd name="connsiteY1" fmla="*/ 404261 h 950944"/>
              <a:gd name="connsiteX2" fmla="*/ 1069148 w 1839169"/>
              <a:gd name="connsiteY2" fmla="*/ 192505 h 950944"/>
              <a:gd name="connsiteX3" fmla="*/ 1839169 w 1839169"/>
              <a:gd name="connsiteY3" fmla="*/ 0 h 950944"/>
              <a:gd name="connsiteX4" fmla="*/ 1329030 w 1839169"/>
              <a:gd name="connsiteY4" fmla="*/ 481263 h 950944"/>
              <a:gd name="connsiteX5" fmla="*/ 718760 w 1839169"/>
              <a:gd name="connsiteY5" fmla="*/ 830531 h 950944"/>
              <a:gd name="connsiteX6" fmla="*/ 0 w 1839169"/>
              <a:gd name="connsiteY6" fmla="*/ 950944 h 950944"/>
              <a:gd name="connsiteX0" fmla="*/ 0 w 1839169"/>
              <a:gd name="connsiteY0" fmla="*/ 950944 h 950944"/>
              <a:gd name="connsiteX1" fmla="*/ 603513 w 1839169"/>
              <a:gd name="connsiteY1" fmla="*/ 387093 h 950944"/>
              <a:gd name="connsiteX2" fmla="*/ 1069148 w 1839169"/>
              <a:gd name="connsiteY2" fmla="*/ 192505 h 950944"/>
              <a:gd name="connsiteX3" fmla="*/ 1839169 w 1839169"/>
              <a:gd name="connsiteY3" fmla="*/ 0 h 950944"/>
              <a:gd name="connsiteX4" fmla="*/ 1329030 w 1839169"/>
              <a:gd name="connsiteY4" fmla="*/ 481263 h 950944"/>
              <a:gd name="connsiteX5" fmla="*/ 718760 w 1839169"/>
              <a:gd name="connsiteY5" fmla="*/ 830531 h 950944"/>
              <a:gd name="connsiteX6" fmla="*/ 0 w 1839169"/>
              <a:gd name="connsiteY6" fmla="*/ 950944 h 950944"/>
              <a:gd name="connsiteX0" fmla="*/ 0 w 1839169"/>
              <a:gd name="connsiteY0" fmla="*/ 950944 h 950944"/>
              <a:gd name="connsiteX1" fmla="*/ 603513 w 1839169"/>
              <a:gd name="connsiteY1" fmla="*/ 387093 h 950944"/>
              <a:gd name="connsiteX2" fmla="*/ 1118464 w 1839169"/>
              <a:gd name="connsiteY2" fmla="*/ 134591 h 950944"/>
              <a:gd name="connsiteX3" fmla="*/ 1839169 w 1839169"/>
              <a:gd name="connsiteY3" fmla="*/ 0 h 950944"/>
              <a:gd name="connsiteX4" fmla="*/ 1329030 w 1839169"/>
              <a:gd name="connsiteY4" fmla="*/ 481263 h 950944"/>
              <a:gd name="connsiteX5" fmla="*/ 718760 w 1839169"/>
              <a:gd name="connsiteY5" fmla="*/ 830531 h 950944"/>
              <a:gd name="connsiteX6" fmla="*/ 0 w 1839169"/>
              <a:gd name="connsiteY6" fmla="*/ 950944 h 950944"/>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329030 w 1889323"/>
              <a:gd name="connsiteY4" fmla="*/ 492562 h 962243"/>
              <a:gd name="connsiteX5" fmla="*/ 718760 w 1889323"/>
              <a:gd name="connsiteY5" fmla="*/ 841830 h 962243"/>
              <a:gd name="connsiteX6" fmla="*/ 0 w 1889323"/>
              <a:gd name="connsiteY6" fmla="*/ 962243 h 962243"/>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329030 w 1889323"/>
              <a:gd name="connsiteY4" fmla="*/ 492562 h 962243"/>
              <a:gd name="connsiteX5" fmla="*/ 718760 w 1889323"/>
              <a:gd name="connsiteY5" fmla="*/ 841830 h 962243"/>
              <a:gd name="connsiteX6" fmla="*/ 0 w 1889323"/>
              <a:gd name="connsiteY6" fmla="*/ 962243 h 962243"/>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406546 w 1889323"/>
              <a:gd name="connsiteY4" fmla="*/ 505652 h 962243"/>
              <a:gd name="connsiteX5" fmla="*/ 718760 w 1889323"/>
              <a:gd name="connsiteY5" fmla="*/ 841830 h 962243"/>
              <a:gd name="connsiteX6" fmla="*/ 0 w 1889323"/>
              <a:gd name="connsiteY6" fmla="*/ 962243 h 962243"/>
              <a:gd name="connsiteX0" fmla="*/ 0 w 1889323"/>
              <a:gd name="connsiteY0" fmla="*/ 962243 h 962243"/>
              <a:gd name="connsiteX1" fmla="*/ 603513 w 1889323"/>
              <a:gd name="connsiteY1" fmla="*/ 398392 h 962243"/>
              <a:gd name="connsiteX2" fmla="*/ 1118464 w 1889323"/>
              <a:gd name="connsiteY2" fmla="*/ 145890 h 962243"/>
              <a:gd name="connsiteX3" fmla="*/ 1889323 w 1889323"/>
              <a:gd name="connsiteY3" fmla="*/ 0 h 962243"/>
              <a:gd name="connsiteX4" fmla="*/ 1406546 w 1889323"/>
              <a:gd name="connsiteY4" fmla="*/ 505652 h 962243"/>
              <a:gd name="connsiteX5" fmla="*/ 721918 w 1889323"/>
              <a:gd name="connsiteY5" fmla="*/ 861921 h 962243"/>
              <a:gd name="connsiteX6" fmla="*/ 0 w 1889323"/>
              <a:gd name="connsiteY6" fmla="*/ 962243 h 962243"/>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27883 w 1910660"/>
              <a:gd name="connsiteY4" fmla="*/ 505652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27883 w 1910660"/>
              <a:gd name="connsiteY4" fmla="*/ 505652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27883 w 1910660"/>
              <a:gd name="connsiteY4" fmla="*/ 505652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34283 w 1910660"/>
              <a:gd name="connsiteY4" fmla="*/ 518666 h 981351"/>
              <a:gd name="connsiteX5" fmla="*/ 743255 w 1910660"/>
              <a:gd name="connsiteY5" fmla="*/ 861921 h 981351"/>
              <a:gd name="connsiteX6" fmla="*/ 0 w 1910660"/>
              <a:gd name="connsiteY6" fmla="*/ 981351 h 981351"/>
              <a:gd name="connsiteX0" fmla="*/ 0 w 1910660"/>
              <a:gd name="connsiteY0" fmla="*/ 981351 h 981351"/>
              <a:gd name="connsiteX1" fmla="*/ 624850 w 1910660"/>
              <a:gd name="connsiteY1" fmla="*/ 398392 h 981351"/>
              <a:gd name="connsiteX2" fmla="*/ 1139801 w 1910660"/>
              <a:gd name="connsiteY2" fmla="*/ 145890 h 981351"/>
              <a:gd name="connsiteX3" fmla="*/ 1910660 w 1910660"/>
              <a:gd name="connsiteY3" fmla="*/ 0 h 981351"/>
              <a:gd name="connsiteX4" fmla="*/ 1434283 w 1910660"/>
              <a:gd name="connsiteY4" fmla="*/ 51866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39801 w 1910660"/>
              <a:gd name="connsiteY2" fmla="*/ 145890 h 981351"/>
              <a:gd name="connsiteX3" fmla="*/ 1910660 w 1910660"/>
              <a:gd name="connsiteY3" fmla="*/ 0 h 981351"/>
              <a:gd name="connsiteX4" fmla="*/ 1434283 w 1910660"/>
              <a:gd name="connsiteY4" fmla="*/ 51866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34283 w 1910660"/>
              <a:gd name="connsiteY4" fmla="*/ 51866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85569 w 1910660"/>
              <a:gd name="connsiteY4" fmla="*/ 49265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85569 w 1910660"/>
              <a:gd name="connsiteY4" fmla="*/ 492656 h 981351"/>
              <a:gd name="connsiteX5" fmla="*/ 769551 w 1910660"/>
              <a:gd name="connsiteY5" fmla="*/ 862975 h 981351"/>
              <a:gd name="connsiteX6" fmla="*/ 0 w 1910660"/>
              <a:gd name="connsiteY6" fmla="*/ 981351 h 981351"/>
              <a:gd name="connsiteX0" fmla="*/ 0 w 1910660"/>
              <a:gd name="connsiteY0" fmla="*/ 981351 h 981351"/>
              <a:gd name="connsiteX1" fmla="*/ 636120 w 1910660"/>
              <a:gd name="connsiteY1" fmla="*/ 398843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0660"/>
              <a:gd name="connsiteY0" fmla="*/ 981351 h 981351"/>
              <a:gd name="connsiteX1" fmla="*/ 614616 w 1910660"/>
              <a:gd name="connsiteY1" fmla="*/ 400050 h 981351"/>
              <a:gd name="connsiteX2" fmla="*/ 1151739 w 1910660"/>
              <a:gd name="connsiteY2" fmla="*/ 138715 h 981351"/>
              <a:gd name="connsiteX3" fmla="*/ 1910660 w 1910660"/>
              <a:gd name="connsiteY3" fmla="*/ 0 h 981351"/>
              <a:gd name="connsiteX4" fmla="*/ 1490661 w 1910660"/>
              <a:gd name="connsiteY4" fmla="*/ 477552 h 981351"/>
              <a:gd name="connsiteX5" fmla="*/ 769551 w 1910660"/>
              <a:gd name="connsiteY5" fmla="*/ 862975 h 981351"/>
              <a:gd name="connsiteX6" fmla="*/ 0 w 1910660"/>
              <a:gd name="connsiteY6" fmla="*/ 981351 h 981351"/>
              <a:gd name="connsiteX0" fmla="*/ 0 w 1917205"/>
              <a:gd name="connsiteY0" fmla="*/ 981089 h 981089"/>
              <a:gd name="connsiteX1" fmla="*/ 614616 w 1917205"/>
              <a:gd name="connsiteY1" fmla="*/ 399788 h 981089"/>
              <a:gd name="connsiteX2" fmla="*/ 1151739 w 1917205"/>
              <a:gd name="connsiteY2" fmla="*/ 138453 h 981089"/>
              <a:gd name="connsiteX3" fmla="*/ 1917205 w 1917205"/>
              <a:gd name="connsiteY3" fmla="*/ 0 h 981089"/>
              <a:gd name="connsiteX4" fmla="*/ 1490661 w 1917205"/>
              <a:gd name="connsiteY4" fmla="*/ 477290 h 981089"/>
              <a:gd name="connsiteX5" fmla="*/ 769551 w 1917205"/>
              <a:gd name="connsiteY5" fmla="*/ 862713 h 981089"/>
              <a:gd name="connsiteX6" fmla="*/ 0 w 1917205"/>
              <a:gd name="connsiteY6" fmla="*/ 981089 h 981089"/>
              <a:gd name="connsiteX0" fmla="*/ 0 w 1928243"/>
              <a:gd name="connsiteY0" fmla="*/ 982129 h 982129"/>
              <a:gd name="connsiteX1" fmla="*/ 614616 w 1928243"/>
              <a:gd name="connsiteY1" fmla="*/ 400828 h 982129"/>
              <a:gd name="connsiteX2" fmla="*/ 1151739 w 1928243"/>
              <a:gd name="connsiteY2" fmla="*/ 139493 h 982129"/>
              <a:gd name="connsiteX3" fmla="*/ 1928243 w 1928243"/>
              <a:gd name="connsiteY3" fmla="*/ 0 h 982129"/>
              <a:gd name="connsiteX4" fmla="*/ 1490661 w 1928243"/>
              <a:gd name="connsiteY4" fmla="*/ 478330 h 982129"/>
              <a:gd name="connsiteX5" fmla="*/ 769551 w 1928243"/>
              <a:gd name="connsiteY5" fmla="*/ 863753 h 982129"/>
              <a:gd name="connsiteX6" fmla="*/ 0 w 1928243"/>
              <a:gd name="connsiteY6" fmla="*/ 982129 h 982129"/>
              <a:gd name="connsiteX0" fmla="*/ 0 w 1928243"/>
              <a:gd name="connsiteY0" fmla="*/ 982129 h 982129"/>
              <a:gd name="connsiteX1" fmla="*/ 614616 w 1928243"/>
              <a:gd name="connsiteY1" fmla="*/ 400828 h 982129"/>
              <a:gd name="connsiteX2" fmla="*/ 1151739 w 1928243"/>
              <a:gd name="connsiteY2" fmla="*/ 139493 h 982129"/>
              <a:gd name="connsiteX3" fmla="*/ 1928243 w 1928243"/>
              <a:gd name="connsiteY3" fmla="*/ 0 h 982129"/>
              <a:gd name="connsiteX4" fmla="*/ 1490661 w 1928243"/>
              <a:gd name="connsiteY4" fmla="*/ 478330 h 982129"/>
              <a:gd name="connsiteX5" fmla="*/ 769551 w 1928243"/>
              <a:gd name="connsiteY5" fmla="*/ 863753 h 982129"/>
              <a:gd name="connsiteX6" fmla="*/ 0 w 1928243"/>
              <a:gd name="connsiteY6" fmla="*/ 982129 h 982129"/>
              <a:gd name="connsiteX0" fmla="*/ 0 w 1928243"/>
              <a:gd name="connsiteY0" fmla="*/ 982129 h 982129"/>
              <a:gd name="connsiteX1" fmla="*/ 614616 w 1928243"/>
              <a:gd name="connsiteY1" fmla="*/ 400828 h 982129"/>
              <a:gd name="connsiteX2" fmla="*/ 1151739 w 1928243"/>
              <a:gd name="connsiteY2" fmla="*/ 139493 h 982129"/>
              <a:gd name="connsiteX3" fmla="*/ 1928243 w 1928243"/>
              <a:gd name="connsiteY3" fmla="*/ 0 h 982129"/>
              <a:gd name="connsiteX4" fmla="*/ 1490661 w 1928243"/>
              <a:gd name="connsiteY4" fmla="*/ 478330 h 982129"/>
              <a:gd name="connsiteX5" fmla="*/ 769551 w 1928243"/>
              <a:gd name="connsiteY5" fmla="*/ 863753 h 982129"/>
              <a:gd name="connsiteX6" fmla="*/ 0 w 1928243"/>
              <a:gd name="connsiteY6" fmla="*/ 982129 h 982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8243" h="982129">
                <a:moveTo>
                  <a:pt x="0" y="982129"/>
                </a:moveTo>
                <a:cubicBezTo>
                  <a:pt x="222870" y="793691"/>
                  <a:pt x="414784" y="526469"/>
                  <a:pt x="614616" y="400828"/>
                </a:cubicBezTo>
                <a:cubicBezTo>
                  <a:pt x="814448" y="275187"/>
                  <a:pt x="932801" y="206298"/>
                  <a:pt x="1151739" y="139493"/>
                </a:cubicBezTo>
                <a:cubicBezTo>
                  <a:pt x="1370677" y="72688"/>
                  <a:pt x="1608569" y="14507"/>
                  <a:pt x="1928243" y="0"/>
                </a:cubicBezTo>
                <a:cubicBezTo>
                  <a:pt x="1843665" y="107229"/>
                  <a:pt x="1712682" y="301142"/>
                  <a:pt x="1490661" y="478330"/>
                </a:cubicBezTo>
                <a:cubicBezTo>
                  <a:pt x="1291739" y="616292"/>
                  <a:pt x="1017994" y="779787"/>
                  <a:pt x="769551" y="863753"/>
                </a:cubicBezTo>
                <a:cubicBezTo>
                  <a:pt x="521108" y="947719"/>
                  <a:pt x="268507" y="974216"/>
                  <a:pt x="0" y="982129"/>
                </a:cubicBezTo>
                <a:close/>
              </a:path>
            </a:pathLst>
          </a:custGeom>
          <a:gradFill flip="none" rotWithShape="1">
            <a:gsLst>
              <a:gs pos="37000">
                <a:srgbClr val="86D598"/>
              </a:gs>
              <a:gs pos="14000">
                <a:srgbClr val="3ED06F"/>
              </a:gs>
              <a:gs pos="67000">
                <a:srgbClr val="F1A29C">
                  <a:lumMod val="94000"/>
                </a:srgbClr>
              </a:gs>
              <a:gs pos="50000">
                <a:srgbClr val="E4EBDD">
                  <a:lumMod val="90000"/>
                </a:srgbClr>
              </a:gs>
              <a:gs pos="92000">
                <a:srgbClr val="FB4F4F">
                  <a:lumMod val="98000"/>
                </a:srgbClr>
              </a:gs>
            </a:gsLst>
            <a:lin ang="8100000" scaled="1"/>
            <a:tileRect/>
          </a:gradFill>
          <a:ln>
            <a:noFill/>
          </a:ln>
          <a:extLst/>
        </p:spPr>
        <p:txBody>
          <a:bodyPr wrap="none" lIns="62294" tIns="32393" rIns="62294" bIns="32393"/>
          <a:lstStyle/>
          <a:p>
            <a:pPr marL="0" marR="0" lvl="0" indent="0" algn="l" defTabSz="844083" rtl="0" eaLnBrk="0" fontAlgn="base" latinLnBrk="0" hangingPunct="0">
              <a:lnSpc>
                <a:spcPct val="100000"/>
              </a:lnSpc>
              <a:spcBef>
                <a:spcPct val="0"/>
              </a:spcBef>
              <a:spcAft>
                <a:spcPct val="20000"/>
              </a:spcAft>
              <a:buClrTx/>
              <a:buSzTx/>
              <a:buFontTx/>
              <a:buNone/>
              <a:tabLst/>
              <a:defRPr/>
            </a:pPr>
            <a:endParaRPr kumimoji="0" lang="de-DE" sz="1108" b="0" i="0" u="none" strike="noStrike" kern="1200" cap="none" spc="0" normalizeH="0" baseline="0" noProof="0" dirty="0">
              <a:ln>
                <a:noFill/>
              </a:ln>
              <a:solidFill>
                <a:srgbClr val="000000"/>
              </a:solidFill>
              <a:effectLst/>
              <a:uLnTx/>
              <a:uFillTx/>
              <a:latin typeface="Arial"/>
              <a:ea typeface="+mn-ea"/>
              <a:cs typeface="Arial" charset="0"/>
            </a:endParaRPr>
          </a:p>
        </p:txBody>
      </p:sp>
      <p:grpSp>
        <p:nvGrpSpPr>
          <p:cNvPr id="103" name="Gruppieren 82"/>
          <p:cNvGrpSpPr/>
          <p:nvPr/>
        </p:nvGrpSpPr>
        <p:grpSpPr>
          <a:xfrm>
            <a:off x="2677434" y="3541935"/>
            <a:ext cx="3080064" cy="1531902"/>
            <a:chOff x="1649581" y="3714729"/>
            <a:chExt cx="4516799" cy="2212746"/>
          </a:xfrm>
        </p:grpSpPr>
        <p:sp>
          <p:nvSpPr>
            <p:cNvPr id="104" name="Freihandform 9"/>
            <p:cNvSpPr>
              <a:spLocks noChangeArrowheads="1"/>
            </p:cNvSpPr>
            <p:nvPr/>
          </p:nvSpPr>
          <p:spPr bwMode="auto">
            <a:xfrm>
              <a:off x="1649581" y="3714729"/>
              <a:ext cx="3762451" cy="2212746"/>
            </a:xfrm>
            <a:custGeom>
              <a:avLst/>
              <a:gdLst>
                <a:gd name="T0" fmla="*/ 24855 w 4279231"/>
                <a:gd name="T1" fmla="*/ 1761059 h 1770246"/>
                <a:gd name="T2" fmla="*/ 82581 w 4279231"/>
                <a:gd name="T3" fmla="*/ 1732189 h 1770246"/>
                <a:gd name="T4" fmla="*/ 669470 w 4279231"/>
                <a:gd name="T5" fmla="*/ 1481985 h 1770246"/>
                <a:gd name="T6" fmla="*/ 1593100 w 4279231"/>
                <a:gd name="T7" fmla="*/ 702498 h 1770246"/>
                <a:gd name="T8" fmla="*/ 2093398 w 4279231"/>
                <a:gd name="T9" fmla="*/ 413800 h 1770246"/>
                <a:gd name="T10" fmla="*/ 2978542 w 4279231"/>
                <a:gd name="T11" fmla="*/ 163596 h 1770246"/>
                <a:gd name="T12" fmla="*/ 4277393 w 4279231"/>
                <a:gd name="T13" fmla="*/ 0 h 1770246"/>
                <a:gd name="T14" fmla="*/ 0 60000 65536"/>
                <a:gd name="T15" fmla="*/ 0 60000 65536"/>
                <a:gd name="T16" fmla="*/ 0 60000 65536"/>
                <a:gd name="T17" fmla="*/ 0 60000 65536"/>
                <a:gd name="T18" fmla="*/ 0 60000 65536"/>
                <a:gd name="T19" fmla="*/ 0 60000 65536"/>
                <a:gd name="T20" fmla="*/ 0 60000 65536"/>
                <a:gd name="T21" fmla="*/ 0 w 4279231"/>
                <a:gd name="T22" fmla="*/ 0 h 1770246"/>
                <a:gd name="T23" fmla="*/ 4279231 w 4279231"/>
                <a:gd name="T24" fmla="*/ 1770246 h 1770246"/>
                <a:gd name="connsiteX0" fmla="*/ 0 w 4254366"/>
                <a:gd name="connsiteY0" fmla="*/ 1761423 h 1761423"/>
                <a:gd name="connsiteX1" fmla="*/ 644893 w 4254366"/>
                <a:gd name="connsiteY1" fmla="*/ 1482291 h 1761423"/>
                <a:gd name="connsiteX2" fmla="*/ 1568918 w 4254366"/>
                <a:gd name="connsiteY2" fmla="*/ 702644 h 1761423"/>
                <a:gd name="connsiteX3" fmla="*/ 2069432 w 4254366"/>
                <a:gd name="connsiteY3" fmla="*/ 413886 h 1761423"/>
                <a:gd name="connsiteX4" fmla="*/ 2954956 w 4254366"/>
                <a:gd name="connsiteY4" fmla="*/ 163630 h 1761423"/>
                <a:gd name="connsiteX5" fmla="*/ 4254366 w 4254366"/>
                <a:gd name="connsiteY5" fmla="*/ 0 h 1761423"/>
                <a:gd name="connsiteX0" fmla="*/ 0 w 4703568"/>
                <a:gd name="connsiteY0" fmla="*/ 1726616 h 1726616"/>
                <a:gd name="connsiteX1" fmla="*/ 1094095 w 4703568"/>
                <a:gd name="connsiteY1" fmla="*/ 1482291 h 1726616"/>
                <a:gd name="connsiteX2" fmla="*/ 2018120 w 4703568"/>
                <a:gd name="connsiteY2" fmla="*/ 702644 h 1726616"/>
                <a:gd name="connsiteX3" fmla="*/ 2518634 w 4703568"/>
                <a:gd name="connsiteY3" fmla="*/ 413886 h 1726616"/>
                <a:gd name="connsiteX4" fmla="*/ 3404158 w 4703568"/>
                <a:gd name="connsiteY4" fmla="*/ 163630 h 1726616"/>
                <a:gd name="connsiteX5" fmla="*/ 4703568 w 4703568"/>
                <a:gd name="connsiteY5" fmla="*/ 0 h 1726616"/>
                <a:gd name="connsiteX0" fmla="*/ 0 w 4703568"/>
                <a:gd name="connsiteY0" fmla="*/ 1726616 h 1726616"/>
                <a:gd name="connsiteX1" fmla="*/ 1094095 w 4703568"/>
                <a:gd name="connsiteY1" fmla="*/ 1482291 h 1726616"/>
                <a:gd name="connsiteX2" fmla="*/ 2018120 w 4703568"/>
                <a:gd name="connsiteY2" fmla="*/ 702644 h 1726616"/>
                <a:gd name="connsiteX3" fmla="*/ 2518634 w 4703568"/>
                <a:gd name="connsiteY3" fmla="*/ 413886 h 1726616"/>
                <a:gd name="connsiteX4" fmla="*/ 3404158 w 4703568"/>
                <a:gd name="connsiteY4" fmla="*/ 163630 h 1726616"/>
                <a:gd name="connsiteX5" fmla="*/ 4703568 w 4703568"/>
                <a:gd name="connsiteY5" fmla="*/ 0 h 1726616"/>
                <a:gd name="connsiteX0" fmla="*/ 0 w 4703568"/>
                <a:gd name="connsiteY0" fmla="*/ 1726616 h 1726616"/>
                <a:gd name="connsiteX1" fmla="*/ 1094095 w 4703568"/>
                <a:gd name="connsiteY1" fmla="*/ 1482291 h 1726616"/>
                <a:gd name="connsiteX2" fmla="*/ 2018120 w 4703568"/>
                <a:gd name="connsiteY2" fmla="*/ 702644 h 1726616"/>
                <a:gd name="connsiteX3" fmla="*/ 2518634 w 4703568"/>
                <a:gd name="connsiteY3" fmla="*/ 413886 h 1726616"/>
                <a:gd name="connsiteX4" fmla="*/ 3404158 w 4703568"/>
                <a:gd name="connsiteY4" fmla="*/ 163630 h 1726616"/>
                <a:gd name="connsiteX5" fmla="*/ 4703568 w 4703568"/>
                <a:gd name="connsiteY5" fmla="*/ 0 h 1726616"/>
                <a:gd name="connsiteX0" fmla="*/ 0 w 5164591"/>
                <a:gd name="connsiteY0" fmla="*/ 1747500 h 1747500"/>
                <a:gd name="connsiteX1" fmla="*/ 1555118 w 5164591"/>
                <a:gd name="connsiteY1" fmla="*/ 1482291 h 1747500"/>
                <a:gd name="connsiteX2" fmla="*/ 2479143 w 5164591"/>
                <a:gd name="connsiteY2" fmla="*/ 702644 h 1747500"/>
                <a:gd name="connsiteX3" fmla="*/ 2979657 w 5164591"/>
                <a:gd name="connsiteY3" fmla="*/ 413886 h 1747500"/>
                <a:gd name="connsiteX4" fmla="*/ 3865181 w 5164591"/>
                <a:gd name="connsiteY4" fmla="*/ 163630 h 1747500"/>
                <a:gd name="connsiteX5" fmla="*/ 5164591 w 5164591"/>
                <a:gd name="connsiteY5" fmla="*/ 0 h 1747500"/>
                <a:gd name="connsiteX0" fmla="*/ 0 w 5164591"/>
                <a:gd name="connsiteY0" fmla="*/ 1747500 h 1747500"/>
                <a:gd name="connsiteX1" fmla="*/ 1555118 w 5164591"/>
                <a:gd name="connsiteY1" fmla="*/ 1482291 h 1747500"/>
                <a:gd name="connsiteX2" fmla="*/ 2479143 w 5164591"/>
                <a:gd name="connsiteY2" fmla="*/ 702644 h 1747500"/>
                <a:gd name="connsiteX3" fmla="*/ 2979657 w 5164591"/>
                <a:gd name="connsiteY3" fmla="*/ 413886 h 1747500"/>
                <a:gd name="connsiteX4" fmla="*/ 3865181 w 5164591"/>
                <a:gd name="connsiteY4" fmla="*/ 163630 h 1747500"/>
                <a:gd name="connsiteX5" fmla="*/ 5164591 w 5164591"/>
                <a:gd name="connsiteY5" fmla="*/ 0 h 1747500"/>
                <a:gd name="connsiteX0" fmla="*/ 0 w 4674687"/>
                <a:gd name="connsiteY0" fmla="*/ 1700316 h 1700316"/>
                <a:gd name="connsiteX1" fmla="*/ 1555118 w 4674687"/>
                <a:gd name="connsiteY1" fmla="*/ 1435107 h 1700316"/>
                <a:gd name="connsiteX2" fmla="*/ 2479143 w 4674687"/>
                <a:gd name="connsiteY2" fmla="*/ 655460 h 1700316"/>
                <a:gd name="connsiteX3" fmla="*/ 2979657 w 4674687"/>
                <a:gd name="connsiteY3" fmla="*/ 366702 h 1700316"/>
                <a:gd name="connsiteX4" fmla="*/ 3865181 w 4674687"/>
                <a:gd name="connsiteY4" fmla="*/ 116446 h 1700316"/>
                <a:gd name="connsiteX5" fmla="*/ 4674687 w 4674687"/>
                <a:gd name="connsiteY5" fmla="*/ 0 h 1700316"/>
                <a:gd name="connsiteX0" fmla="*/ 0 w 4674687"/>
                <a:gd name="connsiteY0" fmla="*/ 1700316 h 1700316"/>
                <a:gd name="connsiteX1" fmla="*/ 1555118 w 4674687"/>
                <a:gd name="connsiteY1" fmla="*/ 1435107 h 1700316"/>
                <a:gd name="connsiteX2" fmla="*/ 2479143 w 4674687"/>
                <a:gd name="connsiteY2" fmla="*/ 655460 h 1700316"/>
                <a:gd name="connsiteX3" fmla="*/ 2979657 w 4674687"/>
                <a:gd name="connsiteY3" fmla="*/ 366702 h 1700316"/>
                <a:gd name="connsiteX4" fmla="*/ 3865181 w 4674687"/>
                <a:gd name="connsiteY4" fmla="*/ 116446 h 1700316"/>
                <a:gd name="connsiteX5" fmla="*/ 4674687 w 4674687"/>
                <a:gd name="connsiteY5" fmla="*/ 0 h 1700316"/>
                <a:gd name="connsiteX0" fmla="*/ 0 w 4674687"/>
                <a:gd name="connsiteY0" fmla="*/ 1700316 h 1700316"/>
                <a:gd name="connsiteX1" fmla="*/ 1555118 w 4674687"/>
                <a:gd name="connsiteY1" fmla="*/ 1435107 h 1700316"/>
                <a:gd name="connsiteX2" fmla="*/ 2479143 w 4674687"/>
                <a:gd name="connsiteY2" fmla="*/ 655460 h 1700316"/>
                <a:gd name="connsiteX3" fmla="*/ 2979657 w 4674687"/>
                <a:gd name="connsiteY3" fmla="*/ 366702 h 1700316"/>
                <a:gd name="connsiteX4" fmla="*/ 3865181 w 4674687"/>
                <a:gd name="connsiteY4" fmla="*/ 116446 h 1700316"/>
                <a:gd name="connsiteX5" fmla="*/ 4674687 w 4674687"/>
                <a:gd name="connsiteY5" fmla="*/ 0 h 1700316"/>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608739"/>
                <a:gd name="connsiteY0" fmla="*/ 1682622 h 1682622"/>
                <a:gd name="connsiteX1" fmla="*/ 1555118 w 4608739"/>
                <a:gd name="connsiteY1" fmla="*/ 1417413 h 1682622"/>
                <a:gd name="connsiteX2" fmla="*/ 2479143 w 4608739"/>
                <a:gd name="connsiteY2" fmla="*/ 637766 h 1682622"/>
                <a:gd name="connsiteX3" fmla="*/ 2979657 w 4608739"/>
                <a:gd name="connsiteY3" fmla="*/ 349008 h 1682622"/>
                <a:gd name="connsiteX4" fmla="*/ 3865181 w 4608739"/>
                <a:gd name="connsiteY4" fmla="*/ 98752 h 1682622"/>
                <a:gd name="connsiteX5" fmla="*/ 4608739 w 4608739"/>
                <a:gd name="connsiteY5" fmla="*/ 0 h 1682622"/>
                <a:gd name="connsiteX0" fmla="*/ 0 w 4589897"/>
                <a:gd name="connsiteY0" fmla="*/ 1659030 h 1659030"/>
                <a:gd name="connsiteX1" fmla="*/ 1555118 w 4589897"/>
                <a:gd name="connsiteY1" fmla="*/ 1393821 h 1659030"/>
                <a:gd name="connsiteX2" fmla="*/ 2479143 w 4589897"/>
                <a:gd name="connsiteY2" fmla="*/ 614174 h 1659030"/>
                <a:gd name="connsiteX3" fmla="*/ 2979657 w 4589897"/>
                <a:gd name="connsiteY3" fmla="*/ 325416 h 1659030"/>
                <a:gd name="connsiteX4" fmla="*/ 3865181 w 4589897"/>
                <a:gd name="connsiteY4" fmla="*/ 75160 h 1659030"/>
                <a:gd name="connsiteX5" fmla="*/ 4589897 w 4589897"/>
                <a:gd name="connsiteY5"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2979657 w 4589897"/>
                <a:gd name="connsiteY3" fmla="*/ 325416 h 1659030"/>
                <a:gd name="connsiteX4" fmla="*/ 3865181 w 4589897"/>
                <a:gd name="connsiteY4" fmla="*/ 75160 h 1659030"/>
                <a:gd name="connsiteX5" fmla="*/ 4589897 w 4589897"/>
                <a:gd name="connsiteY5"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2979657 w 4589897"/>
                <a:gd name="connsiteY3" fmla="*/ 325416 h 1659030"/>
                <a:gd name="connsiteX4" fmla="*/ 4589897 w 4589897"/>
                <a:gd name="connsiteY4"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3215187 w 4589897"/>
                <a:gd name="connsiteY3" fmla="*/ 231048 h 1659030"/>
                <a:gd name="connsiteX4" fmla="*/ 4589897 w 4589897"/>
                <a:gd name="connsiteY4" fmla="*/ 0 h 1659030"/>
                <a:gd name="connsiteX0" fmla="*/ 0 w 4589897"/>
                <a:gd name="connsiteY0" fmla="*/ 1659030 h 1659030"/>
                <a:gd name="connsiteX1" fmla="*/ 1555118 w 4589897"/>
                <a:gd name="connsiteY1" fmla="*/ 1393821 h 1659030"/>
                <a:gd name="connsiteX2" fmla="*/ 2479143 w 4589897"/>
                <a:gd name="connsiteY2" fmla="*/ 614174 h 1659030"/>
                <a:gd name="connsiteX3" fmla="*/ 3215187 w 4589897"/>
                <a:gd name="connsiteY3" fmla="*/ 231048 h 1659030"/>
                <a:gd name="connsiteX4" fmla="*/ 4589897 w 4589897"/>
                <a:gd name="connsiteY4" fmla="*/ 0 h 1659030"/>
                <a:gd name="connsiteX0" fmla="*/ 0 w 4552211"/>
                <a:gd name="connsiteY0" fmla="*/ 1653132 h 1653132"/>
                <a:gd name="connsiteX1" fmla="*/ 1555118 w 4552211"/>
                <a:gd name="connsiteY1" fmla="*/ 1387923 h 1653132"/>
                <a:gd name="connsiteX2" fmla="*/ 2479143 w 4552211"/>
                <a:gd name="connsiteY2" fmla="*/ 608276 h 1653132"/>
                <a:gd name="connsiteX3" fmla="*/ 3215187 w 4552211"/>
                <a:gd name="connsiteY3" fmla="*/ 225150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15187 w 4552211"/>
                <a:gd name="connsiteY3" fmla="*/ 225150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05766 w 4552211"/>
                <a:gd name="connsiteY3" fmla="*/ 231048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05766 w 4552211"/>
                <a:gd name="connsiteY3" fmla="*/ 231048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05766 w 4552211"/>
                <a:gd name="connsiteY3" fmla="*/ 231048 h 1653132"/>
                <a:gd name="connsiteX4" fmla="*/ 4552211 w 4552211"/>
                <a:gd name="connsiteY4" fmla="*/ 0 h 1653132"/>
                <a:gd name="connsiteX0" fmla="*/ 0 w 4552211"/>
                <a:gd name="connsiteY0" fmla="*/ 1653132 h 1653132"/>
                <a:gd name="connsiteX1" fmla="*/ 1555118 w 4552211"/>
                <a:gd name="connsiteY1" fmla="*/ 1387923 h 1653132"/>
                <a:gd name="connsiteX2" fmla="*/ 2479143 w 4552211"/>
                <a:gd name="connsiteY2" fmla="*/ 608276 h 1653132"/>
                <a:gd name="connsiteX3" fmla="*/ 3243452 w 4552211"/>
                <a:gd name="connsiteY3" fmla="*/ 225150 h 1653132"/>
                <a:gd name="connsiteX4" fmla="*/ 4552211 w 4552211"/>
                <a:gd name="connsiteY4" fmla="*/ 0 h 1653132"/>
                <a:gd name="connsiteX0" fmla="*/ 0 w 4533369"/>
                <a:gd name="connsiteY0" fmla="*/ 1623642 h 1623642"/>
                <a:gd name="connsiteX1" fmla="*/ 1555118 w 4533369"/>
                <a:gd name="connsiteY1" fmla="*/ 1358433 h 1623642"/>
                <a:gd name="connsiteX2" fmla="*/ 2479143 w 4533369"/>
                <a:gd name="connsiteY2" fmla="*/ 578786 h 1623642"/>
                <a:gd name="connsiteX3" fmla="*/ 3243452 w 4533369"/>
                <a:gd name="connsiteY3" fmla="*/ 195660 h 1623642"/>
                <a:gd name="connsiteX4" fmla="*/ 4533369 w 4533369"/>
                <a:gd name="connsiteY4" fmla="*/ 0 h 1623642"/>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3452 w 4458000"/>
                <a:gd name="connsiteY3" fmla="*/ 2133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46806 w 4458000"/>
                <a:gd name="connsiteY3" fmla="*/ 2028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56869 w 4458000"/>
                <a:gd name="connsiteY3" fmla="*/ 204954 h 1641336"/>
                <a:gd name="connsiteX4" fmla="*/ 4458000 w 4458000"/>
                <a:gd name="connsiteY4" fmla="*/ 0 h 1641336"/>
                <a:gd name="connsiteX0" fmla="*/ 0 w 4458000"/>
                <a:gd name="connsiteY0" fmla="*/ 1641336 h 1641336"/>
                <a:gd name="connsiteX1" fmla="*/ 1555118 w 4458000"/>
                <a:gd name="connsiteY1" fmla="*/ 1376127 h 1641336"/>
                <a:gd name="connsiteX2" fmla="*/ 2479143 w 4458000"/>
                <a:gd name="connsiteY2" fmla="*/ 596480 h 1641336"/>
                <a:gd name="connsiteX3" fmla="*/ 3256869 w 4458000"/>
                <a:gd name="connsiteY3" fmla="*/ 204954 h 1641336"/>
                <a:gd name="connsiteX4" fmla="*/ 4458000 w 4458000"/>
                <a:gd name="connsiteY4" fmla="*/ 0 h 1641336"/>
                <a:gd name="connsiteX0" fmla="*/ 0 w 4458000"/>
                <a:gd name="connsiteY0" fmla="*/ 1641336 h 1641336"/>
                <a:gd name="connsiteX1" fmla="*/ 1555118 w 4458000"/>
                <a:gd name="connsiteY1" fmla="*/ 1376127 h 1641336"/>
                <a:gd name="connsiteX2" fmla="*/ 2417484 w 4458000"/>
                <a:gd name="connsiteY2" fmla="*/ 582694 h 1641336"/>
                <a:gd name="connsiteX3" fmla="*/ 3256869 w 4458000"/>
                <a:gd name="connsiteY3" fmla="*/ 204954 h 1641336"/>
                <a:gd name="connsiteX4" fmla="*/ 4458000 w 4458000"/>
                <a:gd name="connsiteY4" fmla="*/ 0 h 1641336"/>
                <a:gd name="connsiteX0" fmla="*/ 0 w 4458000"/>
                <a:gd name="connsiteY0" fmla="*/ 1641336 h 1641336"/>
                <a:gd name="connsiteX1" fmla="*/ 1555118 w 4458000"/>
                <a:gd name="connsiteY1" fmla="*/ 1376127 h 1641336"/>
                <a:gd name="connsiteX2" fmla="*/ 2417484 w 4458000"/>
                <a:gd name="connsiteY2" fmla="*/ 582694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 name="connsiteX0" fmla="*/ 0 w 4458000"/>
                <a:gd name="connsiteY0" fmla="*/ 1641336 h 1641336"/>
                <a:gd name="connsiteX1" fmla="*/ 1555118 w 4458000"/>
                <a:gd name="connsiteY1" fmla="*/ 1376127 h 1641336"/>
                <a:gd name="connsiteX2" fmla="*/ 2333803 w 4458000"/>
                <a:gd name="connsiteY2" fmla="*/ 646109 h 1641336"/>
                <a:gd name="connsiteX3" fmla="*/ 3252465 w 4458000"/>
                <a:gd name="connsiteY3" fmla="*/ 171868 h 1641336"/>
                <a:gd name="connsiteX4" fmla="*/ 4458000 w 4458000"/>
                <a:gd name="connsiteY4" fmla="*/ 0 h 1641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8000" h="1641336">
                  <a:moveTo>
                    <a:pt x="0" y="1641336"/>
                  </a:moveTo>
                  <a:cubicBezTo>
                    <a:pt x="689945" y="1617991"/>
                    <a:pt x="1210193" y="1541998"/>
                    <a:pt x="1555118" y="1376127"/>
                  </a:cubicBezTo>
                  <a:cubicBezTo>
                    <a:pt x="1900043" y="1210256"/>
                    <a:pt x="2081742" y="846820"/>
                    <a:pt x="2333803" y="646109"/>
                  </a:cubicBezTo>
                  <a:cubicBezTo>
                    <a:pt x="2585864" y="445398"/>
                    <a:pt x="2898432" y="279553"/>
                    <a:pt x="3252465" y="171868"/>
                  </a:cubicBezTo>
                  <a:cubicBezTo>
                    <a:pt x="3606498" y="64183"/>
                    <a:pt x="4072224" y="2039"/>
                    <a:pt x="4458000" y="0"/>
                  </a:cubicBezTo>
                </a:path>
              </a:pathLst>
            </a:custGeom>
            <a:noFill/>
            <a:ln w="25400" cap="rnd"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lIns="62294" tIns="32393" rIns="62294" bIns="32393"/>
            <a:lstStyle/>
            <a:p>
              <a:pPr marL="0" marR="0" lvl="0" indent="0" algn="l" defTabSz="844083" rtl="0" eaLnBrk="1" fontAlgn="base" latinLnBrk="0" hangingPunct="1">
                <a:lnSpc>
                  <a:spcPct val="100000"/>
                </a:lnSpc>
                <a:spcBef>
                  <a:spcPct val="0"/>
                </a:spcBef>
                <a:spcAft>
                  <a:spcPct val="0"/>
                </a:spcAft>
                <a:buClrTx/>
                <a:buSzTx/>
                <a:buFontTx/>
                <a:buNone/>
                <a:tabLst/>
                <a:defRPr/>
              </a:pPr>
              <a:endParaRPr kumimoji="0" lang="de-DE" sz="1038"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105" name="Freihandform 57"/>
            <p:cNvSpPr/>
            <p:nvPr/>
          </p:nvSpPr>
          <p:spPr>
            <a:xfrm rot="248835">
              <a:off x="5481242" y="3727012"/>
              <a:ext cx="685138" cy="12277"/>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2091"/>
                <a:gd name="connsiteY0" fmla="*/ 21054 h 21054"/>
                <a:gd name="connsiteX1" fmla="*/ 12091 w 12091"/>
                <a:gd name="connsiteY1" fmla="*/ 0 h 21054"/>
                <a:gd name="connsiteX0" fmla="*/ 0 w 12039"/>
                <a:gd name="connsiteY0" fmla="*/ 4473 h 4473"/>
                <a:gd name="connsiteX1" fmla="*/ 12039 w 12039"/>
                <a:gd name="connsiteY1" fmla="*/ 0 h 4473"/>
                <a:gd name="connsiteX0" fmla="*/ 0 w 10000"/>
                <a:gd name="connsiteY0" fmla="*/ 14454 h 14454"/>
                <a:gd name="connsiteX1" fmla="*/ 10000 w 10000"/>
                <a:gd name="connsiteY1" fmla="*/ 4454 h 14454"/>
                <a:gd name="connsiteX0" fmla="*/ 0 w 10000"/>
                <a:gd name="connsiteY0" fmla="*/ 17863 h 17863"/>
                <a:gd name="connsiteX1" fmla="*/ 10000 w 10000"/>
                <a:gd name="connsiteY1" fmla="*/ 7863 h 17863"/>
              </a:gdLst>
              <a:ahLst/>
              <a:cxnLst>
                <a:cxn ang="0">
                  <a:pos x="connsiteX0" y="connsiteY0"/>
                </a:cxn>
                <a:cxn ang="0">
                  <a:pos x="connsiteX1" y="connsiteY1"/>
                </a:cxn>
              </a:cxnLst>
              <a:rect l="l" t="t" r="r" b="b"/>
              <a:pathLst>
                <a:path w="10000" h="17863">
                  <a:moveTo>
                    <a:pt x="0" y="17863"/>
                  </a:moveTo>
                  <a:cubicBezTo>
                    <a:pt x="3594" y="-1947"/>
                    <a:pt x="6710" y="-5280"/>
                    <a:pt x="10000" y="7863"/>
                  </a:cubicBezTo>
                </a:path>
              </a:pathLst>
            </a:custGeom>
            <a:noFill/>
            <a:ln w="25400" cap="rnd" algn="ctr">
              <a:solidFill>
                <a:schemeClr val="bg2"/>
              </a:solidFill>
              <a:prstDash val="sysDash"/>
              <a:round/>
              <a:headEnd/>
              <a:tailEnd/>
            </a:ln>
          </p:spPr>
          <p:txBody>
            <a:bodyPr wrap="none" lIns="62294" tIns="32393" rIns="62294" bIns="32393"/>
            <a:lstStyle/>
            <a:p>
              <a:pPr marL="0" marR="0" lvl="0" indent="0" algn="l" defTabSz="844083" rtl="0" eaLnBrk="1" fontAlgn="base" latinLnBrk="0" hangingPunct="1">
                <a:lnSpc>
                  <a:spcPct val="100000"/>
                </a:lnSpc>
                <a:spcBef>
                  <a:spcPct val="0"/>
                </a:spcBef>
                <a:spcAft>
                  <a:spcPct val="0"/>
                </a:spcAft>
                <a:buClrTx/>
                <a:buSzTx/>
                <a:buFontTx/>
                <a:buNone/>
                <a:tabLst/>
                <a:defRPr/>
              </a:pPr>
              <a:endParaRPr kumimoji="0" lang="de-DE" sz="1038"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106" name="Freihandform 58"/>
            <p:cNvSpPr/>
            <p:nvPr/>
          </p:nvSpPr>
          <p:spPr>
            <a:xfrm rot="1324690">
              <a:off x="5454736" y="3808489"/>
              <a:ext cx="661156" cy="71226"/>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6488 h 16488"/>
                <a:gd name="connsiteX1" fmla="*/ 10000 w 10000"/>
                <a:gd name="connsiteY1" fmla="*/ 6488 h 16488"/>
                <a:gd name="connsiteX0" fmla="*/ 0 w 10000"/>
                <a:gd name="connsiteY0" fmla="*/ 31774 h 31774"/>
                <a:gd name="connsiteX1" fmla="*/ 10000 w 10000"/>
                <a:gd name="connsiteY1" fmla="*/ 21774 h 31774"/>
                <a:gd name="connsiteX0" fmla="*/ 0 w 10000"/>
                <a:gd name="connsiteY0" fmla="*/ 38044 h 38044"/>
                <a:gd name="connsiteX1" fmla="*/ 10000 w 10000"/>
                <a:gd name="connsiteY1" fmla="*/ 28044 h 38044"/>
                <a:gd name="connsiteX0" fmla="*/ 0 w 11374"/>
                <a:gd name="connsiteY0" fmla="*/ 24544 h 50576"/>
                <a:gd name="connsiteX1" fmla="*/ 11374 w 11374"/>
                <a:gd name="connsiteY1" fmla="*/ 50576 h 50576"/>
                <a:gd name="connsiteX0" fmla="*/ 0 w 11374"/>
                <a:gd name="connsiteY0" fmla="*/ 14232 h 40264"/>
                <a:gd name="connsiteX1" fmla="*/ 11374 w 11374"/>
                <a:gd name="connsiteY1" fmla="*/ 40264 h 40264"/>
                <a:gd name="connsiteX0" fmla="*/ 0 w 11374"/>
                <a:gd name="connsiteY0" fmla="*/ 9796 h 35828"/>
                <a:gd name="connsiteX1" fmla="*/ 11374 w 11374"/>
                <a:gd name="connsiteY1" fmla="*/ 35828 h 35828"/>
                <a:gd name="connsiteX0" fmla="*/ 0 w 11374"/>
                <a:gd name="connsiteY0" fmla="*/ 20322 h 46354"/>
                <a:gd name="connsiteX1" fmla="*/ 11374 w 11374"/>
                <a:gd name="connsiteY1" fmla="*/ 46354 h 46354"/>
              </a:gdLst>
              <a:ahLst/>
              <a:cxnLst>
                <a:cxn ang="0">
                  <a:pos x="connsiteX0" y="connsiteY0"/>
                </a:cxn>
                <a:cxn ang="0">
                  <a:pos x="connsiteX1" y="connsiteY1"/>
                </a:cxn>
              </a:cxnLst>
              <a:rect l="l" t="t" r="r" b="b"/>
              <a:pathLst>
                <a:path w="11374" h="46354">
                  <a:moveTo>
                    <a:pt x="0" y="20322"/>
                  </a:moveTo>
                  <a:cubicBezTo>
                    <a:pt x="4921" y="-22895"/>
                    <a:pt x="8385" y="10968"/>
                    <a:pt x="11374" y="46354"/>
                  </a:cubicBezTo>
                </a:path>
              </a:pathLst>
            </a:custGeom>
            <a:noFill/>
            <a:ln w="25400" cap="rnd" algn="ctr">
              <a:solidFill>
                <a:schemeClr val="bg2"/>
              </a:solidFill>
              <a:prstDash val="sysDash"/>
              <a:round/>
              <a:headEnd/>
              <a:tailEnd/>
            </a:ln>
          </p:spPr>
          <p:txBody>
            <a:bodyPr wrap="none" lIns="62294" tIns="32393" rIns="62294" bIns="32393"/>
            <a:lstStyle/>
            <a:p>
              <a:pPr marL="0" marR="0" lvl="0" indent="0" algn="l" defTabSz="844083" rtl="0" eaLnBrk="1" fontAlgn="base" latinLnBrk="0" hangingPunct="1">
                <a:lnSpc>
                  <a:spcPct val="100000"/>
                </a:lnSpc>
                <a:spcBef>
                  <a:spcPct val="0"/>
                </a:spcBef>
                <a:spcAft>
                  <a:spcPct val="0"/>
                </a:spcAft>
                <a:buClrTx/>
                <a:buSzTx/>
                <a:buFontTx/>
                <a:buNone/>
                <a:tabLst/>
                <a:defRPr/>
              </a:pPr>
              <a:endParaRPr kumimoji="0" lang="de-DE" sz="1038" b="0" i="0" u="none" strike="noStrike" kern="1200" cap="none" spc="0" normalizeH="0" baseline="0" noProof="0" dirty="0">
                <a:ln>
                  <a:noFill/>
                </a:ln>
                <a:solidFill>
                  <a:srgbClr val="000000"/>
                </a:solidFill>
                <a:effectLst/>
                <a:uLnTx/>
                <a:uFillTx/>
                <a:latin typeface="Arial"/>
                <a:ea typeface="+mn-ea"/>
                <a:cs typeface="Arial" charset="0"/>
              </a:endParaRPr>
            </a:p>
          </p:txBody>
        </p:sp>
      </p:grpSp>
      <p:cxnSp>
        <p:nvCxnSpPr>
          <p:cNvPr id="107" name="Gerade Verbindung mit Pfeil 6"/>
          <p:cNvCxnSpPr>
            <a:cxnSpLocks noChangeShapeType="1"/>
          </p:cNvCxnSpPr>
          <p:nvPr/>
        </p:nvCxnSpPr>
        <p:spPr bwMode="auto">
          <a:xfrm flipV="1">
            <a:off x="2667395" y="2418726"/>
            <a:ext cx="0" cy="2770778"/>
          </a:xfrm>
          <a:prstGeom prst="straightConnector1">
            <a:avLst/>
          </a:prstGeom>
          <a:noFill/>
          <a:ln w="12700" cap="rnd" algn="ctr">
            <a:solidFill>
              <a:schemeClr val="tx1"/>
            </a:solidFill>
            <a:round/>
            <a:headEnd/>
            <a:tailEnd type="triangle" w="med" len="med"/>
          </a:ln>
        </p:spPr>
      </p:cxnSp>
      <p:sp>
        <p:nvSpPr>
          <p:cNvPr id="108" name="Textfeld 60"/>
          <p:cNvSpPr txBox="1">
            <a:spLocks noChangeArrowheads="1"/>
          </p:cNvSpPr>
          <p:nvPr/>
        </p:nvSpPr>
        <p:spPr bwMode="auto">
          <a:xfrm>
            <a:off x="6529859" y="5178319"/>
            <a:ext cx="348667" cy="223450"/>
          </a:xfrm>
          <a:prstGeom prst="rect">
            <a:avLst/>
          </a:prstGeom>
          <a:noFill/>
          <a:ln w="9525">
            <a:noFill/>
            <a:miter lim="800000"/>
            <a:headEnd/>
            <a:tailEnd/>
          </a:ln>
        </p:spPr>
        <p:txBody>
          <a:bodyPr wrap="none" lIns="63110" tIns="31555" rIns="63110" bIns="31555">
            <a:spAutoFit/>
          </a:bodyP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0" lang="de-DE" sz="1038" b="0" i="0" u="none" strike="noStrike" kern="1200" cap="none" spc="0" normalizeH="0" baseline="0" noProof="0" dirty="0">
                <a:ln>
                  <a:noFill/>
                </a:ln>
                <a:solidFill>
                  <a:srgbClr val="000000"/>
                </a:solidFill>
                <a:effectLst/>
                <a:uLnTx/>
                <a:uFillTx/>
                <a:latin typeface="Arial"/>
                <a:ea typeface="+mn-ea"/>
                <a:cs typeface="Arial" charset="0"/>
              </a:rPr>
              <a:t>Zeit</a:t>
            </a:r>
          </a:p>
        </p:txBody>
      </p:sp>
      <p:sp>
        <p:nvSpPr>
          <p:cNvPr id="110" name="Freihandform 10"/>
          <p:cNvSpPr>
            <a:spLocks noChangeArrowheads="1"/>
          </p:cNvSpPr>
          <p:nvPr/>
        </p:nvSpPr>
        <p:spPr bwMode="auto">
          <a:xfrm>
            <a:off x="3455672" y="2611740"/>
            <a:ext cx="2380438" cy="2141456"/>
          </a:xfrm>
          <a:custGeom>
            <a:avLst/>
            <a:gdLst>
              <a:gd name="T0" fmla="*/ 0 w 4591250"/>
              <a:gd name="T1" fmla="*/ 2743200 h 2743200"/>
              <a:gd name="T2" fmla="*/ 914320 w 4591250"/>
              <a:gd name="T3" fmla="*/ 2579570 h 2743200"/>
              <a:gd name="T4" fmla="*/ 1491787 w 4591250"/>
              <a:gd name="T5" fmla="*/ 2367814 h 2743200"/>
              <a:gd name="T6" fmla="*/ 2059628 w 4591250"/>
              <a:gd name="T7" fmla="*/ 1896177 h 2743200"/>
              <a:gd name="T8" fmla="*/ 2637094 w 4591250"/>
              <a:gd name="T9" fmla="*/ 1241659 h 2743200"/>
              <a:gd name="T10" fmla="*/ 3118314 w 4591250"/>
              <a:gd name="T11" fmla="*/ 750770 h 2743200"/>
              <a:gd name="T12" fmla="*/ 3926766 w 4591250"/>
              <a:gd name="T13" fmla="*/ 231006 h 2743200"/>
              <a:gd name="T14" fmla="*/ 4590851 w 4591250"/>
              <a:gd name="T15" fmla="*/ 0 h 2743200"/>
              <a:gd name="T16" fmla="*/ 0 60000 65536"/>
              <a:gd name="T17" fmla="*/ 0 60000 65536"/>
              <a:gd name="T18" fmla="*/ 0 60000 65536"/>
              <a:gd name="T19" fmla="*/ 0 60000 65536"/>
              <a:gd name="T20" fmla="*/ 0 60000 65536"/>
              <a:gd name="T21" fmla="*/ 0 60000 65536"/>
              <a:gd name="T22" fmla="*/ 0 60000 65536"/>
              <a:gd name="T23" fmla="*/ 0 60000 65536"/>
              <a:gd name="T24" fmla="*/ 0 w 4591250"/>
              <a:gd name="T25" fmla="*/ 0 h 2743200"/>
              <a:gd name="T26" fmla="*/ 4591250 w 4591250"/>
              <a:gd name="T27" fmla="*/ 2743200 h 2743200"/>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040869 w 5140203"/>
              <a:gd name="connsiteY2" fmla="*/ 2367815 h 2788543"/>
              <a:gd name="connsiteX3" fmla="*/ 2608759 w 5140203"/>
              <a:gd name="connsiteY3" fmla="*/ 1896177 h 2788543"/>
              <a:gd name="connsiteX4" fmla="*/ 3186275 w 5140203"/>
              <a:gd name="connsiteY4" fmla="*/ 1241659 h 2788543"/>
              <a:gd name="connsiteX5" fmla="*/ 3667538 w 5140203"/>
              <a:gd name="connsiteY5" fmla="*/ 750770 h 2788543"/>
              <a:gd name="connsiteX6" fmla="*/ 4476060 w 5140203"/>
              <a:gd name="connsiteY6" fmla="*/ 231006 h 2788543"/>
              <a:gd name="connsiteX7" fmla="*/ 5140203 w 5140203"/>
              <a:gd name="connsiteY7" fmla="*/ 0 h 2788543"/>
              <a:gd name="connsiteX0" fmla="*/ 0 w 5140203"/>
              <a:gd name="connsiteY0" fmla="*/ 2788543 h 2788543"/>
              <a:gd name="connsiteX1" fmla="*/ 1463353 w 5140203"/>
              <a:gd name="connsiteY1" fmla="*/ 2579570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463353 w 5140203"/>
              <a:gd name="connsiteY1" fmla="*/ 2579570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575639 w 5140203"/>
              <a:gd name="connsiteY1" fmla="*/ 2549342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575639 w 5140203"/>
              <a:gd name="connsiteY1" fmla="*/ 2549342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140203"/>
              <a:gd name="connsiteY0" fmla="*/ 2788543 h 2788543"/>
              <a:gd name="connsiteX1" fmla="*/ 1575639 w 5140203"/>
              <a:gd name="connsiteY1" fmla="*/ 2549342 h 2788543"/>
              <a:gd name="connsiteX2" fmla="*/ 2608759 w 5140203"/>
              <a:gd name="connsiteY2" fmla="*/ 1896177 h 2788543"/>
              <a:gd name="connsiteX3" fmla="*/ 3186275 w 5140203"/>
              <a:gd name="connsiteY3" fmla="*/ 1241659 h 2788543"/>
              <a:gd name="connsiteX4" fmla="*/ 3667538 w 5140203"/>
              <a:gd name="connsiteY4" fmla="*/ 750770 h 2788543"/>
              <a:gd name="connsiteX5" fmla="*/ 4476060 w 5140203"/>
              <a:gd name="connsiteY5" fmla="*/ 231006 h 2788543"/>
              <a:gd name="connsiteX6" fmla="*/ 5140203 w 5140203"/>
              <a:gd name="connsiteY6" fmla="*/ 0 h 2788543"/>
              <a:gd name="connsiteX0" fmla="*/ 0 w 5302393"/>
              <a:gd name="connsiteY0" fmla="*/ 2780986 h 2780986"/>
              <a:gd name="connsiteX1" fmla="*/ 1737829 w 5302393"/>
              <a:gd name="connsiteY1" fmla="*/ 2549342 h 2780986"/>
              <a:gd name="connsiteX2" fmla="*/ 2770949 w 5302393"/>
              <a:gd name="connsiteY2" fmla="*/ 1896177 h 2780986"/>
              <a:gd name="connsiteX3" fmla="*/ 3348465 w 5302393"/>
              <a:gd name="connsiteY3" fmla="*/ 1241659 h 2780986"/>
              <a:gd name="connsiteX4" fmla="*/ 3829728 w 5302393"/>
              <a:gd name="connsiteY4" fmla="*/ 750770 h 2780986"/>
              <a:gd name="connsiteX5" fmla="*/ 4638250 w 5302393"/>
              <a:gd name="connsiteY5" fmla="*/ 231006 h 2780986"/>
              <a:gd name="connsiteX6" fmla="*/ 5302393 w 5302393"/>
              <a:gd name="connsiteY6" fmla="*/ 0 h 2780986"/>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3829728 w 5302393"/>
              <a:gd name="connsiteY4" fmla="*/ 750770 h 2781033"/>
              <a:gd name="connsiteX5" fmla="*/ 4638250 w 5302393"/>
              <a:gd name="connsiteY5" fmla="*/ 231006 h 2781033"/>
              <a:gd name="connsiteX6" fmla="*/ 5302393 w 5302393"/>
              <a:gd name="connsiteY6"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3954491 w 5302393"/>
              <a:gd name="connsiteY4" fmla="*/ 614743 h 2781033"/>
              <a:gd name="connsiteX5" fmla="*/ 4638250 w 5302393"/>
              <a:gd name="connsiteY5" fmla="*/ 231006 h 2781033"/>
              <a:gd name="connsiteX6" fmla="*/ 5302393 w 5302393"/>
              <a:gd name="connsiteY6"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3954491 w 5302393"/>
              <a:gd name="connsiteY4" fmla="*/ 61474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5302393"/>
              <a:gd name="connsiteY0" fmla="*/ 2780986 h 2781033"/>
              <a:gd name="connsiteX1" fmla="*/ 1737829 w 5302393"/>
              <a:gd name="connsiteY1" fmla="*/ 2549342 h 2781033"/>
              <a:gd name="connsiteX2" fmla="*/ 2770949 w 5302393"/>
              <a:gd name="connsiteY2" fmla="*/ 1896177 h 2781033"/>
              <a:gd name="connsiteX3" fmla="*/ 3348465 w 5302393"/>
              <a:gd name="connsiteY3" fmla="*/ 1241659 h 2781033"/>
              <a:gd name="connsiteX4" fmla="*/ 4154109 w 5302393"/>
              <a:gd name="connsiteY4" fmla="*/ 463603 h 2781033"/>
              <a:gd name="connsiteX5" fmla="*/ 5302393 w 5302393"/>
              <a:gd name="connsiteY5" fmla="*/ 0 h 2781033"/>
              <a:gd name="connsiteX0" fmla="*/ 0 w 4864764"/>
              <a:gd name="connsiteY0" fmla="*/ 2762806 h 2762862"/>
              <a:gd name="connsiteX1" fmla="*/ 1300200 w 4864764"/>
              <a:gd name="connsiteY1" fmla="*/ 2549342 h 2762862"/>
              <a:gd name="connsiteX2" fmla="*/ 2333320 w 4864764"/>
              <a:gd name="connsiteY2" fmla="*/ 1896177 h 2762862"/>
              <a:gd name="connsiteX3" fmla="*/ 2910836 w 4864764"/>
              <a:gd name="connsiteY3" fmla="*/ 1241659 h 2762862"/>
              <a:gd name="connsiteX4" fmla="*/ 3716480 w 4864764"/>
              <a:gd name="connsiteY4" fmla="*/ 463603 h 2762862"/>
              <a:gd name="connsiteX5" fmla="*/ 4864764 w 4864764"/>
              <a:gd name="connsiteY5" fmla="*/ 0 h 2762862"/>
              <a:gd name="connsiteX0" fmla="*/ 0 w 4864764"/>
              <a:gd name="connsiteY0" fmla="*/ 2762806 h 2762806"/>
              <a:gd name="connsiteX1" fmla="*/ 1300200 w 4864764"/>
              <a:gd name="connsiteY1" fmla="*/ 2549342 h 2762806"/>
              <a:gd name="connsiteX2" fmla="*/ 2333320 w 4864764"/>
              <a:gd name="connsiteY2" fmla="*/ 1896177 h 2762806"/>
              <a:gd name="connsiteX3" fmla="*/ 2910836 w 4864764"/>
              <a:gd name="connsiteY3" fmla="*/ 1241659 h 2762806"/>
              <a:gd name="connsiteX4" fmla="*/ 3716480 w 4864764"/>
              <a:gd name="connsiteY4" fmla="*/ 463603 h 2762806"/>
              <a:gd name="connsiteX5" fmla="*/ 4864764 w 4864764"/>
              <a:gd name="connsiteY5" fmla="*/ 0 h 2762806"/>
              <a:gd name="connsiteX0" fmla="*/ 0 w 4798337"/>
              <a:gd name="connsiteY0" fmla="*/ 2759751 h 2759751"/>
              <a:gd name="connsiteX1" fmla="*/ 1233773 w 4798337"/>
              <a:gd name="connsiteY1" fmla="*/ 2549342 h 2759751"/>
              <a:gd name="connsiteX2" fmla="*/ 2266893 w 4798337"/>
              <a:gd name="connsiteY2" fmla="*/ 1896177 h 2759751"/>
              <a:gd name="connsiteX3" fmla="*/ 2844409 w 4798337"/>
              <a:gd name="connsiteY3" fmla="*/ 1241659 h 2759751"/>
              <a:gd name="connsiteX4" fmla="*/ 3650053 w 4798337"/>
              <a:gd name="connsiteY4" fmla="*/ 463603 h 2759751"/>
              <a:gd name="connsiteX5" fmla="*/ 4798337 w 4798337"/>
              <a:gd name="connsiteY5" fmla="*/ 0 h 2759751"/>
              <a:gd name="connsiteX0" fmla="*/ 0 w 4788394"/>
              <a:gd name="connsiteY0" fmla="*/ 2695724 h 2695724"/>
              <a:gd name="connsiteX1" fmla="*/ 1233773 w 4788394"/>
              <a:gd name="connsiteY1" fmla="*/ 2485315 h 2695724"/>
              <a:gd name="connsiteX2" fmla="*/ 2266893 w 4788394"/>
              <a:gd name="connsiteY2" fmla="*/ 1832150 h 2695724"/>
              <a:gd name="connsiteX3" fmla="*/ 2844409 w 4788394"/>
              <a:gd name="connsiteY3" fmla="*/ 1177632 h 2695724"/>
              <a:gd name="connsiteX4" fmla="*/ 3650053 w 4788394"/>
              <a:gd name="connsiteY4" fmla="*/ 399576 h 2695724"/>
              <a:gd name="connsiteX5" fmla="*/ 4788394 w 4788394"/>
              <a:gd name="connsiteY5" fmla="*/ 0 h 2695724"/>
              <a:gd name="connsiteX0" fmla="*/ 0 w 4788394"/>
              <a:gd name="connsiteY0" fmla="*/ 2695724 h 2695724"/>
              <a:gd name="connsiteX1" fmla="*/ 1233773 w 4788394"/>
              <a:gd name="connsiteY1" fmla="*/ 2485315 h 2695724"/>
              <a:gd name="connsiteX2" fmla="*/ 2266893 w 4788394"/>
              <a:gd name="connsiteY2" fmla="*/ 1832150 h 2695724"/>
              <a:gd name="connsiteX3" fmla="*/ 2844409 w 4788394"/>
              <a:gd name="connsiteY3" fmla="*/ 1177632 h 2695724"/>
              <a:gd name="connsiteX4" fmla="*/ 3650053 w 4788394"/>
              <a:gd name="connsiteY4" fmla="*/ 399576 h 2695724"/>
              <a:gd name="connsiteX5" fmla="*/ 4788394 w 4788394"/>
              <a:gd name="connsiteY5" fmla="*/ 0 h 2695724"/>
              <a:gd name="connsiteX0" fmla="*/ 0 w 4916465"/>
              <a:gd name="connsiteY0" fmla="*/ 2701614 h 2701614"/>
              <a:gd name="connsiteX1" fmla="*/ 1233773 w 4916465"/>
              <a:gd name="connsiteY1" fmla="*/ 2491205 h 2701614"/>
              <a:gd name="connsiteX2" fmla="*/ 2266893 w 4916465"/>
              <a:gd name="connsiteY2" fmla="*/ 1838040 h 2701614"/>
              <a:gd name="connsiteX3" fmla="*/ 2844409 w 4916465"/>
              <a:gd name="connsiteY3" fmla="*/ 1183522 h 2701614"/>
              <a:gd name="connsiteX4" fmla="*/ 3650053 w 4916465"/>
              <a:gd name="connsiteY4" fmla="*/ 405466 h 2701614"/>
              <a:gd name="connsiteX5" fmla="*/ 4916465 w 4916465"/>
              <a:gd name="connsiteY5" fmla="*/ 0 h 2701614"/>
              <a:gd name="connsiteX0" fmla="*/ 0 w 4916465"/>
              <a:gd name="connsiteY0" fmla="*/ 2701614 h 2701614"/>
              <a:gd name="connsiteX1" fmla="*/ 1233773 w 4916465"/>
              <a:gd name="connsiteY1" fmla="*/ 2491205 h 2701614"/>
              <a:gd name="connsiteX2" fmla="*/ 2266893 w 4916465"/>
              <a:gd name="connsiteY2" fmla="*/ 1838040 h 2701614"/>
              <a:gd name="connsiteX3" fmla="*/ 2844409 w 4916465"/>
              <a:gd name="connsiteY3" fmla="*/ 1183522 h 2701614"/>
              <a:gd name="connsiteX4" fmla="*/ 3650053 w 4916465"/>
              <a:gd name="connsiteY4" fmla="*/ 405466 h 2701614"/>
              <a:gd name="connsiteX5" fmla="*/ 4916465 w 4916465"/>
              <a:gd name="connsiteY5" fmla="*/ 0 h 2701614"/>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650053 w 4916465"/>
              <a:gd name="connsiteY4" fmla="*/ 429028 h 2725176"/>
              <a:gd name="connsiteX5" fmla="*/ 4916465 w 4916465"/>
              <a:gd name="connsiteY5" fmla="*/ 0 h 2725176"/>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650053 w 4916465"/>
              <a:gd name="connsiteY4" fmla="*/ 429028 h 2725176"/>
              <a:gd name="connsiteX5" fmla="*/ 4916465 w 4916465"/>
              <a:gd name="connsiteY5" fmla="*/ 0 h 2725176"/>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650053 w 4916465"/>
              <a:gd name="connsiteY4" fmla="*/ 429028 h 2725176"/>
              <a:gd name="connsiteX5" fmla="*/ 4916465 w 4916465"/>
              <a:gd name="connsiteY5" fmla="*/ 0 h 2725176"/>
              <a:gd name="connsiteX0" fmla="*/ 0 w 4916465"/>
              <a:gd name="connsiteY0" fmla="*/ 2725176 h 2725176"/>
              <a:gd name="connsiteX1" fmla="*/ 1233773 w 4916465"/>
              <a:gd name="connsiteY1" fmla="*/ 2514767 h 2725176"/>
              <a:gd name="connsiteX2" fmla="*/ 2266893 w 4916465"/>
              <a:gd name="connsiteY2" fmla="*/ 1861602 h 2725176"/>
              <a:gd name="connsiteX3" fmla="*/ 2844409 w 4916465"/>
              <a:gd name="connsiteY3" fmla="*/ 1207084 h 2725176"/>
              <a:gd name="connsiteX4" fmla="*/ 3517090 w 4916465"/>
              <a:gd name="connsiteY4" fmla="*/ 566015 h 2725176"/>
              <a:gd name="connsiteX5" fmla="*/ 4916465 w 4916465"/>
              <a:gd name="connsiteY5" fmla="*/ 0 h 2725176"/>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517090 w 4770205"/>
              <a:gd name="connsiteY4" fmla="*/ 437590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517090 w 4770205"/>
              <a:gd name="connsiteY4" fmla="*/ 437590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70205"/>
              <a:gd name="connsiteY0" fmla="*/ 2596751 h 2596751"/>
              <a:gd name="connsiteX1" fmla="*/ 1233773 w 4770205"/>
              <a:gd name="connsiteY1" fmla="*/ 2386342 h 2596751"/>
              <a:gd name="connsiteX2" fmla="*/ 2266893 w 4770205"/>
              <a:gd name="connsiteY2" fmla="*/ 1733177 h 2596751"/>
              <a:gd name="connsiteX3" fmla="*/ 2844409 w 4770205"/>
              <a:gd name="connsiteY3" fmla="*/ 1078659 h 2596751"/>
              <a:gd name="connsiteX4" fmla="*/ 3485473 w 4770205"/>
              <a:gd name="connsiteY4" fmla="*/ 481701 h 2596751"/>
              <a:gd name="connsiteX5" fmla="*/ 4770205 w 4770205"/>
              <a:gd name="connsiteY5" fmla="*/ 0 h 2596751"/>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2844409 w 4733318"/>
              <a:gd name="connsiteY3" fmla="*/ 1037941 h 2556033"/>
              <a:gd name="connsiteX4" fmla="*/ 3485473 w 4733318"/>
              <a:gd name="connsiteY4" fmla="*/ 440983 h 2556033"/>
              <a:gd name="connsiteX5" fmla="*/ 4733318 w 4733318"/>
              <a:gd name="connsiteY5"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485473 w 4733318"/>
              <a:gd name="connsiteY3" fmla="*/ 440983 h 2556033"/>
              <a:gd name="connsiteX4" fmla="*/ 4733318 w 4733318"/>
              <a:gd name="connsiteY4"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333414 w 4733318"/>
              <a:gd name="connsiteY3" fmla="*/ 542813 h 2556033"/>
              <a:gd name="connsiteX4" fmla="*/ 4733318 w 4733318"/>
              <a:gd name="connsiteY4"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333414 w 4733318"/>
              <a:gd name="connsiteY3" fmla="*/ 542813 h 2556033"/>
              <a:gd name="connsiteX4" fmla="*/ 4733318 w 4733318"/>
              <a:gd name="connsiteY4" fmla="*/ 0 h 2556033"/>
              <a:gd name="connsiteX0" fmla="*/ 0 w 4733318"/>
              <a:gd name="connsiteY0" fmla="*/ 2556033 h 2556033"/>
              <a:gd name="connsiteX1" fmla="*/ 1233773 w 4733318"/>
              <a:gd name="connsiteY1" fmla="*/ 2345624 h 2556033"/>
              <a:gd name="connsiteX2" fmla="*/ 2266893 w 4733318"/>
              <a:gd name="connsiteY2" fmla="*/ 1692459 h 2556033"/>
              <a:gd name="connsiteX3" fmla="*/ 3333414 w 4733318"/>
              <a:gd name="connsiteY3" fmla="*/ 542813 h 2556033"/>
              <a:gd name="connsiteX4" fmla="*/ 4733318 w 4733318"/>
              <a:gd name="connsiteY4" fmla="*/ 0 h 2556033"/>
              <a:gd name="connsiteX0" fmla="*/ 0 w 4727237"/>
              <a:gd name="connsiteY0" fmla="*/ 2505119 h 2505119"/>
              <a:gd name="connsiteX1" fmla="*/ 1233773 w 4727237"/>
              <a:gd name="connsiteY1" fmla="*/ 2294710 h 2505119"/>
              <a:gd name="connsiteX2" fmla="*/ 2266893 w 4727237"/>
              <a:gd name="connsiteY2" fmla="*/ 1641545 h 2505119"/>
              <a:gd name="connsiteX3" fmla="*/ 3333414 w 4727237"/>
              <a:gd name="connsiteY3" fmla="*/ 491899 h 2505119"/>
              <a:gd name="connsiteX4" fmla="*/ 4727237 w 4727237"/>
              <a:gd name="connsiteY4" fmla="*/ 0 h 2505119"/>
              <a:gd name="connsiteX0" fmla="*/ 0 w 4727237"/>
              <a:gd name="connsiteY0" fmla="*/ 2520785 h 2520785"/>
              <a:gd name="connsiteX1" fmla="*/ 1233773 w 4727237"/>
              <a:gd name="connsiteY1" fmla="*/ 2310376 h 2520785"/>
              <a:gd name="connsiteX2" fmla="*/ 2266893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266893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727237"/>
              <a:gd name="connsiteY0" fmla="*/ 2520785 h 2520785"/>
              <a:gd name="connsiteX1" fmla="*/ 1233773 w 4727237"/>
              <a:gd name="connsiteY1" fmla="*/ 2310376 h 2520785"/>
              <a:gd name="connsiteX2" fmla="*/ 2309469 w 4727237"/>
              <a:gd name="connsiteY2" fmla="*/ 1657211 h 2520785"/>
              <a:gd name="connsiteX3" fmla="*/ 3333414 w 4727237"/>
              <a:gd name="connsiteY3" fmla="*/ 507565 h 2520785"/>
              <a:gd name="connsiteX4" fmla="*/ 4727237 w 4727237"/>
              <a:gd name="connsiteY4" fmla="*/ 0 h 2520785"/>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43174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07326 w 4405495"/>
              <a:gd name="connsiteY3" fmla="*/ 457173 h 2456394"/>
              <a:gd name="connsiteX4" fmla="*/ 4405495 w 4405495"/>
              <a:gd name="connsiteY4" fmla="*/ 0 h 2456394"/>
              <a:gd name="connsiteX0" fmla="*/ 0 w 4405495"/>
              <a:gd name="connsiteY0" fmla="*/ 2456394 h 2456394"/>
              <a:gd name="connsiteX1" fmla="*/ 1233773 w 4405495"/>
              <a:gd name="connsiteY1" fmla="*/ 2245985 h 2456394"/>
              <a:gd name="connsiteX2" fmla="*/ 2309469 w 4405495"/>
              <a:gd name="connsiteY2" fmla="*/ 1592820 h 2456394"/>
              <a:gd name="connsiteX3" fmla="*/ 3333414 w 4405495"/>
              <a:gd name="connsiteY3" fmla="*/ 437576 h 2456394"/>
              <a:gd name="connsiteX4" fmla="*/ 4405495 w 4405495"/>
              <a:gd name="connsiteY4" fmla="*/ 0 h 2456394"/>
              <a:gd name="connsiteX0" fmla="*/ 0 w 4370711"/>
              <a:gd name="connsiteY0" fmla="*/ 2464793 h 2464793"/>
              <a:gd name="connsiteX1" fmla="*/ 1233773 w 4370711"/>
              <a:gd name="connsiteY1" fmla="*/ 2254384 h 2464793"/>
              <a:gd name="connsiteX2" fmla="*/ 2309469 w 4370711"/>
              <a:gd name="connsiteY2" fmla="*/ 1601219 h 2464793"/>
              <a:gd name="connsiteX3" fmla="*/ 3333414 w 4370711"/>
              <a:gd name="connsiteY3" fmla="*/ 445975 h 2464793"/>
              <a:gd name="connsiteX4" fmla="*/ 4370711 w 4370711"/>
              <a:gd name="connsiteY4" fmla="*/ 0 h 2464793"/>
              <a:gd name="connsiteX0" fmla="*/ 0 w 4370711"/>
              <a:gd name="connsiteY0" fmla="*/ 2464793 h 2464793"/>
              <a:gd name="connsiteX1" fmla="*/ 1233773 w 4370711"/>
              <a:gd name="connsiteY1" fmla="*/ 2254384 h 2464793"/>
              <a:gd name="connsiteX2" fmla="*/ 2309469 w 4370711"/>
              <a:gd name="connsiteY2" fmla="*/ 1601219 h 2464793"/>
              <a:gd name="connsiteX3" fmla="*/ 3333414 w 4370711"/>
              <a:gd name="connsiteY3" fmla="*/ 445975 h 2464793"/>
              <a:gd name="connsiteX4" fmla="*/ 4370711 w 4370711"/>
              <a:gd name="connsiteY4" fmla="*/ 0 h 2464793"/>
              <a:gd name="connsiteX0" fmla="*/ 0 w 4370711"/>
              <a:gd name="connsiteY0" fmla="*/ 2464793 h 2464793"/>
              <a:gd name="connsiteX1" fmla="*/ 1233773 w 4370711"/>
              <a:gd name="connsiteY1" fmla="*/ 2254384 h 2464793"/>
              <a:gd name="connsiteX2" fmla="*/ 2337359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337359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374545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360600 w 4370711"/>
              <a:gd name="connsiteY2" fmla="*/ 1625164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370711"/>
              <a:gd name="connsiteY0" fmla="*/ 2464793 h 2464793"/>
              <a:gd name="connsiteX1" fmla="*/ 1322092 w 4370711"/>
              <a:gd name="connsiteY1" fmla="*/ 2260370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370711"/>
              <a:gd name="connsiteY0" fmla="*/ 2464793 h 2464793"/>
              <a:gd name="connsiteX1" fmla="*/ 1411583 w 4370711"/>
              <a:gd name="connsiteY1" fmla="*/ 2228356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370711"/>
              <a:gd name="connsiteY0" fmla="*/ 2464793 h 2464793"/>
              <a:gd name="connsiteX1" fmla="*/ 1411583 w 4370711"/>
              <a:gd name="connsiteY1" fmla="*/ 2228356 h 2464793"/>
              <a:gd name="connsiteX2" fmla="*/ 2405346 w 4370711"/>
              <a:gd name="connsiteY2" fmla="*/ 1602755 h 2464793"/>
              <a:gd name="connsiteX3" fmla="*/ 3333414 w 4370711"/>
              <a:gd name="connsiteY3" fmla="*/ 445975 h 2464793"/>
              <a:gd name="connsiteX4" fmla="*/ 4370711 w 4370711"/>
              <a:gd name="connsiteY4" fmla="*/ 0 h 2464793"/>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04927"/>
              <a:gd name="connsiteY0" fmla="*/ 2434684 h 2434684"/>
              <a:gd name="connsiteX1" fmla="*/ 1411583 w 4204927"/>
              <a:gd name="connsiteY1" fmla="*/ 2198247 h 2434684"/>
              <a:gd name="connsiteX2" fmla="*/ 2405346 w 4204927"/>
              <a:gd name="connsiteY2" fmla="*/ 1572646 h 2434684"/>
              <a:gd name="connsiteX3" fmla="*/ 3333414 w 4204927"/>
              <a:gd name="connsiteY3" fmla="*/ 415866 h 2434684"/>
              <a:gd name="connsiteX4" fmla="*/ 4204927 w 4204927"/>
              <a:gd name="connsiteY4" fmla="*/ 0 h 2434684"/>
              <a:gd name="connsiteX0" fmla="*/ 0 w 4289629"/>
              <a:gd name="connsiteY0" fmla="*/ 2471045 h 2471045"/>
              <a:gd name="connsiteX1" fmla="*/ 1411583 w 4289629"/>
              <a:gd name="connsiteY1" fmla="*/ 2234608 h 2471045"/>
              <a:gd name="connsiteX2" fmla="*/ 2405346 w 4289629"/>
              <a:gd name="connsiteY2" fmla="*/ 1609007 h 2471045"/>
              <a:gd name="connsiteX3" fmla="*/ 3333414 w 4289629"/>
              <a:gd name="connsiteY3" fmla="*/ 452227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3414 w 4289629"/>
              <a:gd name="connsiteY3" fmla="*/ 452227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3414 w 4289629"/>
              <a:gd name="connsiteY3" fmla="*/ 452227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89629"/>
              <a:gd name="connsiteY0" fmla="*/ 2471045 h 2471045"/>
              <a:gd name="connsiteX1" fmla="*/ 1411583 w 4289629"/>
              <a:gd name="connsiteY1" fmla="*/ 2234608 h 2471045"/>
              <a:gd name="connsiteX2" fmla="*/ 2405346 w 4289629"/>
              <a:gd name="connsiteY2" fmla="*/ 1609007 h 2471045"/>
              <a:gd name="connsiteX3" fmla="*/ 3339563 w 4289629"/>
              <a:gd name="connsiteY3" fmla="*/ 442330 h 2471045"/>
              <a:gd name="connsiteX4" fmla="*/ 4289629 w 4289629"/>
              <a:gd name="connsiteY4" fmla="*/ 0 h 2471045"/>
              <a:gd name="connsiteX0" fmla="*/ 0 w 4299838"/>
              <a:gd name="connsiteY0" fmla="*/ 2490768 h 2490768"/>
              <a:gd name="connsiteX1" fmla="*/ 1411583 w 4299838"/>
              <a:gd name="connsiteY1" fmla="*/ 2254331 h 2490768"/>
              <a:gd name="connsiteX2" fmla="*/ 2405346 w 4299838"/>
              <a:gd name="connsiteY2" fmla="*/ 1628730 h 2490768"/>
              <a:gd name="connsiteX3" fmla="*/ 3339563 w 4299838"/>
              <a:gd name="connsiteY3" fmla="*/ 462053 h 2490768"/>
              <a:gd name="connsiteX4" fmla="*/ 4299838 w 4299838"/>
              <a:gd name="connsiteY4" fmla="*/ 0 h 2490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9838" h="2490768">
                <a:moveTo>
                  <a:pt x="0" y="2490768"/>
                </a:moveTo>
                <a:cubicBezTo>
                  <a:pt x="587319" y="2465864"/>
                  <a:pt x="1000749" y="2410809"/>
                  <a:pt x="1411583" y="2254331"/>
                </a:cubicBezTo>
                <a:cubicBezTo>
                  <a:pt x="1822417" y="2097853"/>
                  <a:pt x="2084016" y="1927443"/>
                  <a:pt x="2405346" y="1628730"/>
                </a:cubicBezTo>
                <a:cubicBezTo>
                  <a:pt x="2726676" y="1330017"/>
                  <a:pt x="3023814" y="733508"/>
                  <a:pt x="3339563" y="462053"/>
                </a:cubicBezTo>
                <a:cubicBezTo>
                  <a:pt x="3655312" y="190598"/>
                  <a:pt x="3999976" y="68859"/>
                  <a:pt x="4299838" y="0"/>
                </a:cubicBezTo>
              </a:path>
            </a:pathLst>
          </a:custGeom>
          <a:noFill/>
          <a:ln w="25400" cap="rnd" algn="ctr">
            <a:solidFill>
              <a:srgbClr val="00B050"/>
            </a:solidFill>
            <a:round/>
            <a:headEnd/>
            <a:tailEnd/>
          </a:ln>
          <a:extLst>
            <a:ext uri="{909E8E84-426E-40DD-AFC4-6F175D3DCCD1}">
              <a14:hiddenFill xmlns:a14="http://schemas.microsoft.com/office/drawing/2010/main">
                <a:solidFill>
                  <a:srgbClr val="FFFFFF"/>
                </a:solidFill>
              </a14:hiddenFill>
            </a:ext>
          </a:extLst>
        </p:spPr>
        <p:txBody>
          <a:bodyPr wrap="none" lIns="62294" tIns="32393" rIns="62294" bIns="32393"/>
          <a:lstStyle/>
          <a:p>
            <a:pPr marL="0" marR="0" lvl="0" indent="0" algn="l" defTabSz="844083" rtl="0" eaLnBrk="0" fontAlgn="base" latinLnBrk="0" hangingPunct="0">
              <a:lnSpc>
                <a:spcPct val="100000"/>
              </a:lnSpc>
              <a:spcBef>
                <a:spcPct val="0"/>
              </a:spcBef>
              <a:spcAft>
                <a:spcPct val="20000"/>
              </a:spcAft>
              <a:buClrTx/>
              <a:buSzTx/>
              <a:buFontTx/>
              <a:buNone/>
              <a:tabLst/>
              <a:defRPr/>
            </a:pPr>
            <a:endParaRPr kumimoji="0" lang="de-DE" sz="1108" b="0" i="0" u="none" strike="noStrike" kern="1200" cap="none" spc="0" normalizeH="0" baseline="0" noProof="0" dirty="0">
              <a:ln>
                <a:noFill/>
              </a:ln>
              <a:solidFill>
                <a:srgbClr val="000000"/>
              </a:solidFill>
              <a:effectLst/>
              <a:uLnTx/>
              <a:uFillTx/>
              <a:latin typeface="Arial"/>
              <a:ea typeface="+mn-ea"/>
              <a:cs typeface="Arial" charset="0"/>
            </a:endParaRPr>
          </a:p>
        </p:txBody>
      </p:sp>
      <p:grpSp>
        <p:nvGrpSpPr>
          <p:cNvPr id="111" name="Group 110"/>
          <p:cNvGrpSpPr/>
          <p:nvPr/>
        </p:nvGrpSpPr>
        <p:grpSpPr>
          <a:xfrm>
            <a:off x="3015817" y="4690541"/>
            <a:ext cx="423995" cy="124340"/>
            <a:chOff x="2204432" y="5090329"/>
            <a:chExt cx="612437" cy="179603"/>
          </a:xfrm>
        </p:grpSpPr>
        <p:sp>
          <p:nvSpPr>
            <p:cNvPr id="112" name="Freihandform 50"/>
            <p:cNvSpPr/>
            <p:nvPr/>
          </p:nvSpPr>
          <p:spPr>
            <a:xfrm rot="224175">
              <a:off x="2204432" y="5162018"/>
              <a:ext cx="600577" cy="45719"/>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0000 h 10000"/>
                <a:gd name="connsiteX1" fmla="*/ 10000 w 10000"/>
                <a:gd name="connsiteY1" fmla="*/ 0 h 10000"/>
                <a:gd name="connsiteX0" fmla="*/ 0 w 10000"/>
                <a:gd name="connsiteY0" fmla="*/ 10000 h 10000"/>
                <a:gd name="connsiteX1" fmla="*/ 10000 w 10000"/>
                <a:gd name="connsiteY1" fmla="*/ 0 h 10000"/>
              </a:gdLst>
              <a:ahLst/>
              <a:cxnLst>
                <a:cxn ang="0">
                  <a:pos x="connsiteX0" y="connsiteY0"/>
                </a:cxn>
                <a:cxn ang="0">
                  <a:pos x="connsiteX1" y="connsiteY1"/>
                </a:cxn>
              </a:cxnLst>
              <a:rect l="l" t="t" r="r" b="b"/>
              <a:pathLst>
                <a:path w="10000" h="10000">
                  <a:moveTo>
                    <a:pt x="0" y="10000"/>
                  </a:moveTo>
                  <a:cubicBezTo>
                    <a:pt x="3501" y="9958"/>
                    <a:pt x="5938" y="6625"/>
                    <a:pt x="10000" y="0"/>
                  </a:cubicBezTo>
                </a:path>
              </a:pathLst>
            </a:custGeom>
            <a:noFill/>
            <a:ln w="25400" cap="rnd" algn="ctr">
              <a:solidFill>
                <a:srgbClr val="00B050">
                  <a:alpha val="59000"/>
                </a:srgbClr>
              </a:solidFill>
              <a:prstDash val="sysDash"/>
              <a:round/>
              <a:headEnd/>
              <a:tailEnd/>
            </a:ln>
          </p:spPr>
          <p:txBody>
            <a:bodyPr wrap="none" lIns="62294" tIns="32393" rIns="62294" bIns="32393"/>
            <a:lstStyle/>
            <a:p>
              <a:pPr marL="0" marR="0" lvl="0" indent="0" algn="l" defTabSz="844083" rtl="0" eaLnBrk="1" fontAlgn="base" latinLnBrk="0" hangingPunct="1">
                <a:lnSpc>
                  <a:spcPct val="100000"/>
                </a:lnSpc>
                <a:spcBef>
                  <a:spcPct val="0"/>
                </a:spcBef>
                <a:spcAft>
                  <a:spcPct val="0"/>
                </a:spcAft>
                <a:buClrTx/>
                <a:buSzTx/>
                <a:buFontTx/>
                <a:buNone/>
                <a:tabLst/>
                <a:defRPr/>
              </a:pPr>
              <a:endParaRPr kumimoji="0" lang="de-DE" sz="1108"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113" name="Freihandform 50"/>
            <p:cNvSpPr/>
            <p:nvPr/>
          </p:nvSpPr>
          <p:spPr>
            <a:xfrm rot="21054672">
              <a:off x="2211858" y="5224213"/>
              <a:ext cx="600576" cy="45719"/>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0000 h 10000"/>
                <a:gd name="connsiteX1" fmla="*/ 10000 w 10000"/>
                <a:gd name="connsiteY1" fmla="*/ 0 h 10000"/>
                <a:gd name="connsiteX0" fmla="*/ 0 w 10000"/>
                <a:gd name="connsiteY0" fmla="*/ 10000 h 10000"/>
                <a:gd name="connsiteX1" fmla="*/ 10000 w 10000"/>
                <a:gd name="connsiteY1" fmla="*/ 0 h 10000"/>
                <a:gd name="connsiteX0" fmla="*/ 0 w 10000"/>
                <a:gd name="connsiteY0" fmla="*/ 10643 h 10643"/>
                <a:gd name="connsiteX1" fmla="*/ 10000 w 10000"/>
                <a:gd name="connsiteY1" fmla="*/ 643 h 10643"/>
                <a:gd name="connsiteX0" fmla="*/ 0 w 10000"/>
                <a:gd name="connsiteY0" fmla="*/ 11318 h 11318"/>
                <a:gd name="connsiteX1" fmla="*/ 10000 w 10000"/>
                <a:gd name="connsiteY1" fmla="*/ 1318 h 11318"/>
              </a:gdLst>
              <a:ahLst/>
              <a:cxnLst>
                <a:cxn ang="0">
                  <a:pos x="connsiteX0" y="connsiteY0"/>
                </a:cxn>
                <a:cxn ang="0">
                  <a:pos x="connsiteX1" y="connsiteY1"/>
                </a:cxn>
              </a:cxnLst>
              <a:rect l="l" t="t" r="r" b="b"/>
              <a:pathLst>
                <a:path w="10000" h="11318">
                  <a:moveTo>
                    <a:pt x="0" y="11318"/>
                  </a:moveTo>
                  <a:cubicBezTo>
                    <a:pt x="3951" y="2027"/>
                    <a:pt x="5808" y="-2409"/>
                    <a:pt x="10000" y="1318"/>
                  </a:cubicBezTo>
                </a:path>
              </a:pathLst>
            </a:custGeom>
            <a:noFill/>
            <a:ln w="25400" cap="rnd" algn="ctr">
              <a:solidFill>
                <a:srgbClr val="00B050">
                  <a:alpha val="59000"/>
                </a:srgbClr>
              </a:solidFill>
              <a:prstDash val="sysDash"/>
              <a:round/>
              <a:headEnd/>
              <a:tailEnd/>
            </a:ln>
          </p:spPr>
          <p:txBody>
            <a:bodyPr wrap="none" lIns="62294" tIns="32393" rIns="62294" bIns="32393"/>
            <a:lstStyle/>
            <a:p>
              <a:pPr marL="0" marR="0" lvl="0" indent="0" algn="l" defTabSz="844083" rtl="0" eaLnBrk="1" fontAlgn="base" latinLnBrk="0" hangingPunct="1">
                <a:lnSpc>
                  <a:spcPct val="100000"/>
                </a:lnSpc>
                <a:spcBef>
                  <a:spcPct val="0"/>
                </a:spcBef>
                <a:spcAft>
                  <a:spcPct val="0"/>
                </a:spcAft>
                <a:buClrTx/>
                <a:buSzTx/>
                <a:buFontTx/>
                <a:buNone/>
                <a:tabLst/>
                <a:defRPr/>
              </a:pPr>
              <a:endParaRPr kumimoji="0" lang="de-DE" sz="1108"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114" name="Freihandform 50"/>
            <p:cNvSpPr/>
            <p:nvPr/>
          </p:nvSpPr>
          <p:spPr>
            <a:xfrm rot="1088803">
              <a:off x="2216292" y="5090329"/>
              <a:ext cx="600577" cy="60275"/>
            </a:xfrm>
            <a:custGeom>
              <a:avLst/>
              <a:gdLst>
                <a:gd name="connsiteX0" fmla="*/ 0 w 609600"/>
                <a:gd name="connsiteY0" fmla="*/ 11289 h 11289"/>
                <a:gd name="connsiteX1" fmla="*/ 609600 w 609600"/>
                <a:gd name="connsiteY1" fmla="*/ 0 h 11289"/>
                <a:gd name="connsiteX2" fmla="*/ 609600 w 609600"/>
                <a:gd name="connsiteY2" fmla="*/ 0 h 11289"/>
                <a:gd name="connsiteX0" fmla="*/ 0 w 598311"/>
                <a:gd name="connsiteY0" fmla="*/ 11289 h 11289"/>
                <a:gd name="connsiteX1" fmla="*/ 598311 w 598311"/>
                <a:gd name="connsiteY1" fmla="*/ 0 h 11289"/>
                <a:gd name="connsiteX2" fmla="*/ 598311 w 598311"/>
                <a:gd name="connsiteY2" fmla="*/ 0 h 11289"/>
                <a:gd name="connsiteX0" fmla="*/ 0 w 653702"/>
                <a:gd name="connsiteY0" fmla="*/ 11289 h 19674"/>
                <a:gd name="connsiteX1" fmla="*/ 598311 w 653702"/>
                <a:gd name="connsiteY1" fmla="*/ 0 h 19674"/>
                <a:gd name="connsiteX2" fmla="*/ 635798 w 653702"/>
                <a:gd name="connsiteY2" fmla="*/ 19674 h 19674"/>
                <a:gd name="connsiteX0" fmla="*/ 0 w 876786"/>
                <a:gd name="connsiteY0" fmla="*/ 11539 h 11539"/>
                <a:gd name="connsiteX1" fmla="*/ 598311 w 876786"/>
                <a:gd name="connsiteY1" fmla="*/ 250 h 11539"/>
                <a:gd name="connsiteX2" fmla="*/ 876786 w 876786"/>
                <a:gd name="connsiteY2" fmla="*/ 6808 h 11539"/>
                <a:gd name="connsiteX0" fmla="*/ 0 w 876786"/>
                <a:gd name="connsiteY0" fmla="*/ 4731 h 4731"/>
                <a:gd name="connsiteX1" fmla="*/ 876786 w 876786"/>
                <a:gd name="connsiteY1" fmla="*/ 0 h 4731"/>
                <a:gd name="connsiteX0" fmla="*/ 0 w 10061"/>
                <a:gd name="connsiteY0" fmla="*/ 23862 h 23862"/>
                <a:gd name="connsiteX1" fmla="*/ 10061 w 10061"/>
                <a:gd name="connsiteY1" fmla="*/ 0 h 23862"/>
                <a:gd name="connsiteX0" fmla="*/ 0 w 10000"/>
                <a:gd name="connsiteY0" fmla="*/ 17921 h 17921"/>
                <a:gd name="connsiteX1" fmla="*/ 10000 w 10000"/>
                <a:gd name="connsiteY1" fmla="*/ 0 h 17921"/>
                <a:gd name="connsiteX0" fmla="*/ 0 w 8717"/>
                <a:gd name="connsiteY0" fmla="*/ 8020 h 8020"/>
                <a:gd name="connsiteX1" fmla="*/ 8717 w 8717"/>
                <a:gd name="connsiteY1" fmla="*/ 0 h 8020"/>
                <a:gd name="connsiteX0" fmla="*/ 0 w 10000"/>
                <a:gd name="connsiteY0" fmla="*/ 10000 h 10000"/>
                <a:gd name="connsiteX1" fmla="*/ 10000 w 10000"/>
                <a:gd name="connsiteY1" fmla="*/ 0 h 10000"/>
                <a:gd name="connsiteX0" fmla="*/ 0 w 10000"/>
                <a:gd name="connsiteY0" fmla="*/ 10000 h 10000"/>
                <a:gd name="connsiteX1" fmla="*/ 10000 w 10000"/>
                <a:gd name="connsiteY1" fmla="*/ 0 h 10000"/>
                <a:gd name="connsiteX0" fmla="*/ 0 w 10000"/>
                <a:gd name="connsiteY0" fmla="*/ 10000 h 15047"/>
                <a:gd name="connsiteX1" fmla="*/ 10000 w 10000"/>
                <a:gd name="connsiteY1" fmla="*/ 0 h 15047"/>
                <a:gd name="connsiteX0" fmla="*/ 0 w 10000"/>
                <a:gd name="connsiteY0" fmla="*/ 10000 h 17401"/>
                <a:gd name="connsiteX1" fmla="*/ 10000 w 10000"/>
                <a:gd name="connsiteY1" fmla="*/ 0 h 17401"/>
              </a:gdLst>
              <a:ahLst/>
              <a:cxnLst>
                <a:cxn ang="0">
                  <a:pos x="connsiteX0" y="connsiteY0"/>
                </a:cxn>
                <a:cxn ang="0">
                  <a:pos x="connsiteX1" y="connsiteY1"/>
                </a:cxn>
              </a:cxnLst>
              <a:rect l="l" t="t" r="r" b="b"/>
              <a:pathLst>
                <a:path w="10000" h="17401">
                  <a:moveTo>
                    <a:pt x="0" y="10000"/>
                  </a:moveTo>
                  <a:cubicBezTo>
                    <a:pt x="3575" y="23398"/>
                    <a:pt x="5829" y="17739"/>
                    <a:pt x="10000" y="0"/>
                  </a:cubicBezTo>
                </a:path>
              </a:pathLst>
            </a:custGeom>
            <a:noFill/>
            <a:ln w="25400" cap="rnd" algn="ctr">
              <a:solidFill>
                <a:srgbClr val="00B050">
                  <a:alpha val="59000"/>
                </a:srgbClr>
              </a:solidFill>
              <a:prstDash val="sysDash"/>
              <a:round/>
              <a:headEnd/>
              <a:tailEnd/>
            </a:ln>
          </p:spPr>
          <p:txBody>
            <a:bodyPr wrap="none" lIns="62294" tIns="32393" rIns="62294" bIns="32393"/>
            <a:lstStyle/>
            <a:p>
              <a:pPr marL="0" marR="0" lvl="0" indent="0" algn="l" defTabSz="844083" rtl="0" eaLnBrk="1" fontAlgn="base" latinLnBrk="0" hangingPunct="1">
                <a:lnSpc>
                  <a:spcPct val="100000"/>
                </a:lnSpc>
                <a:spcBef>
                  <a:spcPct val="0"/>
                </a:spcBef>
                <a:spcAft>
                  <a:spcPct val="0"/>
                </a:spcAft>
                <a:buClrTx/>
                <a:buSzTx/>
                <a:buFontTx/>
                <a:buNone/>
                <a:tabLst/>
                <a:defRPr/>
              </a:pPr>
              <a:endParaRPr kumimoji="0" lang="de-DE" sz="1108" b="0" i="0" u="none" strike="noStrike" kern="1200" cap="none" spc="0" normalizeH="0" baseline="0" noProof="0" dirty="0">
                <a:ln>
                  <a:noFill/>
                </a:ln>
                <a:solidFill>
                  <a:srgbClr val="000000"/>
                </a:solidFill>
                <a:effectLst/>
                <a:uLnTx/>
                <a:uFillTx/>
                <a:latin typeface="Arial"/>
                <a:ea typeface="+mn-ea"/>
                <a:cs typeface="Arial" charset="0"/>
              </a:endParaRPr>
            </a:p>
          </p:txBody>
        </p:sp>
      </p:grpSp>
      <p:pic>
        <p:nvPicPr>
          <p:cNvPr id="31" name="Picture 2"/>
          <p:cNvPicPr>
            <a:picLocks noChangeAspect="1" noChangeArrowheads="1"/>
          </p:cNvPicPr>
          <p:nvPr/>
        </p:nvPicPr>
        <p:blipFill>
          <a:blip r:embed="rId4">
            <a:extLst>
              <a:ext uri="{28A0092B-C50C-407E-A947-70E740481C1C}">
                <a14:useLocalDpi xmlns:a14="http://schemas.microsoft.com/office/drawing/2010/main"/>
              </a:ext>
            </a:extLst>
          </a:blip>
          <a:stretch>
            <a:fillRect/>
          </a:stretch>
        </p:blipFill>
        <p:spPr bwMode="auto">
          <a:xfrm>
            <a:off x="3680546" y="3555324"/>
            <a:ext cx="1325148" cy="1167998"/>
          </a:xfrm>
          <a:prstGeom prst="rect">
            <a:avLst/>
          </a:prstGeom>
          <a:noFill/>
          <a:extLst>
            <a:ext uri="{909E8E84-426E-40DD-AFC4-6F175D3DCCD1}">
              <a14:hiddenFill xmlns:a14="http://schemas.microsoft.com/office/drawing/2010/main">
                <a:solidFill>
                  <a:srgbClr val="FFFFFF"/>
                </a:solidFill>
              </a14:hiddenFill>
            </a:ext>
          </a:extLst>
        </p:spPr>
      </p:pic>
      <p:sp>
        <p:nvSpPr>
          <p:cNvPr id="42" name="Freeform 41"/>
          <p:cNvSpPr/>
          <p:nvPr/>
        </p:nvSpPr>
        <p:spPr>
          <a:xfrm>
            <a:off x="3964102" y="3531656"/>
            <a:ext cx="320504" cy="700612"/>
          </a:xfrm>
          <a:custGeom>
            <a:avLst/>
            <a:gdLst>
              <a:gd name="connsiteX0" fmla="*/ 0 w 862704"/>
              <a:gd name="connsiteY0" fmla="*/ 2349505 h 3940180"/>
              <a:gd name="connsiteX1" fmla="*/ 781050 w 862704"/>
              <a:gd name="connsiteY1" fmla="*/ 34930 h 3940180"/>
              <a:gd name="connsiteX2" fmla="*/ 800100 w 862704"/>
              <a:gd name="connsiteY2" fmla="*/ 3940180 h 3940180"/>
              <a:gd name="connsiteX0" fmla="*/ 0 w 862704"/>
              <a:gd name="connsiteY0" fmla="*/ 2349505 h 3940180"/>
              <a:gd name="connsiteX1" fmla="*/ 781050 w 862704"/>
              <a:gd name="connsiteY1" fmla="*/ 34930 h 3940180"/>
              <a:gd name="connsiteX2" fmla="*/ 800100 w 862704"/>
              <a:gd name="connsiteY2" fmla="*/ 3940180 h 3940180"/>
              <a:gd name="connsiteX0" fmla="*/ 0 w 862704"/>
              <a:gd name="connsiteY0" fmla="*/ 2314575 h 3905250"/>
              <a:gd name="connsiteX1" fmla="*/ 781050 w 862704"/>
              <a:gd name="connsiteY1" fmla="*/ 0 h 3905250"/>
              <a:gd name="connsiteX2" fmla="*/ 800100 w 862704"/>
              <a:gd name="connsiteY2" fmla="*/ 3905250 h 3905250"/>
              <a:gd name="connsiteX0" fmla="*/ 0 w 819897"/>
              <a:gd name="connsiteY0" fmla="*/ 2314575 h 3905250"/>
              <a:gd name="connsiteX1" fmla="*/ 781050 w 819897"/>
              <a:gd name="connsiteY1" fmla="*/ 0 h 3905250"/>
              <a:gd name="connsiteX2" fmla="*/ 800100 w 819897"/>
              <a:gd name="connsiteY2" fmla="*/ 3905250 h 3905250"/>
              <a:gd name="connsiteX0" fmla="*/ 0 w 800100"/>
              <a:gd name="connsiteY0" fmla="*/ 2314575 h 3905250"/>
              <a:gd name="connsiteX1" fmla="*/ 781050 w 800100"/>
              <a:gd name="connsiteY1" fmla="*/ 0 h 3905250"/>
              <a:gd name="connsiteX2" fmla="*/ 800100 w 800100"/>
              <a:gd name="connsiteY2" fmla="*/ 3905250 h 3905250"/>
              <a:gd name="connsiteX0" fmla="*/ 0 w 800100"/>
              <a:gd name="connsiteY0" fmla="*/ 2314575 h 3905250"/>
              <a:gd name="connsiteX1" fmla="*/ 781050 w 800100"/>
              <a:gd name="connsiteY1" fmla="*/ 0 h 3905250"/>
              <a:gd name="connsiteX2" fmla="*/ 800100 w 800100"/>
              <a:gd name="connsiteY2" fmla="*/ 3905250 h 3905250"/>
              <a:gd name="connsiteX0" fmla="*/ 0 w 800100"/>
              <a:gd name="connsiteY0" fmla="*/ 2390775 h 3981450"/>
              <a:gd name="connsiteX1" fmla="*/ 790575 w 800100"/>
              <a:gd name="connsiteY1" fmla="*/ 0 h 3981450"/>
              <a:gd name="connsiteX2" fmla="*/ 800100 w 800100"/>
              <a:gd name="connsiteY2" fmla="*/ 3981450 h 3981450"/>
              <a:gd name="connsiteX0" fmla="*/ 0 w 800100"/>
              <a:gd name="connsiteY0" fmla="*/ 2424486 h 4015161"/>
              <a:gd name="connsiteX1" fmla="*/ 799002 w 800100"/>
              <a:gd name="connsiteY1" fmla="*/ 0 h 4015161"/>
              <a:gd name="connsiteX2" fmla="*/ 800100 w 800100"/>
              <a:gd name="connsiteY2" fmla="*/ 4015161 h 4015161"/>
              <a:gd name="connsiteX0" fmla="*/ 0 w 800100"/>
              <a:gd name="connsiteY0" fmla="*/ 2416058 h 4006733"/>
              <a:gd name="connsiteX1" fmla="*/ 794788 w 800100"/>
              <a:gd name="connsiteY1" fmla="*/ 0 h 4006733"/>
              <a:gd name="connsiteX2" fmla="*/ 800100 w 800100"/>
              <a:gd name="connsiteY2" fmla="*/ 4006733 h 4006733"/>
              <a:gd name="connsiteX0" fmla="*/ 0 w 794788"/>
              <a:gd name="connsiteY0" fmla="*/ 2416058 h 3884532"/>
              <a:gd name="connsiteX1" fmla="*/ 794788 w 794788"/>
              <a:gd name="connsiteY1" fmla="*/ 0 h 3884532"/>
              <a:gd name="connsiteX2" fmla="*/ 791673 w 794788"/>
              <a:gd name="connsiteY2" fmla="*/ 3884532 h 3884532"/>
              <a:gd name="connsiteX0" fmla="*/ 0 w 794788"/>
              <a:gd name="connsiteY0" fmla="*/ 2416058 h 3968808"/>
              <a:gd name="connsiteX1" fmla="*/ 794788 w 794788"/>
              <a:gd name="connsiteY1" fmla="*/ 0 h 3968808"/>
              <a:gd name="connsiteX2" fmla="*/ 791673 w 794788"/>
              <a:gd name="connsiteY2" fmla="*/ 3968808 h 3968808"/>
              <a:gd name="connsiteX0" fmla="*/ 0 w 794788"/>
              <a:gd name="connsiteY0" fmla="*/ 2416058 h 4019374"/>
              <a:gd name="connsiteX1" fmla="*/ 794788 w 794788"/>
              <a:gd name="connsiteY1" fmla="*/ 0 h 4019374"/>
              <a:gd name="connsiteX2" fmla="*/ 791673 w 794788"/>
              <a:gd name="connsiteY2" fmla="*/ 4019374 h 4019374"/>
              <a:gd name="connsiteX0" fmla="*/ 0 w 794788"/>
              <a:gd name="connsiteY0" fmla="*/ 2416058 h 4019374"/>
              <a:gd name="connsiteX1" fmla="*/ 794788 w 794788"/>
              <a:gd name="connsiteY1" fmla="*/ 0 h 4019374"/>
              <a:gd name="connsiteX2" fmla="*/ 791673 w 794788"/>
              <a:gd name="connsiteY2" fmla="*/ 4019374 h 4019374"/>
              <a:gd name="connsiteX0" fmla="*/ 0 w 794788"/>
              <a:gd name="connsiteY0" fmla="*/ 2416058 h 2416058"/>
              <a:gd name="connsiteX1" fmla="*/ 794788 w 794788"/>
              <a:gd name="connsiteY1" fmla="*/ 0 h 2416058"/>
              <a:gd name="connsiteX0" fmla="*/ 0 w 737638"/>
              <a:gd name="connsiteY0" fmla="*/ 2416058 h 2416058"/>
              <a:gd name="connsiteX1" fmla="*/ 737638 w 737638"/>
              <a:gd name="connsiteY1" fmla="*/ 0 h 2416058"/>
              <a:gd name="connsiteX0" fmla="*/ 0 w 737638"/>
              <a:gd name="connsiteY0" fmla="*/ 2416058 h 2416058"/>
              <a:gd name="connsiteX1" fmla="*/ 737638 w 737638"/>
              <a:gd name="connsiteY1" fmla="*/ 0 h 2416058"/>
              <a:gd name="connsiteX0" fmla="*/ 0 w 754494"/>
              <a:gd name="connsiteY0" fmla="*/ 2450985 h 2450985"/>
              <a:gd name="connsiteX1" fmla="*/ 754494 w 754494"/>
              <a:gd name="connsiteY1" fmla="*/ 0 h 2450985"/>
              <a:gd name="connsiteX0" fmla="*/ 0 w 475602"/>
              <a:gd name="connsiteY0" fmla="*/ 1143610 h 1143610"/>
              <a:gd name="connsiteX1" fmla="*/ 475602 w 475602"/>
              <a:gd name="connsiteY1" fmla="*/ 0 h 1143610"/>
              <a:gd name="connsiteX0" fmla="*/ 0 w 475602"/>
              <a:gd name="connsiteY0" fmla="*/ 1143610 h 1143610"/>
              <a:gd name="connsiteX1" fmla="*/ 475602 w 475602"/>
              <a:gd name="connsiteY1" fmla="*/ 0 h 1143610"/>
              <a:gd name="connsiteX0" fmla="*/ 0 w 475602"/>
              <a:gd name="connsiteY0" fmla="*/ 1143610 h 1143610"/>
              <a:gd name="connsiteX1" fmla="*/ 475602 w 475602"/>
              <a:gd name="connsiteY1" fmla="*/ 0 h 1143610"/>
              <a:gd name="connsiteX0" fmla="*/ 0 w 475602"/>
              <a:gd name="connsiteY0" fmla="*/ 1143610 h 1143610"/>
              <a:gd name="connsiteX1" fmla="*/ 475602 w 475602"/>
              <a:gd name="connsiteY1" fmla="*/ 0 h 1143610"/>
              <a:gd name="connsiteX0" fmla="*/ 0 w 478561"/>
              <a:gd name="connsiteY0" fmla="*/ 1158940 h 1158940"/>
              <a:gd name="connsiteX1" fmla="*/ 478561 w 478561"/>
              <a:gd name="connsiteY1" fmla="*/ 0 h 1158940"/>
              <a:gd name="connsiteX0" fmla="*/ 0 w 484480"/>
              <a:gd name="connsiteY0" fmla="*/ 1152809 h 1152809"/>
              <a:gd name="connsiteX1" fmla="*/ 484480 w 484480"/>
              <a:gd name="connsiteY1" fmla="*/ 0 h 1152809"/>
              <a:gd name="connsiteX0" fmla="*/ 0 w 493357"/>
              <a:gd name="connsiteY0" fmla="*/ 1177337 h 1177337"/>
              <a:gd name="connsiteX1" fmla="*/ 493357 w 493357"/>
              <a:gd name="connsiteY1" fmla="*/ 0 h 1177337"/>
              <a:gd name="connsiteX0" fmla="*/ 0 w 493357"/>
              <a:gd name="connsiteY0" fmla="*/ 1177337 h 1177337"/>
              <a:gd name="connsiteX1" fmla="*/ 493357 w 493357"/>
              <a:gd name="connsiteY1" fmla="*/ 0 h 1177337"/>
              <a:gd name="connsiteX0" fmla="*/ 0 w 493357"/>
              <a:gd name="connsiteY0" fmla="*/ 1177337 h 1177337"/>
              <a:gd name="connsiteX1" fmla="*/ 493357 w 493357"/>
              <a:gd name="connsiteY1" fmla="*/ 0 h 1177337"/>
              <a:gd name="connsiteX0" fmla="*/ 0 w 493357"/>
              <a:gd name="connsiteY0" fmla="*/ 1177337 h 1177337"/>
              <a:gd name="connsiteX1" fmla="*/ 493357 w 493357"/>
              <a:gd name="connsiteY1" fmla="*/ 0 h 1177337"/>
              <a:gd name="connsiteX0" fmla="*/ 0 w 493357"/>
              <a:gd name="connsiteY0" fmla="*/ 1177337 h 1177337"/>
              <a:gd name="connsiteX1" fmla="*/ 493357 w 493357"/>
              <a:gd name="connsiteY1" fmla="*/ 0 h 1177337"/>
              <a:gd name="connsiteX0" fmla="*/ 0 w 498120"/>
              <a:gd name="connsiteY0" fmla="*/ 1174869 h 1174869"/>
              <a:gd name="connsiteX1" fmla="*/ 498120 w 498120"/>
              <a:gd name="connsiteY1" fmla="*/ 0 h 1174869"/>
              <a:gd name="connsiteX0" fmla="*/ 0 w 498120"/>
              <a:gd name="connsiteY0" fmla="*/ 1174869 h 1174869"/>
              <a:gd name="connsiteX1" fmla="*/ 498120 w 498120"/>
              <a:gd name="connsiteY1" fmla="*/ 0 h 1174869"/>
              <a:gd name="connsiteX0" fmla="*/ 0 w 498120"/>
              <a:gd name="connsiteY0" fmla="*/ 1174869 h 1174869"/>
              <a:gd name="connsiteX1" fmla="*/ 498120 w 498120"/>
              <a:gd name="connsiteY1" fmla="*/ 0 h 1174869"/>
              <a:gd name="connsiteX0" fmla="*/ 0 w 498120"/>
              <a:gd name="connsiteY0" fmla="*/ 1174869 h 1174869"/>
              <a:gd name="connsiteX1" fmla="*/ 498120 w 498120"/>
              <a:gd name="connsiteY1" fmla="*/ 0 h 1174869"/>
              <a:gd name="connsiteX0" fmla="*/ 0 w 653396"/>
              <a:gd name="connsiteY0" fmla="*/ 1407243 h 1407243"/>
              <a:gd name="connsiteX1" fmla="*/ 653396 w 653396"/>
              <a:gd name="connsiteY1" fmla="*/ 0 h 1407243"/>
              <a:gd name="connsiteX0" fmla="*/ 0 w 653396"/>
              <a:gd name="connsiteY0" fmla="*/ 1407243 h 1407243"/>
              <a:gd name="connsiteX1" fmla="*/ 653396 w 653396"/>
              <a:gd name="connsiteY1" fmla="*/ 0 h 1407243"/>
              <a:gd name="connsiteX0" fmla="*/ 0 w 415045"/>
              <a:gd name="connsiteY0" fmla="*/ 953760 h 953760"/>
              <a:gd name="connsiteX1" fmla="*/ 415045 w 415045"/>
              <a:gd name="connsiteY1" fmla="*/ 0 h 953760"/>
              <a:gd name="connsiteX0" fmla="*/ 0 w 415045"/>
              <a:gd name="connsiteY0" fmla="*/ 953760 h 953760"/>
              <a:gd name="connsiteX1" fmla="*/ 415045 w 415045"/>
              <a:gd name="connsiteY1" fmla="*/ 0 h 953760"/>
              <a:gd name="connsiteX0" fmla="*/ 0 w 428046"/>
              <a:gd name="connsiteY0" fmla="*/ 962740 h 962740"/>
              <a:gd name="connsiteX1" fmla="*/ 428046 w 428046"/>
              <a:gd name="connsiteY1" fmla="*/ 0 h 962740"/>
              <a:gd name="connsiteX0" fmla="*/ 0 w 428046"/>
              <a:gd name="connsiteY0" fmla="*/ 962740 h 962740"/>
              <a:gd name="connsiteX1" fmla="*/ 428046 w 428046"/>
              <a:gd name="connsiteY1" fmla="*/ 0 h 962740"/>
              <a:gd name="connsiteX0" fmla="*/ 0 w 428046"/>
              <a:gd name="connsiteY0" fmla="*/ 962740 h 962740"/>
              <a:gd name="connsiteX1" fmla="*/ 428046 w 428046"/>
              <a:gd name="connsiteY1" fmla="*/ 0 h 962740"/>
              <a:gd name="connsiteX0" fmla="*/ 0 w 428046"/>
              <a:gd name="connsiteY0" fmla="*/ 962740 h 962740"/>
              <a:gd name="connsiteX1" fmla="*/ 428046 w 428046"/>
              <a:gd name="connsiteY1" fmla="*/ 0 h 962740"/>
              <a:gd name="connsiteX0" fmla="*/ 0 w 433332"/>
              <a:gd name="connsiteY0" fmla="*/ 973692 h 973692"/>
              <a:gd name="connsiteX1" fmla="*/ 433332 w 433332"/>
              <a:gd name="connsiteY1" fmla="*/ 0 h 973692"/>
              <a:gd name="connsiteX0" fmla="*/ 0 w 433332"/>
              <a:gd name="connsiteY0" fmla="*/ 973692 h 973692"/>
              <a:gd name="connsiteX1" fmla="*/ 433332 w 433332"/>
              <a:gd name="connsiteY1" fmla="*/ 0 h 973692"/>
              <a:gd name="connsiteX0" fmla="*/ 0 w 443903"/>
              <a:gd name="connsiteY0" fmla="*/ 1006549 h 1006549"/>
              <a:gd name="connsiteX1" fmla="*/ 443903 w 443903"/>
              <a:gd name="connsiteY1" fmla="*/ 0 h 1006549"/>
              <a:gd name="connsiteX0" fmla="*/ 0 w 443903"/>
              <a:gd name="connsiteY0" fmla="*/ 1006549 h 1006549"/>
              <a:gd name="connsiteX1" fmla="*/ 443903 w 443903"/>
              <a:gd name="connsiteY1" fmla="*/ 0 h 1006549"/>
              <a:gd name="connsiteX0" fmla="*/ 0 w 443903"/>
              <a:gd name="connsiteY0" fmla="*/ 1006549 h 1006549"/>
              <a:gd name="connsiteX1" fmla="*/ 443903 w 443903"/>
              <a:gd name="connsiteY1" fmla="*/ 0 h 1006549"/>
              <a:gd name="connsiteX0" fmla="*/ 0 w 439140"/>
              <a:gd name="connsiteY0" fmla="*/ 1018884 h 1018884"/>
              <a:gd name="connsiteX1" fmla="*/ 439140 w 439140"/>
              <a:gd name="connsiteY1" fmla="*/ 0 h 1018884"/>
              <a:gd name="connsiteX0" fmla="*/ 0 w 441521"/>
              <a:gd name="connsiteY0" fmla="*/ 1018884 h 1018884"/>
              <a:gd name="connsiteX1" fmla="*/ 441521 w 441521"/>
              <a:gd name="connsiteY1" fmla="*/ 0 h 1018884"/>
              <a:gd name="connsiteX0" fmla="*/ 0 w 448664"/>
              <a:gd name="connsiteY0" fmla="*/ 1018884 h 1018884"/>
              <a:gd name="connsiteX1" fmla="*/ 448664 w 448664"/>
              <a:gd name="connsiteY1" fmla="*/ 0 h 1018884"/>
              <a:gd name="connsiteX0" fmla="*/ 0 w 458189"/>
              <a:gd name="connsiteY0" fmla="*/ 1041089 h 1041089"/>
              <a:gd name="connsiteX1" fmla="*/ 458189 w 458189"/>
              <a:gd name="connsiteY1" fmla="*/ 0 h 1041089"/>
              <a:gd name="connsiteX0" fmla="*/ 0 w 458189"/>
              <a:gd name="connsiteY0" fmla="*/ 1041089 h 1041089"/>
              <a:gd name="connsiteX1" fmla="*/ 458189 w 458189"/>
              <a:gd name="connsiteY1" fmla="*/ 0 h 1041089"/>
              <a:gd name="connsiteX0" fmla="*/ 0 w 462951"/>
              <a:gd name="connsiteY0" fmla="*/ 1048490 h 1048490"/>
              <a:gd name="connsiteX1" fmla="*/ 462951 w 462951"/>
              <a:gd name="connsiteY1" fmla="*/ 0 h 1048490"/>
              <a:gd name="connsiteX0" fmla="*/ 0 w 462951"/>
              <a:gd name="connsiteY0" fmla="*/ 1048490 h 1048490"/>
              <a:gd name="connsiteX1" fmla="*/ 462951 w 462951"/>
              <a:gd name="connsiteY1" fmla="*/ 0 h 1048490"/>
              <a:gd name="connsiteX0" fmla="*/ 0 w 462951"/>
              <a:gd name="connsiteY0" fmla="*/ 1048490 h 1048490"/>
              <a:gd name="connsiteX1" fmla="*/ 462951 w 462951"/>
              <a:gd name="connsiteY1" fmla="*/ 0 h 1048490"/>
            </a:gdLst>
            <a:ahLst/>
            <a:cxnLst>
              <a:cxn ang="0">
                <a:pos x="connsiteX0" y="connsiteY0"/>
              </a:cxn>
              <a:cxn ang="0">
                <a:pos x="connsiteX1" y="connsiteY1"/>
              </a:cxn>
            </a:cxnLst>
            <a:rect l="l" t="t" r="r" b="b"/>
            <a:pathLst>
              <a:path w="462951" h="1048490">
                <a:moveTo>
                  <a:pt x="0" y="1048490"/>
                </a:moveTo>
                <a:cubicBezTo>
                  <a:pt x="215687" y="665144"/>
                  <a:pt x="356843" y="332069"/>
                  <a:pt x="462951" y="0"/>
                </a:cubicBezTo>
              </a:path>
            </a:pathLst>
          </a:custGeom>
          <a:ln w="25400" cap="rnd">
            <a:solidFill>
              <a:schemeClr val="bg2"/>
            </a:solidFill>
            <a:prstDash val="solid"/>
            <a:tailEnd type="none" w="med" len="lg"/>
          </a:ln>
          <a:effectLst/>
        </p:spPr>
        <p:txBody>
          <a:bodyPr rtlCol="0" anchor="ctr"/>
          <a:lstStyle/>
          <a:p>
            <a:pPr marL="0" marR="0" lvl="0" indent="0" algn="ctr" defTabSz="844083" rtl="0" eaLnBrk="1" fontAlgn="base" latinLnBrk="0" hangingPunct="1">
              <a:lnSpc>
                <a:spcPct val="100000"/>
              </a:lnSpc>
              <a:spcBef>
                <a:spcPct val="0"/>
              </a:spcBef>
              <a:spcAft>
                <a:spcPct val="0"/>
              </a:spcAft>
              <a:buClrTx/>
              <a:buSzTx/>
              <a:buFontTx/>
              <a:buNone/>
              <a:tabLst/>
              <a:defRPr/>
            </a:pPr>
            <a:endParaRPr kumimoji="0" lang="de-DE" sz="1038" b="0" i="0" u="none" strike="noStrike" kern="1200" cap="none" spc="0" normalizeH="0" baseline="0" noProof="0" dirty="0">
              <a:ln>
                <a:noFill/>
              </a:ln>
              <a:solidFill>
                <a:srgbClr val="E60000"/>
              </a:solidFill>
              <a:effectLst/>
              <a:uLnTx/>
              <a:uFillTx/>
              <a:latin typeface="Arial"/>
              <a:ea typeface="+mn-ea"/>
              <a:cs typeface="Arial" charset="0"/>
            </a:endParaRPr>
          </a:p>
        </p:txBody>
      </p:sp>
      <p:sp>
        <p:nvSpPr>
          <p:cNvPr id="44" name="Freeform 43"/>
          <p:cNvSpPr/>
          <p:nvPr/>
        </p:nvSpPr>
        <p:spPr>
          <a:xfrm>
            <a:off x="4294201" y="3010712"/>
            <a:ext cx="116135" cy="427876"/>
          </a:xfrm>
          <a:custGeom>
            <a:avLst/>
            <a:gdLst>
              <a:gd name="connsiteX0" fmla="*/ 0 w 862704"/>
              <a:gd name="connsiteY0" fmla="*/ 2349505 h 3940180"/>
              <a:gd name="connsiteX1" fmla="*/ 781050 w 862704"/>
              <a:gd name="connsiteY1" fmla="*/ 34930 h 3940180"/>
              <a:gd name="connsiteX2" fmla="*/ 800100 w 862704"/>
              <a:gd name="connsiteY2" fmla="*/ 3940180 h 3940180"/>
              <a:gd name="connsiteX0" fmla="*/ 0 w 862704"/>
              <a:gd name="connsiteY0" fmla="*/ 2349505 h 3940180"/>
              <a:gd name="connsiteX1" fmla="*/ 781050 w 862704"/>
              <a:gd name="connsiteY1" fmla="*/ 34930 h 3940180"/>
              <a:gd name="connsiteX2" fmla="*/ 800100 w 862704"/>
              <a:gd name="connsiteY2" fmla="*/ 3940180 h 3940180"/>
              <a:gd name="connsiteX0" fmla="*/ 0 w 862704"/>
              <a:gd name="connsiteY0" fmla="*/ 2314575 h 3905250"/>
              <a:gd name="connsiteX1" fmla="*/ 781050 w 862704"/>
              <a:gd name="connsiteY1" fmla="*/ 0 h 3905250"/>
              <a:gd name="connsiteX2" fmla="*/ 800100 w 862704"/>
              <a:gd name="connsiteY2" fmla="*/ 3905250 h 3905250"/>
              <a:gd name="connsiteX0" fmla="*/ 0 w 819897"/>
              <a:gd name="connsiteY0" fmla="*/ 2314575 h 3905250"/>
              <a:gd name="connsiteX1" fmla="*/ 781050 w 819897"/>
              <a:gd name="connsiteY1" fmla="*/ 0 h 3905250"/>
              <a:gd name="connsiteX2" fmla="*/ 800100 w 819897"/>
              <a:gd name="connsiteY2" fmla="*/ 3905250 h 3905250"/>
              <a:gd name="connsiteX0" fmla="*/ 0 w 800100"/>
              <a:gd name="connsiteY0" fmla="*/ 2314575 h 3905250"/>
              <a:gd name="connsiteX1" fmla="*/ 781050 w 800100"/>
              <a:gd name="connsiteY1" fmla="*/ 0 h 3905250"/>
              <a:gd name="connsiteX2" fmla="*/ 800100 w 800100"/>
              <a:gd name="connsiteY2" fmla="*/ 3905250 h 3905250"/>
              <a:gd name="connsiteX0" fmla="*/ 0 w 800100"/>
              <a:gd name="connsiteY0" fmla="*/ 2314575 h 3905250"/>
              <a:gd name="connsiteX1" fmla="*/ 781050 w 800100"/>
              <a:gd name="connsiteY1" fmla="*/ 0 h 3905250"/>
              <a:gd name="connsiteX2" fmla="*/ 800100 w 800100"/>
              <a:gd name="connsiteY2" fmla="*/ 3905250 h 3905250"/>
              <a:gd name="connsiteX0" fmla="*/ 0 w 800100"/>
              <a:gd name="connsiteY0" fmla="*/ 2390775 h 3981450"/>
              <a:gd name="connsiteX1" fmla="*/ 790575 w 800100"/>
              <a:gd name="connsiteY1" fmla="*/ 0 h 3981450"/>
              <a:gd name="connsiteX2" fmla="*/ 800100 w 800100"/>
              <a:gd name="connsiteY2" fmla="*/ 3981450 h 3981450"/>
              <a:gd name="connsiteX0" fmla="*/ 0 w 800100"/>
              <a:gd name="connsiteY0" fmla="*/ 2424486 h 4015161"/>
              <a:gd name="connsiteX1" fmla="*/ 799002 w 800100"/>
              <a:gd name="connsiteY1" fmla="*/ 0 h 4015161"/>
              <a:gd name="connsiteX2" fmla="*/ 800100 w 800100"/>
              <a:gd name="connsiteY2" fmla="*/ 4015161 h 4015161"/>
              <a:gd name="connsiteX0" fmla="*/ 0 w 800100"/>
              <a:gd name="connsiteY0" fmla="*/ 2416058 h 4006733"/>
              <a:gd name="connsiteX1" fmla="*/ 794788 w 800100"/>
              <a:gd name="connsiteY1" fmla="*/ 0 h 4006733"/>
              <a:gd name="connsiteX2" fmla="*/ 800100 w 800100"/>
              <a:gd name="connsiteY2" fmla="*/ 4006733 h 4006733"/>
              <a:gd name="connsiteX0" fmla="*/ 0 w 794788"/>
              <a:gd name="connsiteY0" fmla="*/ 2416058 h 3884532"/>
              <a:gd name="connsiteX1" fmla="*/ 794788 w 794788"/>
              <a:gd name="connsiteY1" fmla="*/ 0 h 3884532"/>
              <a:gd name="connsiteX2" fmla="*/ 791673 w 794788"/>
              <a:gd name="connsiteY2" fmla="*/ 3884532 h 3884532"/>
              <a:gd name="connsiteX0" fmla="*/ 0 w 794788"/>
              <a:gd name="connsiteY0" fmla="*/ 2416058 h 3968808"/>
              <a:gd name="connsiteX1" fmla="*/ 794788 w 794788"/>
              <a:gd name="connsiteY1" fmla="*/ 0 h 3968808"/>
              <a:gd name="connsiteX2" fmla="*/ 791673 w 794788"/>
              <a:gd name="connsiteY2" fmla="*/ 3968808 h 3968808"/>
              <a:gd name="connsiteX0" fmla="*/ 0 w 794788"/>
              <a:gd name="connsiteY0" fmla="*/ 2416058 h 4019374"/>
              <a:gd name="connsiteX1" fmla="*/ 794788 w 794788"/>
              <a:gd name="connsiteY1" fmla="*/ 0 h 4019374"/>
              <a:gd name="connsiteX2" fmla="*/ 791673 w 794788"/>
              <a:gd name="connsiteY2" fmla="*/ 4019374 h 4019374"/>
              <a:gd name="connsiteX0" fmla="*/ 0 w 794788"/>
              <a:gd name="connsiteY0" fmla="*/ 2416058 h 4019374"/>
              <a:gd name="connsiteX1" fmla="*/ 794788 w 794788"/>
              <a:gd name="connsiteY1" fmla="*/ 0 h 4019374"/>
              <a:gd name="connsiteX2" fmla="*/ 791673 w 794788"/>
              <a:gd name="connsiteY2" fmla="*/ 4019374 h 4019374"/>
              <a:gd name="connsiteX0" fmla="*/ 0 w 794788"/>
              <a:gd name="connsiteY0" fmla="*/ 2416058 h 2416058"/>
              <a:gd name="connsiteX1" fmla="*/ 794788 w 794788"/>
              <a:gd name="connsiteY1" fmla="*/ 0 h 2416058"/>
              <a:gd name="connsiteX0" fmla="*/ 0 w 737638"/>
              <a:gd name="connsiteY0" fmla="*/ 2416058 h 2416058"/>
              <a:gd name="connsiteX1" fmla="*/ 737638 w 737638"/>
              <a:gd name="connsiteY1" fmla="*/ 0 h 2416058"/>
              <a:gd name="connsiteX0" fmla="*/ 0 w 737638"/>
              <a:gd name="connsiteY0" fmla="*/ 2416058 h 2416058"/>
              <a:gd name="connsiteX1" fmla="*/ 737638 w 737638"/>
              <a:gd name="connsiteY1" fmla="*/ 0 h 2416058"/>
              <a:gd name="connsiteX0" fmla="*/ 0 w 754494"/>
              <a:gd name="connsiteY0" fmla="*/ 2450985 h 2450985"/>
              <a:gd name="connsiteX1" fmla="*/ 754494 w 754494"/>
              <a:gd name="connsiteY1" fmla="*/ 0 h 2450985"/>
              <a:gd name="connsiteX0" fmla="*/ 0 w 283578"/>
              <a:gd name="connsiteY0" fmla="*/ 1314137 h 1314137"/>
              <a:gd name="connsiteX1" fmla="*/ 283578 w 283578"/>
              <a:gd name="connsiteY1" fmla="*/ 0 h 1314137"/>
              <a:gd name="connsiteX0" fmla="*/ 0 w 283578"/>
              <a:gd name="connsiteY0" fmla="*/ 1314137 h 1314137"/>
              <a:gd name="connsiteX1" fmla="*/ 283578 w 283578"/>
              <a:gd name="connsiteY1" fmla="*/ 0 h 1314137"/>
              <a:gd name="connsiteX0" fmla="*/ 0 w 283578"/>
              <a:gd name="connsiteY0" fmla="*/ 1314137 h 1314137"/>
              <a:gd name="connsiteX1" fmla="*/ 283578 w 283578"/>
              <a:gd name="connsiteY1" fmla="*/ 0 h 1314137"/>
              <a:gd name="connsiteX0" fmla="*/ 0 w 256146"/>
              <a:gd name="connsiteY0" fmla="*/ 1257295 h 1257295"/>
              <a:gd name="connsiteX1" fmla="*/ 256146 w 256146"/>
              <a:gd name="connsiteY1" fmla="*/ 0 h 1257295"/>
              <a:gd name="connsiteX0" fmla="*/ 0 w 229952"/>
              <a:gd name="connsiteY0" fmla="*/ 1156142 h 1156142"/>
              <a:gd name="connsiteX1" fmla="*/ 229952 w 229952"/>
              <a:gd name="connsiteY1" fmla="*/ 0 h 1156142"/>
              <a:gd name="connsiteX0" fmla="*/ 0 w 234714"/>
              <a:gd name="connsiteY0" fmla="*/ 1173412 h 1173412"/>
              <a:gd name="connsiteX1" fmla="*/ 234714 w 234714"/>
              <a:gd name="connsiteY1" fmla="*/ 0 h 1173412"/>
              <a:gd name="connsiteX0" fmla="*/ 0 w 234714"/>
              <a:gd name="connsiteY0" fmla="*/ 1173412 h 1173412"/>
              <a:gd name="connsiteX1" fmla="*/ 234714 w 234714"/>
              <a:gd name="connsiteY1" fmla="*/ 0 h 1173412"/>
              <a:gd name="connsiteX0" fmla="*/ 0 w 234714"/>
              <a:gd name="connsiteY0" fmla="*/ 1173412 h 1173412"/>
              <a:gd name="connsiteX1" fmla="*/ 234714 w 234714"/>
              <a:gd name="connsiteY1" fmla="*/ 0 h 1173412"/>
              <a:gd name="connsiteX0" fmla="*/ 0 w 148989"/>
              <a:gd name="connsiteY0" fmla="*/ 709594 h 709594"/>
              <a:gd name="connsiteX1" fmla="*/ 148989 w 148989"/>
              <a:gd name="connsiteY1" fmla="*/ 0 h 709594"/>
              <a:gd name="connsiteX0" fmla="*/ 0 w 148989"/>
              <a:gd name="connsiteY0" fmla="*/ 709594 h 709594"/>
              <a:gd name="connsiteX1" fmla="*/ 148989 w 148989"/>
              <a:gd name="connsiteY1" fmla="*/ 0 h 709594"/>
              <a:gd name="connsiteX0" fmla="*/ 0 w 148989"/>
              <a:gd name="connsiteY0" fmla="*/ 709594 h 709594"/>
              <a:gd name="connsiteX1" fmla="*/ 148989 w 148989"/>
              <a:gd name="connsiteY1" fmla="*/ 0 h 709594"/>
              <a:gd name="connsiteX0" fmla="*/ 0 w 146608"/>
              <a:gd name="connsiteY0" fmla="*/ 716996 h 716996"/>
              <a:gd name="connsiteX1" fmla="*/ 146608 w 146608"/>
              <a:gd name="connsiteY1" fmla="*/ 0 h 716996"/>
              <a:gd name="connsiteX0" fmla="*/ 0 w 146608"/>
              <a:gd name="connsiteY0" fmla="*/ 716996 h 716996"/>
              <a:gd name="connsiteX1" fmla="*/ 146608 w 146608"/>
              <a:gd name="connsiteY1" fmla="*/ 0 h 716996"/>
              <a:gd name="connsiteX0" fmla="*/ 0 w 146608"/>
              <a:gd name="connsiteY0" fmla="*/ 716996 h 716996"/>
              <a:gd name="connsiteX1" fmla="*/ 146608 w 146608"/>
              <a:gd name="connsiteY1" fmla="*/ 0 h 716996"/>
              <a:gd name="connsiteX0" fmla="*/ 0 w 136037"/>
              <a:gd name="connsiteY0" fmla="*/ 618425 h 618425"/>
              <a:gd name="connsiteX1" fmla="*/ 136037 w 136037"/>
              <a:gd name="connsiteY1" fmla="*/ 0 h 618425"/>
              <a:gd name="connsiteX0" fmla="*/ 0 w 136037"/>
              <a:gd name="connsiteY0" fmla="*/ 618425 h 618425"/>
              <a:gd name="connsiteX1" fmla="*/ 136037 w 136037"/>
              <a:gd name="connsiteY1" fmla="*/ 0 h 618425"/>
              <a:gd name="connsiteX0" fmla="*/ 0 w 167751"/>
              <a:gd name="connsiteY0" fmla="*/ 640329 h 640329"/>
              <a:gd name="connsiteX1" fmla="*/ 167751 w 167751"/>
              <a:gd name="connsiteY1" fmla="*/ 0 h 640329"/>
              <a:gd name="connsiteX0" fmla="*/ 0 w 167751"/>
              <a:gd name="connsiteY0" fmla="*/ 640329 h 640329"/>
              <a:gd name="connsiteX1" fmla="*/ 167751 w 167751"/>
              <a:gd name="connsiteY1" fmla="*/ 0 h 640329"/>
              <a:gd name="connsiteX0" fmla="*/ 0 w 167751"/>
              <a:gd name="connsiteY0" fmla="*/ 640329 h 640329"/>
              <a:gd name="connsiteX1" fmla="*/ 167751 w 167751"/>
              <a:gd name="connsiteY1" fmla="*/ 0 h 640329"/>
              <a:gd name="connsiteX0" fmla="*/ 0 w 167751"/>
              <a:gd name="connsiteY0" fmla="*/ 640329 h 640329"/>
              <a:gd name="connsiteX1" fmla="*/ 167751 w 167751"/>
              <a:gd name="connsiteY1" fmla="*/ 0 h 640329"/>
              <a:gd name="connsiteX0" fmla="*/ 0 w 167751"/>
              <a:gd name="connsiteY0" fmla="*/ 640329 h 640329"/>
              <a:gd name="connsiteX1" fmla="*/ 167751 w 167751"/>
              <a:gd name="connsiteY1" fmla="*/ 0 h 640329"/>
              <a:gd name="connsiteX0" fmla="*/ 0 w 167751"/>
              <a:gd name="connsiteY0" fmla="*/ 640329 h 640329"/>
              <a:gd name="connsiteX1" fmla="*/ 167751 w 167751"/>
              <a:gd name="connsiteY1" fmla="*/ 0 h 640329"/>
            </a:gdLst>
            <a:ahLst/>
            <a:cxnLst>
              <a:cxn ang="0">
                <a:pos x="connsiteX0" y="connsiteY0"/>
              </a:cxn>
              <a:cxn ang="0">
                <a:pos x="connsiteX1" y="connsiteY1"/>
              </a:cxn>
            </a:cxnLst>
            <a:rect l="l" t="t" r="r" b="b"/>
            <a:pathLst>
              <a:path w="167751" h="640329">
                <a:moveTo>
                  <a:pt x="0" y="640329"/>
                </a:moveTo>
                <a:cubicBezTo>
                  <a:pt x="69901" y="420572"/>
                  <a:pt x="98460" y="312284"/>
                  <a:pt x="167751" y="0"/>
                </a:cubicBezTo>
              </a:path>
            </a:pathLst>
          </a:custGeom>
          <a:ln w="25400" cap="rnd">
            <a:solidFill>
              <a:schemeClr val="bg2"/>
            </a:solidFill>
            <a:prstDash val="solid"/>
            <a:tailEnd type="none" w="med" len="lg"/>
          </a:ln>
          <a:effectLst>
            <a:glow rad="76200">
              <a:schemeClr val="bg1">
                <a:alpha val="88000"/>
              </a:schemeClr>
            </a:glow>
          </a:effectLst>
        </p:spPr>
        <p:txBody>
          <a:bodyPr rtlCol="0" anchor="ctr"/>
          <a:lstStyle/>
          <a:p>
            <a:pPr marL="0" marR="0" lvl="0" indent="0" algn="ctr" defTabSz="844083" rtl="0" eaLnBrk="1" fontAlgn="base" latinLnBrk="0" hangingPunct="1">
              <a:lnSpc>
                <a:spcPct val="100000"/>
              </a:lnSpc>
              <a:spcBef>
                <a:spcPct val="0"/>
              </a:spcBef>
              <a:spcAft>
                <a:spcPct val="0"/>
              </a:spcAft>
              <a:buClrTx/>
              <a:buSzTx/>
              <a:buFontTx/>
              <a:buNone/>
              <a:tabLst/>
              <a:defRPr/>
            </a:pPr>
            <a:endParaRPr kumimoji="0" lang="de-DE" sz="1038" b="0" i="0" u="none" strike="noStrike" kern="1200" cap="none" spc="0" normalizeH="0" baseline="0" noProof="0" dirty="0">
              <a:ln>
                <a:noFill/>
              </a:ln>
              <a:solidFill>
                <a:srgbClr val="E60000"/>
              </a:solidFill>
              <a:effectLst/>
              <a:uLnTx/>
              <a:uFillTx/>
              <a:latin typeface="Arial"/>
              <a:ea typeface="+mn-ea"/>
              <a:cs typeface="Arial" charset="0"/>
            </a:endParaRPr>
          </a:p>
        </p:txBody>
      </p:sp>
      <p:sp>
        <p:nvSpPr>
          <p:cNvPr id="45" name="TextBox 44"/>
          <p:cNvSpPr txBox="1"/>
          <p:nvPr/>
        </p:nvSpPr>
        <p:spPr>
          <a:xfrm>
            <a:off x="4568435" y="4901873"/>
            <a:ext cx="467114" cy="188832"/>
          </a:xfrm>
          <a:prstGeom prst="rect">
            <a:avLst/>
          </a:prstGeom>
          <a:ln algn="ctr"/>
          <a:effectLst>
            <a:glow rad="127000">
              <a:schemeClr val="bg1">
                <a:alpha val="35000"/>
              </a:schemeClr>
            </a:glow>
          </a:effectLst>
        </p:spPr>
        <p:txBody>
          <a:bodyPr wrap="none" lIns="24923" tIns="24923" rIns="24923" bIns="24923" rtlCol="0" anchor="t">
            <a:spAutoFit/>
          </a:bodyP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0" lang="de-DE" sz="900" b="1" i="0" u="none" strike="noStrike" kern="0" cap="none" spc="0" normalizeH="0" baseline="0" noProof="0" dirty="0">
                <a:ln>
                  <a:noFill/>
                </a:ln>
                <a:solidFill>
                  <a:srgbClr val="E60000"/>
                </a:solidFill>
                <a:effectLst>
                  <a:glow rad="317500">
                    <a:srgbClr val="FFFFFF">
                      <a:alpha val="44000"/>
                    </a:srgbClr>
                  </a:glow>
                </a:effectLst>
                <a:uLnTx/>
                <a:uFillTx/>
                <a:latin typeface="Arial"/>
                <a:ea typeface="+mn-ea"/>
                <a:cs typeface="Arial" charset="0"/>
              </a:rPr>
              <a:t>Kollaps</a:t>
            </a:r>
          </a:p>
        </p:txBody>
      </p:sp>
      <p:sp>
        <p:nvSpPr>
          <p:cNvPr id="46" name="Freeform 45"/>
          <p:cNvSpPr/>
          <p:nvPr/>
        </p:nvSpPr>
        <p:spPr>
          <a:xfrm>
            <a:off x="4416729" y="2566801"/>
            <a:ext cx="94782" cy="425252"/>
          </a:xfrm>
          <a:custGeom>
            <a:avLst/>
            <a:gdLst>
              <a:gd name="connsiteX0" fmla="*/ 0 w 862704"/>
              <a:gd name="connsiteY0" fmla="*/ 2349505 h 3940180"/>
              <a:gd name="connsiteX1" fmla="*/ 781050 w 862704"/>
              <a:gd name="connsiteY1" fmla="*/ 34930 h 3940180"/>
              <a:gd name="connsiteX2" fmla="*/ 800100 w 862704"/>
              <a:gd name="connsiteY2" fmla="*/ 3940180 h 3940180"/>
              <a:gd name="connsiteX0" fmla="*/ 0 w 862704"/>
              <a:gd name="connsiteY0" fmla="*/ 2349505 h 3940180"/>
              <a:gd name="connsiteX1" fmla="*/ 781050 w 862704"/>
              <a:gd name="connsiteY1" fmla="*/ 34930 h 3940180"/>
              <a:gd name="connsiteX2" fmla="*/ 800100 w 862704"/>
              <a:gd name="connsiteY2" fmla="*/ 3940180 h 3940180"/>
              <a:gd name="connsiteX0" fmla="*/ 0 w 862704"/>
              <a:gd name="connsiteY0" fmla="*/ 2314575 h 3905250"/>
              <a:gd name="connsiteX1" fmla="*/ 781050 w 862704"/>
              <a:gd name="connsiteY1" fmla="*/ 0 h 3905250"/>
              <a:gd name="connsiteX2" fmla="*/ 800100 w 862704"/>
              <a:gd name="connsiteY2" fmla="*/ 3905250 h 3905250"/>
              <a:gd name="connsiteX0" fmla="*/ 0 w 819897"/>
              <a:gd name="connsiteY0" fmla="*/ 2314575 h 3905250"/>
              <a:gd name="connsiteX1" fmla="*/ 781050 w 819897"/>
              <a:gd name="connsiteY1" fmla="*/ 0 h 3905250"/>
              <a:gd name="connsiteX2" fmla="*/ 800100 w 819897"/>
              <a:gd name="connsiteY2" fmla="*/ 3905250 h 3905250"/>
              <a:gd name="connsiteX0" fmla="*/ 0 w 800100"/>
              <a:gd name="connsiteY0" fmla="*/ 2314575 h 3905250"/>
              <a:gd name="connsiteX1" fmla="*/ 781050 w 800100"/>
              <a:gd name="connsiteY1" fmla="*/ 0 h 3905250"/>
              <a:gd name="connsiteX2" fmla="*/ 800100 w 800100"/>
              <a:gd name="connsiteY2" fmla="*/ 3905250 h 3905250"/>
              <a:gd name="connsiteX0" fmla="*/ 0 w 800100"/>
              <a:gd name="connsiteY0" fmla="*/ 2314575 h 3905250"/>
              <a:gd name="connsiteX1" fmla="*/ 781050 w 800100"/>
              <a:gd name="connsiteY1" fmla="*/ 0 h 3905250"/>
              <a:gd name="connsiteX2" fmla="*/ 800100 w 800100"/>
              <a:gd name="connsiteY2" fmla="*/ 3905250 h 3905250"/>
              <a:gd name="connsiteX0" fmla="*/ 0 w 800100"/>
              <a:gd name="connsiteY0" fmla="*/ 2390775 h 3981450"/>
              <a:gd name="connsiteX1" fmla="*/ 790575 w 800100"/>
              <a:gd name="connsiteY1" fmla="*/ 0 h 3981450"/>
              <a:gd name="connsiteX2" fmla="*/ 800100 w 800100"/>
              <a:gd name="connsiteY2" fmla="*/ 3981450 h 3981450"/>
              <a:gd name="connsiteX0" fmla="*/ 0 w 800100"/>
              <a:gd name="connsiteY0" fmla="*/ 2424486 h 4015161"/>
              <a:gd name="connsiteX1" fmla="*/ 799002 w 800100"/>
              <a:gd name="connsiteY1" fmla="*/ 0 h 4015161"/>
              <a:gd name="connsiteX2" fmla="*/ 800100 w 800100"/>
              <a:gd name="connsiteY2" fmla="*/ 4015161 h 4015161"/>
              <a:gd name="connsiteX0" fmla="*/ 0 w 800100"/>
              <a:gd name="connsiteY0" fmla="*/ 2416058 h 4006733"/>
              <a:gd name="connsiteX1" fmla="*/ 794788 w 800100"/>
              <a:gd name="connsiteY1" fmla="*/ 0 h 4006733"/>
              <a:gd name="connsiteX2" fmla="*/ 800100 w 800100"/>
              <a:gd name="connsiteY2" fmla="*/ 4006733 h 4006733"/>
              <a:gd name="connsiteX0" fmla="*/ 0 w 794788"/>
              <a:gd name="connsiteY0" fmla="*/ 2416058 h 3884532"/>
              <a:gd name="connsiteX1" fmla="*/ 794788 w 794788"/>
              <a:gd name="connsiteY1" fmla="*/ 0 h 3884532"/>
              <a:gd name="connsiteX2" fmla="*/ 791673 w 794788"/>
              <a:gd name="connsiteY2" fmla="*/ 3884532 h 3884532"/>
              <a:gd name="connsiteX0" fmla="*/ 0 w 794788"/>
              <a:gd name="connsiteY0" fmla="*/ 2416058 h 3968808"/>
              <a:gd name="connsiteX1" fmla="*/ 794788 w 794788"/>
              <a:gd name="connsiteY1" fmla="*/ 0 h 3968808"/>
              <a:gd name="connsiteX2" fmla="*/ 791673 w 794788"/>
              <a:gd name="connsiteY2" fmla="*/ 3968808 h 3968808"/>
              <a:gd name="connsiteX0" fmla="*/ 0 w 794788"/>
              <a:gd name="connsiteY0" fmla="*/ 2416058 h 4019374"/>
              <a:gd name="connsiteX1" fmla="*/ 794788 w 794788"/>
              <a:gd name="connsiteY1" fmla="*/ 0 h 4019374"/>
              <a:gd name="connsiteX2" fmla="*/ 791673 w 794788"/>
              <a:gd name="connsiteY2" fmla="*/ 4019374 h 4019374"/>
              <a:gd name="connsiteX0" fmla="*/ 0 w 794788"/>
              <a:gd name="connsiteY0" fmla="*/ 2416058 h 4019374"/>
              <a:gd name="connsiteX1" fmla="*/ 794788 w 794788"/>
              <a:gd name="connsiteY1" fmla="*/ 0 h 4019374"/>
              <a:gd name="connsiteX2" fmla="*/ 791673 w 794788"/>
              <a:gd name="connsiteY2" fmla="*/ 4019374 h 4019374"/>
              <a:gd name="connsiteX0" fmla="*/ 0 w 794788"/>
              <a:gd name="connsiteY0" fmla="*/ 2416058 h 2416058"/>
              <a:gd name="connsiteX1" fmla="*/ 794788 w 794788"/>
              <a:gd name="connsiteY1" fmla="*/ 0 h 2416058"/>
              <a:gd name="connsiteX0" fmla="*/ 0 w 737638"/>
              <a:gd name="connsiteY0" fmla="*/ 2416058 h 2416058"/>
              <a:gd name="connsiteX1" fmla="*/ 737638 w 737638"/>
              <a:gd name="connsiteY1" fmla="*/ 0 h 2416058"/>
              <a:gd name="connsiteX0" fmla="*/ 0 w 737638"/>
              <a:gd name="connsiteY0" fmla="*/ 2416058 h 2416058"/>
              <a:gd name="connsiteX1" fmla="*/ 737638 w 737638"/>
              <a:gd name="connsiteY1" fmla="*/ 0 h 2416058"/>
              <a:gd name="connsiteX0" fmla="*/ 0 w 754494"/>
              <a:gd name="connsiteY0" fmla="*/ 2450985 h 2450985"/>
              <a:gd name="connsiteX1" fmla="*/ 754494 w 754494"/>
              <a:gd name="connsiteY1" fmla="*/ 0 h 2450985"/>
              <a:gd name="connsiteX0" fmla="*/ 0 w 283578"/>
              <a:gd name="connsiteY0" fmla="*/ 1314137 h 1314137"/>
              <a:gd name="connsiteX1" fmla="*/ 283578 w 283578"/>
              <a:gd name="connsiteY1" fmla="*/ 0 h 1314137"/>
              <a:gd name="connsiteX0" fmla="*/ 0 w 283578"/>
              <a:gd name="connsiteY0" fmla="*/ 1314137 h 1314137"/>
              <a:gd name="connsiteX1" fmla="*/ 283578 w 283578"/>
              <a:gd name="connsiteY1" fmla="*/ 0 h 1314137"/>
              <a:gd name="connsiteX0" fmla="*/ 0 w 283578"/>
              <a:gd name="connsiteY0" fmla="*/ 1314137 h 1314137"/>
              <a:gd name="connsiteX1" fmla="*/ 283578 w 283578"/>
              <a:gd name="connsiteY1" fmla="*/ 0 h 1314137"/>
              <a:gd name="connsiteX0" fmla="*/ 0 w 256146"/>
              <a:gd name="connsiteY0" fmla="*/ 1257295 h 1257295"/>
              <a:gd name="connsiteX1" fmla="*/ 256146 w 256146"/>
              <a:gd name="connsiteY1" fmla="*/ 0 h 1257295"/>
              <a:gd name="connsiteX0" fmla="*/ 0 w 229952"/>
              <a:gd name="connsiteY0" fmla="*/ 1156142 h 1156142"/>
              <a:gd name="connsiteX1" fmla="*/ 229952 w 229952"/>
              <a:gd name="connsiteY1" fmla="*/ 0 h 1156142"/>
              <a:gd name="connsiteX0" fmla="*/ 0 w 234714"/>
              <a:gd name="connsiteY0" fmla="*/ 1173412 h 1173412"/>
              <a:gd name="connsiteX1" fmla="*/ 234714 w 234714"/>
              <a:gd name="connsiteY1" fmla="*/ 0 h 1173412"/>
              <a:gd name="connsiteX0" fmla="*/ 0 w 234714"/>
              <a:gd name="connsiteY0" fmla="*/ 1173412 h 1173412"/>
              <a:gd name="connsiteX1" fmla="*/ 234714 w 234714"/>
              <a:gd name="connsiteY1" fmla="*/ 0 h 1173412"/>
              <a:gd name="connsiteX0" fmla="*/ 0 w 234714"/>
              <a:gd name="connsiteY0" fmla="*/ 1173412 h 1173412"/>
              <a:gd name="connsiteX1" fmla="*/ 234714 w 234714"/>
              <a:gd name="connsiteY1" fmla="*/ 0 h 1173412"/>
              <a:gd name="connsiteX0" fmla="*/ 0 w 84695"/>
              <a:gd name="connsiteY0" fmla="*/ 440678 h 440678"/>
              <a:gd name="connsiteX1" fmla="*/ 84695 w 84695"/>
              <a:gd name="connsiteY1" fmla="*/ 0 h 440678"/>
              <a:gd name="connsiteX0" fmla="*/ 14468 w 99163"/>
              <a:gd name="connsiteY0" fmla="*/ 440678 h 526337"/>
              <a:gd name="connsiteX1" fmla="*/ 99163 w 99163"/>
              <a:gd name="connsiteY1" fmla="*/ 0 h 526337"/>
              <a:gd name="connsiteX0" fmla="*/ 0 w 84695"/>
              <a:gd name="connsiteY0" fmla="*/ 440678 h 440678"/>
              <a:gd name="connsiteX1" fmla="*/ 84695 w 84695"/>
              <a:gd name="connsiteY1" fmla="*/ 0 h 440678"/>
              <a:gd name="connsiteX0" fmla="*/ 0 w 84695"/>
              <a:gd name="connsiteY0" fmla="*/ 440678 h 440678"/>
              <a:gd name="connsiteX1" fmla="*/ 84695 w 84695"/>
              <a:gd name="connsiteY1" fmla="*/ 0 h 440678"/>
              <a:gd name="connsiteX0" fmla="*/ 0 w 84695"/>
              <a:gd name="connsiteY0" fmla="*/ 440678 h 440678"/>
              <a:gd name="connsiteX1" fmla="*/ 84695 w 84695"/>
              <a:gd name="connsiteY1" fmla="*/ 0 h 440678"/>
              <a:gd name="connsiteX0" fmla="*/ 0 w 77552"/>
              <a:gd name="connsiteY0" fmla="*/ 435744 h 435744"/>
              <a:gd name="connsiteX1" fmla="*/ 77552 w 77552"/>
              <a:gd name="connsiteY1" fmla="*/ 0 h 435744"/>
              <a:gd name="connsiteX0" fmla="*/ 0 w 77552"/>
              <a:gd name="connsiteY0" fmla="*/ 435744 h 435744"/>
              <a:gd name="connsiteX1" fmla="*/ 77552 w 77552"/>
              <a:gd name="connsiteY1" fmla="*/ 0 h 435744"/>
              <a:gd name="connsiteX0" fmla="*/ 0 w 70408"/>
              <a:gd name="connsiteY0" fmla="*/ 438211 h 438211"/>
              <a:gd name="connsiteX1" fmla="*/ 70408 w 70408"/>
              <a:gd name="connsiteY1" fmla="*/ 0 h 438211"/>
              <a:gd name="connsiteX0" fmla="*/ 0 w 70408"/>
              <a:gd name="connsiteY0" fmla="*/ 438211 h 438211"/>
              <a:gd name="connsiteX1" fmla="*/ 70408 w 70408"/>
              <a:gd name="connsiteY1" fmla="*/ 0 h 438211"/>
              <a:gd name="connsiteX0" fmla="*/ 0 w 70408"/>
              <a:gd name="connsiteY0" fmla="*/ 438211 h 438211"/>
              <a:gd name="connsiteX1" fmla="*/ 70408 w 70408"/>
              <a:gd name="connsiteY1" fmla="*/ 0 h 438211"/>
              <a:gd name="connsiteX0" fmla="*/ 0 w 70408"/>
              <a:gd name="connsiteY0" fmla="*/ 438211 h 438211"/>
              <a:gd name="connsiteX1" fmla="*/ 70408 w 70408"/>
              <a:gd name="connsiteY1" fmla="*/ 0 h 438211"/>
              <a:gd name="connsiteX0" fmla="*/ 0 w 60883"/>
              <a:gd name="connsiteY0" fmla="*/ 435744 h 435744"/>
              <a:gd name="connsiteX1" fmla="*/ 60883 w 60883"/>
              <a:gd name="connsiteY1" fmla="*/ 0 h 435744"/>
              <a:gd name="connsiteX0" fmla="*/ 0 w 187578"/>
              <a:gd name="connsiteY0" fmla="*/ 449178 h 449178"/>
              <a:gd name="connsiteX1" fmla="*/ 187578 w 187578"/>
              <a:gd name="connsiteY1" fmla="*/ 0 h 449178"/>
              <a:gd name="connsiteX0" fmla="*/ 0 w 187578"/>
              <a:gd name="connsiteY0" fmla="*/ 516344 h 516344"/>
              <a:gd name="connsiteX1" fmla="*/ 187578 w 187578"/>
              <a:gd name="connsiteY1" fmla="*/ 0 h 516344"/>
              <a:gd name="connsiteX0" fmla="*/ 0 w 187578"/>
              <a:gd name="connsiteY0" fmla="*/ 516344 h 516344"/>
              <a:gd name="connsiteX1" fmla="*/ 187578 w 187578"/>
              <a:gd name="connsiteY1" fmla="*/ 0 h 516344"/>
              <a:gd name="connsiteX0" fmla="*/ 0 w 187578"/>
              <a:gd name="connsiteY0" fmla="*/ 516344 h 516344"/>
              <a:gd name="connsiteX1" fmla="*/ 187578 w 187578"/>
              <a:gd name="connsiteY1" fmla="*/ 0 h 516344"/>
              <a:gd name="connsiteX0" fmla="*/ 0 w 159424"/>
              <a:gd name="connsiteY0" fmla="*/ 516344 h 516344"/>
              <a:gd name="connsiteX1" fmla="*/ 159424 w 159424"/>
              <a:gd name="connsiteY1" fmla="*/ 0 h 516344"/>
              <a:gd name="connsiteX0" fmla="*/ 0 w 159424"/>
              <a:gd name="connsiteY0" fmla="*/ 516344 h 516344"/>
              <a:gd name="connsiteX1" fmla="*/ 159424 w 159424"/>
              <a:gd name="connsiteY1" fmla="*/ 0 h 516344"/>
              <a:gd name="connsiteX0" fmla="*/ 0 w 159424"/>
              <a:gd name="connsiteY0" fmla="*/ 516344 h 516344"/>
              <a:gd name="connsiteX1" fmla="*/ 159424 w 159424"/>
              <a:gd name="connsiteY1" fmla="*/ 0 h 516344"/>
              <a:gd name="connsiteX0" fmla="*/ 0 w 159424"/>
              <a:gd name="connsiteY0" fmla="*/ 516344 h 516344"/>
              <a:gd name="connsiteX1" fmla="*/ 159424 w 159424"/>
              <a:gd name="connsiteY1" fmla="*/ 0 h 516344"/>
              <a:gd name="connsiteX0" fmla="*/ 0 w 124230"/>
              <a:gd name="connsiteY0" fmla="*/ 516344 h 516344"/>
              <a:gd name="connsiteX1" fmla="*/ 124230 w 124230"/>
              <a:gd name="connsiteY1" fmla="*/ 0 h 516344"/>
              <a:gd name="connsiteX0" fmla="*/ 0 w 166463"/>
              <a:gd name="connsiteY0" fmla="*/ 516344 h 516344"/>
              <a:gd name="connsiteX1" fmla="*/ 166463 w 166463"/>
              <a:gd name="connsiteY1" fmla="*/ 0 h 516344"/>
              <a:gd name="connsiteX0" fmla="*/ 0 w 166463"/>
              <a:gd name="connsiteY0" fmla="*/ 516344 h 516344"/>
              <a:gd name="connsiteX1" fmla="*/ 166463 w 166463"/>
              <a:gd name="connsiteY1" fmla="*/ 0 h 516344"/>
              <a:gd name="connsiteX0" fmla="*/ 0 w 182318"/>
              <a:gd name="connsiteY0" fmla="*/ 520379 h 520379"/>
              <a:gd name="connsiteX1" fmla="*/ 182318 w 182318"/>
              <a:gd name="connsiteY1" fmla="*/ 0 h 520379"/>
              <a:gd name="connsiteX0" fmla="*/ 0 w 182318"/>
              <a:gd name="connsiteY0" fmla="*/ 520379 h 520379"/>
              <a:gd name="connsiteX1" fmla="*/ 182318 w 182318"/>
              <a:gd name="connsiteY1" fmla="*/ 0 h 520379"/>
            </a:gdLst>
            <a:ahLst/>
            <a:cxnLst>
              <a:cxn ang="0">
                <a:pos x="connsiteX0" y="connsiteY0"/>
              </a:cxn>
              <a:cxn ang="0">
                <a:pos x="connsiteX1" y="connsiteY1"/>
              </a:cxn>
            </a:cxnLst>
            <a:rect l="l" t="t" r="r" b="b"/>
            <a:pathLst>
              <a:path w="182318" h="520379">
                <a:moveTo>
                  <a:pt x="0" y="520379"/>
                </a:moveTo>
                <a:cubicBezTo>
                  <a:pt x="61364" y="366452"/>
                  <a:pt x="128075" y="201277"/>
                  <a:pt x="182318" y="0"/>
                </a:cubicBezTo>
              </a:path>
            </a:pathLst>
          </a:custGeom>
          <a:ln w="25400" cap="rnd">
            <a:solidFill>
              <a:schemeClr val="bg2"/>
            </a:solidFill>
            <a:prstDash val="sysDash"/>
            <a:tailEnd type="none" w="med" len="lg"/>
          </a:ln>
          <a:effectLst>
            <a:glow rad="76200">
              <a:schemeClr val="bg1">
                <a:alpha val="88000"/>
              </a:schemeClr>
            </a:glow>
          </a:effectLst>
        </p:spPr>
        <p:txBody>
          <a:bodyPr rtlCol="0" anchor="ctr"/>
          <a:lstStyle/>
          <a:p>
            <a:pPr marL="0" marR="0" lvl="0" indent="0" algn="ctr" defTabSz="844083" rtl="0" eaLnBrk="1" fontAlgn="base" latinLnBrk="0" hangingPunct="1">
              <a:lnSpc>
                <a:spcPct val="100000"/>
              </a:lnSpc>
              <a:spcBef>
                <a:spcPct val="0"/>
              </a:spcBef>
              <a:spcAft>
                <a:spcPct val="0"/>
              </a:spcAft>
              <a:buClrTx/>
              <a:buSzTx/>
              <a:buFontTx/>
              <a:buNone/>
              <a:tabLst/>
              <a:defRPr/>
            </a:pPr>
            <a:endParaRPr kumimoji="0" lang="de-DE" sz="1038" b="0" i="0" u="none" strike="noStrike" kern="1200" cap="none" spc="0" normalizeH="0" baseline="0" noProof="0" dirty="0">
              <a:ln>
                <a:noFill/>
              </a:ln>
              <a:solidFill>
                <a:srgbClr val="E60000"/>
              </a:solidFill>
              <a:effectLst/>
              <a:uLnTx/>
              <a:uFillTx/>
              <a:latin typeface="Arial"/>
              <a:ea typeface="+mn-ea"/>
              <a:cs typeface="Arial" charset="0"/>
            </a:endParaRPr>
          </a:p>
        </p:txBody>
      </p:sp>
      <p:sp>
        <p:nvSpPr>
          <p:cNvPr id="47" name="Explosion 1 3"/>
          <p:cNvSpPr/>
          <p:nvPr/>
        </p:nvSpPr>
        <p:spPr bwMode="auto">
          <a:xfrm rot="12616230">
            <a:off x="4210215" y="3381456"/>
            <a:ext cx="146137" cy="141435"/>
          </a:xfrm>
          <a:custGeom>
            <a:avLst/>
            <a:gdLst>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8145 w 21600"/>
              <a:gd name="connsiteY9" fmla="*/ 18095 h 21600"/>
              <a:gd name="connsiteX10" fmla="*/ 14020 w 21600"/>
              <a:gd name="connsiteY10" fmla="*/ 14457 h 21600"/>
              <a:gd name="connsiteX11" fmla="*/ 13247 w 21600"/>
              <a:gd name="connsiteY11" fmla="*/ 19737 h 21600"/>
              <a:gd name="connsiteX12" fmla="*/ 10532 w 21600"/>
              <a:gd name="connsiteY12" fmla="*/ 14935 h 21600"/>
              <a:gd name="connsiteX13" fmla="*/ 8485 w 21600"/>
              <a:gd name="connsiteY13" fmla="*/ 21600 h 21600"/>
              <a:gd name="connsiteX14" fmla="*/ 7715 w 21600"/>
              <a:gd name="connsiteY14" fmla="*/ 15627 h 21600"/>
              <a:gd name="connsiteX15" fmla="*/ 4762 w 21600"/>
              <a:gd name="connsiteY15" fmla="*/ 17617 h 21600"/>
              <a:gd name="connsiteX16" fmla="*/ 5667 w 21600"/>
              <a:gd name="connsiteY16" fmla="*/ 13937 h 21600"/>
              <a:gd name="connsiteX17" fmla="*/ 135 w 21600"/>
              <a:gd name="connsiteY17" fmla="*/ 14587 h 21600"/>
              <a:gd name="connsiteX18" fmla="*/ 3722 w 21600"/>
              <a:gd name="connsiteY18" fmla="*/ 11775 h 21600"/>
              <a:gd name="connsiteX19" fmla="*/ 0 w 21600"/>
              <a:gd name="connsiteY19" fmla="*/ 8615 h 21600"/>
              <a:gd name="connsiteX20" fmla="*/ 4627 w 21600"/>
              <a:gd name="connsiteY20" fmla="*/ 7617 h 21600"/>
              <a:gd name="connsiteX21" fmla="*/ 370 w 21600"/>
              <a:gd name="connsiteY21" fmla="*/ 2295 h 21600"/>
              <a:gd name="connsiteX22" fmla="*/ 7312 w 21600"/>
              <a:gd name="connsiteY22" fmla="*/ 6320 h 21600"/>
              <a:gd name="connsiteX23" fmla="*/ 8352 w 21600"/>
              <a:gd name="connsiteY23" fmla="*/ 2295 h 21600"/>
              <a:gd name="connsiteX24" fmla="*/ 10800 w 21600"/>
              <a:gd name="connsiteY24"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8145 w 21600"/>
              <a:gd name="connsiteY9" fmla="*/ 18095 h 21600"/>
              <a:gd name="connsiteX10" fmla="*/ 14020 w 21600"/>
              <a:gd name="connsiteY10" fmla="*/ 14457 h 21600"/>
              <a:gd name="connsiteX11" fmla="*/ 10532 w 21600"/>
              <a:gd name="connsiteY11" fmla="*/ 14935 h 21600"/>
              <a:gd name="connsiteX12" fmla="*/ 8485 w 21600"/>
              <a:gd name="connsiteY12" fmla="*/ 21600 h 21600"/>
              <a:gd name="connsiteX13" fmla="*/ 7715 w 21600"/>
              <a:gd name="connsiteY13" fmla="*/ 15627 h 21600"/>
              <a:gd name="connsiteX14" fmla="*/ 4762 w 21600"/>
              <a:gd name="connsiteY14" fmla="*/ 17617 h 21600"/>
              <a:gd name="connsiteX15" fmla="*/ 5667 w 21600"/>
              <a:gd name="connsiteY15" fmla="*/ 13937 h 21600"/>
              <a:gd name="connsiteX16" fmla="*/ 135 w 21600"/>
              <a:gd name="connsiteY16" fmla="*/ 14587 h 21600"/>
              <a:gd name="connsiteX17" fmla="*/ 3722 w 21600"/>
              <a:gd name="connsiteY17" fmla="*/ 11775 h 21600"/>
              <a:gd name="connsiteX18" fmla="*/ 0 w 21600"/>
              <a:gd name="connsiteY18" fmla="*/ 8615 h 21600"/>
              <a:gd name="connsiteX19" fmla="*/ 4627 w 21600"/>
              <a:gd name="connsiteY19" fmla="*/ 7617 h 21600"/>
              <a:gd name="connsiteX20" fmla="*/ 370 w 21600"/>
              <a:gd name="connsiteY20" fmla="*/ 2295 h 21600"/>
              <a:gd name="connsiteX21" fmla="*/ 7312 w 21600"/>
              <a:gd name="connsiteY21" fmla="*/ 6320 h 21600"/>
              <a:gd name="connsiteX22" fmla="*/ 8352 w 21600"/>
              <a:gd name="connsiteY22" fmla="*/ 2295 h 21600"/>
              <a:gd name="connsiteX23" fmla="*/ 10800 w 21600"/>
              <a:gd name="connsiteY23"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8145 w 21600"/>
              <a:gd name="connsiteY9" fmla="*/ 18095 h 21600"/>
              <a:gd name="connsiteX10" fmla="*/ 10532 w 21600"/>
              <a:gd name="connsiteY10" fmla="*/ 149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9669 w 21600"/>
              <a:gd name="connsiteY9" fmla="*/ 19605 h 21600"/>
              <a:gd name="connsiteX10" fmla="*/ 10532 w 21600"/>
              <a:gd name="connsiteY10" fmla="*/ 149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9669 w 21600"/>
              <a:gd name="connsiteY9" fmla="*/ 19605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5210 w 21600"/>
              <a:gd name="connsiteY8" fmla="*/ 12884 h 21600"/>
              <a:gd name="connsiteX9" fmla="*/ 19669 w 21600"/>
              <a:gd name="connsiteY9" fmla="*/ 19605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5210 w 21600"/>
              <a:gd name="connsiteY8" fmla="*/ 12884 h 21600"/>
              <a:gd name="connsiteX9" fmla="*/ 19188 w 21600"/>
              <a:gd name="connsiteY9" fmla="*/ 18513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5210 w 21600"/>
              <a:gd name="connsiteY8" fmla="*/ 12884 h 21600"/>
              <a:gd name="connsiteX9" fmla="*/ 17478 w 21600"/>
              <a:gd name="connsiteY9" fmla="*/ 17771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4247"/>
              <a:gd name="connsiteY0" fmla="*/ 5800 h 21600"/>
              <a:gd name="connsiteX1" fmla="*/ 14522 w 24247"/>
              <a:gd name="connsiteY1" fmla="*/ 0 h 21600"/>
              <a:gd name="connsiteX2" fmla="*/ 14155 w 24247"/>
              <a:gd name="connsiteY2" fmla="*/ 5325 h 21600"/>
              <a:gd name="connsiteX3" fmla="*/ 18380 w 24247"/>
              <a:gd name="connsiteY3" fmla="*/ 4457 h 21600"/>
              <a:gd name="connsiteX4" fmla="*/ 16702 w 24247"/>
              <a:gd name="connsiteY4" fmla="*/ 7315 h 21600"/>
              <a:gd name="connsiteX5" fmla="*/ 21097 w 24247"/>
              <a:gd name="connsiteY5" fmla="*/ 8137 h 21600"/>
              <a:gd name="connsiteX6" fmla="*/ 17607 w 24247"/>
              <a:gd name="connsiteY6" fmla="*/ 10475 h 21600"/>
              <a:gd name="connsiteX7" fmla="*/ 24247 w 24247"/>
              <a:gd name="connsiteY7" fmla="*/ 13862 h 21600"/>
              <a:gd name="connsiteX8" fmla="*/ 15210 w 24247"/>
              <a:gd name="connsiteY8" fmla="*/ 12884 h 21600"/>
              <a:gd name="connsiteX9" fmla="*/ 17478 w 24247"/>
              <a:gd name="connsiteY9" fmla="*/ 17771 h 21600"/>
              <a:gd name="connsiteX10" fmla="*/ 10754 w 24247"/>
              <a:gd name="connsiteY10" fmla="*/ 14635 h 21600"/>
              <a:gd name="connsiteX11" fmla="*/ 8485 w 24247"/>
              <a:gd name="connsiteY11" fmla="*/ 21600 h 21600"/>
              <a:gd name="connsiteX12" fmla="*/ 7715 w 24247"/>
              <a:gd name="connsiteY12" fmla="*/ 15627 h 21600"/>
              <a:gd name="connsiteX13" fmla="*/ 4762 w 24247"/>
              <a:gd name="connsiteY13" fmla="*/ 17617 h 21600"/>
              <a:gd name="connsiteX14" fmla="*/ 5667 w 24247"/>
              <a:gd name="connsiteY14" fmla="*/ 13937 h 21600"/>
              <a:gd name="connsiteX15" fmla="*/ 135 w 24247"/>
              <a:gd name="connsiteY15" fmla="*/ 14587 h 21600"/>
              <a:gd name="connsiteX16" fmla="*/ 3722 w 24247"/>
              <a:gd name="connsiteY16" fmla="*/ 11775 h 21600"/>
              <a:gd name="connsiteX17" fmla="*/ 0 w 24247"/>
              <a:gd name="connsiteY17" fmla="*/ 8615 h 21600"/>
              <a:gd name="connsiteX18" fmla="*/ 4627 w 24247"/>
              <a:gd name="connsiteY18" fmla="*/ 7617 h 21600"/>
              <a:gd name="connsiteX19" fmla="*/ 370 w 24247"/>
              <a:gd name="connsiteY19" fmla="*/ 2295 h 21600"/>
              <a:gd name="connsiteX20" fmla="*/ 7312 w 24247"/>
              <a:gd name="connsiteY20" fmla="*/ 6320 h 21600"/>
              <a:gd name="connsiteX21" fmla="*/ 8352 w 24247"/>
              <a:gd name="connsiteY21" fmla="*/ 2295 h 21600"/>
              <a:gd name="connsiteX22" fmla="*/ 10800 w 24247"/>
              <a:gd name="connsiteY22" fmla="*/ 5800 h 21600"/>
              <a:gd name="connsiteX0" fmla="*/ 10800 w 24247"/>
              <a:gd name="connsiteY0" fmla="*/ 5800 h 21600"/>
              <a:gd name="connsiteX1" fmla="*/ 14522 w 24247"/>
              <a:gd name="connsiteY1" fmla="*/ 0 h 21600"/>
              <a:gd name="connsiteX2" fmla="*/ 14155 w 24247"/>
              <a:gd name="connsiteY2" fmla="*/ 5325 h 21600"/>
              <a:gd name="connsiteX3" fmla="*/ 18380 w 24247"/>
              <a:gd name="connsiteY3" fmla="*/ 4457 h 21600"/>
              <a:gd name="connsiteX4" fmla="*/ 16702 w 24247"/>
              <a:gd name="connsiteY4" fmla="*/ 7315 h 21600"/>
              <a:gd name="connsiteX5" fmla="*/ 20651 w 24247"/>
              <a:gd name="connsiteY5" fmla="*/ 7513 h 21600"/>
              <a:gd name="connsiteX6" fmla="*/ 17607 w 24247"/>
              <a:gd name="connsiteY6" fmla="*/ 10475 h 21600"/>
              <a:gd name="connsiteX7" fmla="*/ 24247 w 24247"/>
              <a:gd name="connsiteY7" fmla="*/ 13862 h 21600"/>
              <a:gd name="connsiteX8" fmla="*/ 15210 w 24247"/>
              <a:gd name="connsiteY8" fmla="*/ 12884 h 21600"/>
              <a:gd name="connsiteX9" fmla="*/ 17478 w 24247"/>
              <a:gd name="connsiteY9" fmla="*/ 17771 h 21600"/>
              <a:gd name="connsiteX10" fmla="*/ 10754 w 24247"/>
              <a:gd name="connsiteY10" fmla="*/ 14635 h 21600"/>
              <a:gd name="connsiteX11" fmla="*/ 8485 w 24247"/>
              <a:gd name="connsiteY11" fmla="*/ 21600 h 21600"/>
              <a:gd name="connsiteX12" fmla="*/ 7715 w 24247"/>
              <a:gd name="connsiteY12" fmla="*/ 15627 h 21600"/>
              <a:gd name="connsiteX13" fmla="*/ 4762 w 24247"/>
              <a:gd name="connsiteY13" fmla="*/ 17617 h 21600"/>
              <a:gd name="connsiteX14" fmla="*/ 5667 w 24247"/>
              <a:gd name="connsiteY14" fmla="*/ 13937 h 21600"/>
              <a:gd name="connsiteX15" fmla="*/ 135 w 24247"/>
              <a:gd name="connsiteY15" fmla="*/ 14587 h 21600"/>
              <a:gd name="connsiteX16" fmla="*/ 3722 w 24247"/>
              <a:gd name="connsiteY16" fmla="*/ 11775 h 21600"/>
              <a:gd name="connsiteX17" fmla="*/ 0 w 24247"/>
              <a:gd name="connsiteY17" fmla="*/ 8615 h 21600"/>
              <a:gd name="connsiteX18" fmla="*/ 4627 w 24247"/>
              <a:gd name="connsiteY18" fmla="*/ 7617 h 21600"/>
              <a:gd name="connsiteX19" fmla="*/ 370 w 24247"/>
              <a:gd name="connsiteY19" fmla="*/ 2295 h 21600"/>
              <a:gd name="connsiteX20" fmla="*/ 7312 w 24247"/>
              <a:gd name="connsiteY20" fmla="*/ 6320 h 21600"/>
              <a:gd name="connsiteX21" fmla="*/ 8352 w 24247"/>
              <a:gd name="connsiteY21" fmla="*/ 2295 h 21600"/>
              <a:gd name="connsiteX22" fmla="*/ 10800 w 24247"/>
              <a:gd name="connsiteY22" fmla="*/ 5800 h 21600"/>
              <a:gd name="connsiteX0" fmla="*/ 10800 w 24247"/>
              <a:gd name="connsiteY0" fmla="*/ 5800 h 21600"/>
              <a:gd name="connsiteX1" fmla="*/ 14522 w 24247"/>
              <a:gd name="connsiteY1" fmla="*/ 0 h 21600"/>
              <a:gd name="connsiteX2" fmla="*/ 14155 w 24247"/>
              <a:gd name="connsiteY2" fmla="*/ 5325 h 21600"/>
              <a:gd name="connsiteX3" fmla="*/ 16702 w 24247"/>
              <a:gd name="connsiteY3" fmla="*/ 7315 h 21600"/>
              <a:gd name="connsiteX4" fmla="*/ 20651 w 24247"/>
              <a:gd name="connsiteY4" fmla="*/ 7513 h 21600"/>
              <a:gd name="connsiteX5" fmla="*/ 17607 w 24247"/>
              <a:gd name="connsiteY5" fmla="*/ 10475 h 21600"/>
              <a:gd name="connsiteX6" fmla="*/ 24247 w 24247"/>
              <a:gd name="connsiteY6" fmla="*/ 13862 h 21600"/>
              <a:gd name="connsiteX7" fmla="*/ 15210 w 24247"/>
              <a:gd name="connsiteY7" fmla="*/ 12884 h 21600"/>
              <a:gd name="connsiteX8" fmla="*/ 17478 w 24247"/>
              <a:gd name="connsiteY8" fmla="*/ 17771 h 21600"/>
              <a:gd name="connsiteX9" fmla="*/ 10754 w 24247"/>
              <a:gd name="connsiteY9" fmla="*/ 14635 h 21600"/>
              <a:gd name="connsiteX10" fmla="*/ 8485 w 24247"/>
              <a:gd name="connsiteY10" fmla="*/ 21600 h 21600"/>
              <a:gd name="connsiteX11" fmla="*/ 7715 w 24247"/>
              <a:gd name="connsiteY11" fmla="*/ 15627 h 21600"/>
              <a:gd name="connsiteX12" fmla="*/ 4762 w 24247"/>
              <a:gd name="connsiteY12" fmla="*/ 17617 h 21600"/>
              <a:gd name="connsiteX13" fmla="*/ 5667 w 24247"/>
              <a:gd name="connsiteY13" fmla="*/ 13937 h 21600"/>
              <a:gd name="connsiteX14" fmla="*/ 135 w 24247"/>
              <a:gd name="connsiteY14" fmla="*/ 14587 h 21600"/>
              <a:gd name="connsiteX15" fmla="*/ 3722 w 24247"/>
              <a:gd name="connsiteY15" fmla="*/ 11775 h 21600"/>
              <a:gd name="connsiteX16" fmla="*/ 0 w 24247"/>
              <a:gd name="connsiteY16" fmla="*/ 8615 h 21600"/>
              <a:gd name="connsiteX17" fmla="*/ 4627 w 24247"/>
              <a:gd name="connsiteY17" fmla="*/ 7617 h 21600"/>
              <a:gd name="connsiteX18" fmla="*/ 370 w 24247"/>
              <a:gd name="connsiteY18" fmla="*/ 2295 h 21600"/>
              <a:gd name="connsiteX19" fmla="*/ 7312 w 24247"/>
              <a:gd name="connsiteY19" fmla="*/ 6320 h 21600"/>
              <a:gd name="connsiteX20" fmla="*/ 8352 w 24247"/>
              <a:gd name="connsiteY20" fmla="*/ 2295 h 21600"/>
              <a:gd name="connsiteX21" fmla="*/ 10800 w 24247"/>
              <a:gd name="connsiteY21" fmla="*/ 5800 h 21600"/>
              <a:gd name="connsiteX0" fmla="*/ 10800 w 24247"/>
              <a:gd name="connsiteY0" fmla="*/ 5800 h 21600"/>
              <a:gd name="connsiteX1" fmla="*/ 14522 w 24247"/>
              <a:gd name="connsiteY1" fmla="*/ 0 h 21600"/>
              <a:gd name="connsiteX2" fmla="*/ 16702 w 24247"/>
              <a:gd name="connsiteY2" fmla="*/ 7315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5534 w 24247"/>
              <a:gd name="connsiteY4" fmla="*/ 10202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19316 w 24247"/>
              <a:gd name="connsiteY3" fmla="*/ 7275 h 21600"/>
              <a:gd name="connsiteX4" fmla="*/ 15534 w 24247"/>
              <a:gd name="connsiteY4" fmla="*/ 10202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5667 w 24247"/>
              <a:gd name="connsiteY11" fmla="*/ 13937 h 21600"/>
              <a:gd name="connsiteX12" fmla="*/ 135 w 24247"/>
              <a:gd name="connsiteY12" fmla="*/ 14587 h 21600"/>
              <a:gd name="connsiteX13" fmla="*/ 3722 w 24247"/>
              <a:gd name="connsiteY13" fmla="*/ 11775 h 21600"/>
              <a:gd name="connsiteX14" fmla="*/ 0 w 24247"/>
              <a:gd name="connsiteY14" fmla="*/ 8615 h 21600"/>
              <a:gd name="connsiteX15" fmla="*/ 4627 w 24247"/>
              <a:gd name="connsiteY15" fmla="*/ 7617 h 21600"/>
              <a:gd name="connsiteX16" fmla="*/ 370 w 24247"/>
              <a:gd name="connsiteY16" fmla="*/ 2295 h 21600"/>
              <a:gd name="connsiteX17" fmla="*/ 7312 w 24247"/>
              <a:gd name="connsiteY17" fmla="*/ 6320 h 21600"/>
              <a:gd name="connsiteX18" fmla="*/ 8352 w 24247"/>
              <a:gd name="connsiteY18" fmla="*/ 2295 h 21600"/>
              <a:gd name="connsiteX19" fmla="*/ 10800 w 24247"/>
              <a:gd name="connsiteY19"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5667 w 24247"/>
              <a:gd name="connsiteY10" fmla="*/ 13937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5667 w 24247"/>
              <a:gd name="connsiteY10" fmla="*/ 13937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5667 w 24247"/>
              <a:gd name="connsiteY10" fmla="*/ 13937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424 w 24247"/>
              <a:gd name="connsiteY11" fmla="*/ 15425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424 w 24247"/>
              <a:gd name="connsiteY11" fmla="*/ 15425 h 21600"/>
              <a:gd name="connsiteX12" fmla="*/ 5290 w 24247"/>
              <a:gd name="connsiteY12" fmla="*/ 11461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424 w 24247"/>
              <a:gd name="connsiteY11" fmla="*/ 15425 h 21600"/>
              <a:gd name="connsiteX12" fmla="*/ 5524 w 24247"/>
              <a:gd name="connsiteY12" fmla="*/ 11317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371 w 24094"/>
              <a:gd name="connsiteY12" fmla="*/ 11317 h 21600"/>
              <a:gd name="connsiteX13" fmla="*/ 0 w 24094"/>
              <a:gd name="connsiteY13" fmla="*/ 9419 h 21600"/>
              <a:gd name="connsiteX14" fmla="*/ 4474 w 24094"/>
              <a:gd name="connsiteY14" fmla="*/ 7617 h 21600"/>
              <a:gd name="connsiteX15" fmla="*/ 217 w 24094"/>
              <a:gd name="connsiteY15" fmla="*/ 2295 h 21600"/>
              <a:gd name="connsiteX16" fmla="*/ 7159 w 24094"/>
              <a:gd name="connsiteY16" fmla="*/ 6320 h 21600"/>
              <a:gd name="connsiteX17" fmla="*/ 8199 w 24094"/>
              <a:gd name="connsiteY17" fmla="*/ 2295 h 21600"/>
              <a:gd name="connsiteX18" fmla="*/ 10647 w 24094"/>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277 w 24094"/>
              <a:gd name="connsiteY12" fmla="*/ 10885 h 21600"/>
              <a:gd name="connsiteX13" fmla="*/ 0 w 24094"/>
              <a:gd name="connsiteY13" fmla="*/ 9419 h 21600"/>
              <a:gd name="connsiteX14" fmla="*/ 4474 w 24094"/>
              <a:gd name="connsiteY14" fmla="*/ 7617 h 21600"/>
              <a:gd name="connsiteX15" fmla="*/ 217 w 24094"/>
              <a:gd name="connsiteY15" fmla="*/ 2295 h 21600"/>
              <a:gd name="connsiteX16" fmla="*/ 7159 w 24094"/>
              <a:gd name="connsiteY16" fmla="*/ 6320 h 21600"/>
              <a:gd name="connsiteX17" fmla="*/ 8199 w 24094"/>
              <a:gd name="connsiteY17" fmla="*/ 2295 h 21600"/>
              <a:gd name="connsiteX18" fmla="*/ 10647 w 24094"/>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277 w 24094"/>
              <a:gd name="connsiteY12" fmla="*/ 10885 h 21600"/>
              <a:gd name="connsiteX13" fmla="*/ 0 w 24094"/>
              <a:gd name="connsiteY13" fmla="*/ 9419 h 21600"/>
              <a:gd name="connsiteX14" fmla="*/ 5259 w 24094"/>
              <a:gd name="connsiteY14" fmla="*/ 7868 h 21600"/>
              <a:gd name="connsiteX15" fmla="*/ 217 w 24094"/>
              <a:gd name="connsiteY15" fmla="*/ 2295 h 21600"/>
              <a:gd name="connsiteX16" fmla="*/ 7159 w 24094"/>
              <a:gd name="connsiteY16" fmla="*/ 6320 h 21600"/>
              <a:gd name="connsiteX17" fmla="*/ 8199 w 24094"/>
              <a:gd name="connsiteY17" fmla="*/ 2295 h 21600"/>
              <a:gd name="connsiteX18" fmla="*/ 10647 w 24094"/>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277 w 24094"/>
              <a:gd name="connsiteY12" fmla="*/ 10885 h 21600"/>
              <a:gd name="connsiteX13" fmla="*/ 0 w 24094"/>
              <a:gd name="connsiteY13" fmla="*/ 9419 h 21600"/>
              <a:gd name="connsiteX14" fmla="*/ 5259 w 24094"/>
              <a:gd name="connsiteY14" fmla="*/ 7868 h 21600"/>
              <a:gd name="connsiteX15" fmla="*/ 217 w 24094"/>
              <a:gd name="connsiteY15" fmla="*/ 2295 h 21600"/>
              <a:gd name="connsiteX16" fmla="*/ 7428 w 24094"/>
              <a:gd name="connsiteY16" fmla="*/ 5827 h 21600"/>
              <a:gd name="connsiteX17" fmla="*/ 8199 w 24094"/>
              <a:gd name="connsiteY17" fmla="*/ 2295 h 21600"/>
              <a:gd name="connsiteX18" fmla="*/ 10647 w 24094"/>
              <a:gd name="connsiteY18" fmla="*/ 5800 h 21600"/>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601 w 24094"/>
              <a:gd name="connsiteY8" fmla="*/ 14953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601 w 24094"/>
              <a:gd name="connsiteY8" fmla="*/ 14953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601 w 24094"/>
              <a:gd name="connsiteY8" fmla="*/ 14953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284 w 24094"/>
              <a:gd name="connsiteY8" fmla="*/ 12901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287 w 24094"/>
              <a:gd name="connsiteY8" fmla="*/ 13456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415 w 24094"/>
              <a:gd name="connsiteY8" fmla="*/ 13844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8332 w 24094"/>
              <a:gd name="connsiteY8" fmla="*/ 21918 h 21918"/>
              <a:gd name="connsiteX9" fmla="*/ 6953 w 24094"/>
              <a:gd name="connsiteY9" fmla="*/ 13857 h 21918"/>
              <a:gd name="connsiteX10" fmla="*/ 1271 w 24094"/>
              <a:gd name="connsiteY10" fmla="*/ 15743 h 21918"/>
              <a:gd name="connsiteX11" fmla="*/ 5277 w 24094"/>
              <a:gd name="connsiteY11" fmla="*/ 11203 h 21918"/>
              <a:gd name="connsiteX12" fmla="*/ 0 w 24094"/>
              <a:gd name="connsiteY12" fmla="*/ 9737 h 21918"/>
              <a:gd name="connsiteX13" fmla="*/ 5259 w 24094"/>
              <a:gd name="connsiteY13" fmla="*/ 8186 h 21918"/>
              <a:gd name="connsiteX14" fmla="*/ 217 w 24094"/>
              <a:gd name="connsiteY14" fmla="*/ 2613 h 21918"/>
              <a:gd name="connsiteX15" fmla="*/ 7428 w 24094"/>
              <a:gd name="connsiteY15" fmla="*/ 6145 h 21918"/>
              <a:gd name="connsiteX16" fmla="*/ 8199 w 24094"/>
              <a:gd name="connsiteY16" fmla="*/ 2613 h 21918"/>
              <a:gd name="connsiteX17" fmla="*/ 10647 w 24094"/>
              <a:gd name="connsiteY17"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8332 w 24094"/>
              <a:gd name="connsiteY7" fmla="*/ 21918 h 21918"/>
              <a:gd name="connsiteX8" fmla="*/ 6953 w 24094"/>
              <a:gd name="connsiteY8" fmla="*/ 13857 h 21918"/>
              <a:gd name="connsiteX9" fmla="*/ 1271 w 24094"/>
              <a:gd name="connsiteY9" fmla="*/ 15743 h 21918"/>
              <a:gd name="connsiteX10" fmla="*/ 5277 w 24094"/>
              <a:gd name="connsiteY10" fmla="*/ 11203 h 21918"/>
              <a:gd name="connsiteX11" fmla="*/ 0 w 24094"/>
              <a:gd name="connsiteY11" fmla="*/ 9737 h 21918"/>
              <a:gd name="connsiteX12" fmla="*/ 5259 w 24094"/>
              <a:gd name="connsiteY12" fmla="*/ 8186 h 21918"/>
              <a:gd name="connsiteX13" fmla="*/ 217 w 24094"/>
              <a:gd name="connsiteY13" fmla="*/ 2613 h 21918"/>
              <a:gd name="connsiteX14" fmla="*/ 7428 w 24094"/>
              <a:gd name="connsiteY14" fmla="*/ 6145 h 21918"/>
              <a:gd name="connsiteX15" fmla="*/ 8199 w 24094"/>
              <a:gd name="connsiteY15" fmla="*/ 2613 h 21918"/>
              <a:gd name="connsiteX16" fmla="*/ 10647 w 24094"/>
              <a:gd name="connsiteY16"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1953 w 24094"/>
              <a:gd name="connsiteY6" fmla="*/ 13508 h 21918"/>
              <a:gd name="connsiteX7" fmla="*/ 8332 w 24094"/>
              <a:gd name="connsiteY7" fmla="*/ 21918 h 21918"/>
              <a:gd name="connsiteX8" fmla="*/ 6953 w 24094"/>
              <a:gd name="connsiteY8" fmla="*/ 13857 h 21918"/>
              <a:gd name="connsiteX9" fmla="*/ 1271 w 24094"/>
              <a:gd name="connsiteY9" fmla="*/ 15743 h 21918"/>
              <a:gd name="connsiteX10" fmla="*/ 5277 w 24094"/>
              <a:gd name="connsiteY10" fmla="*/ 11203 h 21918"/>
              <a:gd name="connsiteX11" fmla="*/ 0 w 24094"/>
              <a:gd name="connsiteY11" fmla="*/ 9737 h 21918"/>
              <a:gd name="connsiteX12" fmla="*/ 5259 w 24094"/>
              <a:gd name="connsiteY12" fmla="*/ 8186 h 21918"/>
              <a:gd name="connsiteX13" fmla="*/ 217 w 24094"/>
              <a:gd name="connsiteY13" fmla="*/ 2613 h 21918"/>
              <a:gd name="connsiteX14" fmla="*/ 7428 w 24094"/>
              <a:gd name="connsiteY14" fmla="*/ 6145 h 21918"/>
              <a:gd name="connsiteX15" fmla="*/ 8199 w 24094"/>
              <a:gd name="connsiteY15" fmla="*/ 2613 h 21918"/>
              <a:gd name="connsiteX16" fmla="*/ 10647 w 24094"/>
              <a:gd name="connsiteY16" fmla="*/ 6118 h 21918"/>
              <a:gd name="connsiteX0" fmla="*/ 10647 w 22088"/>
              <a:gd name="connsiteY0" fmla="*/ 6118 h 21918"/>
              <a:gd name="connsiteX1" fmla="*/ 15107 w 22088"/>
              <a:gd name="connsiteY1" fmla="*/ 0 h 21918"/>
              <a:gd name="connsiteX2" fmla="*/ 14101 w 22088"/>
              <a:gd name="connsiteY2" fmla="*/ 7264 h 21918"/>
              <a:gd name="connsiteX3" fmla="*/ 19163 w 22088"/>
              <a:gd name="connsiteY3" fmla="*/ 7593 h 21918"/>
              <a:gd name="connsiteX4" fmla="*/ 16012 w 22088"/>
              <a:gd name="connsiteY4" fmla="*/ 9967 h 21918"/>
              <a:gd name="connsiteX5" fmla="*/ 22088 w 22088"/>
              <a:gd name="connsiteY5" fmla="*/ 16415 h 21918"/>
              <a:gd name="connsiteX6" fmla="*/ 11953 w 22088"/>
              <a:gd name="connsiteY6" fmla="*/ 13508 h 21918"/>
              <a:gd name="connsiteX7" fmla="*/ 8332 w 22088"/>
              <a:gd name="connsiteY7" fmla="*/ 21918 h 21918"/>
              <a:gd name="connsiteX8" fmla="*/ 6953 w 22088"/>
              <a:gd name="connsiteY8" fmla="*/ 13857 h 21918"/>
              <a:gd name="connsiteX9" fmla="*/ 1271 w 22088"/>
              <a:gd name="connsiteY9" fmla="*/ 15743 h 21918"/>
              <a:gd name="connsiteX10" fmla="*/ 5277 w 22088"/>
              <a:gd name="connsiteY10" fmla="*/ 11203 h 21918"/>
              <a:gd name="connsiteX11" fmla="*/ 0 w 22088"/>
              <a:gd name="connsiteY11" fmla="*/ 9737 h 21918"/>
              <a:gd name="connsiteX12" fmla="*/ 5259 w 22088"/>
              <a:gd name="connsiteY12" fmla="*/ 8186 h 21918"/>
              <a:gd name="connsiteX13" fmla="*/ 217 w 22088"/>
              <a:gd name="connsiteY13" fmla="*/ 2613 h 21918"/>
              <a:gd name="connsiteX14" fmla="*/ 7428 w 22088"/>
              <a:gd name="connsiteY14" fmla="*/ 6145 h 21918"/>
              <a:gd name="connsiteX15" fmla="*/ 8199 w 22088"/>
              <a:gd name="connsiteY15" fmla="*/ 2613 h 21918"/>
              <a:gd name="connsiteX16" fmla="*/ 10647 w 22088"/>
              <a:gd name="connsiteY16" fmla="*/ 6118 h 21918"/>
              <a:gd name="connsiteX0" fmla="*/ 11211 w 22088"/>
              <a:gd name="connsiteY0" fmla="*/ 5780 h 21918"/>
              <a:gd name="connsiteX1" fmla="*/ 15107 w 22088"/>
              <a:gd name="connsiteY1" fmla="*/ 0 h 21918"/>
              <a:gd name="connsiteX2" fmla="*/ 14101 w 22088"/>
              <a:gd name="connsiteY2" fmla="*/ 7264 h 21918"/>
              <a:gd name="connsiteX3" fmla="*/ 19163 w 22088"/>
              <a:gd name="connsiteY3" fmla="*/ 7593 h 21918"/>
              <a:gd name="connsiteX4" fmla="*/ 16012 w 22088"/>
              <a:gd name="connsiteY4" fmla="*/ 9967 h 21918"/>
              <a:gd name="connsiteX5" fmla="*/ 22088 w 22088"/>
              <a:gd name="connsiteY5" fmla="*/ 16415 h 21918"/>
              <a:gd name="connsiteX6" fmla="*/ 11953 w 22088"/>
              <a:gd name="connsiteY6" fmla="*/ 13508 h 21918"/>
              <a:gd name="connsiteX7" fmla="*/ 8332 w 22088"/>
              <a:gd name="connsiteY7" fmla="*/ 21918 h 21918"/>
              <a:gd name="connsiteX8" fmla="*/ 6953 w 22088"/>
              <a:gd name="connsiteY8" fmla="*/ 13857 h 21918"/>
              <a:gd name="connsiteX9" fmla="*/ 1271 w 22088"/>
              <a:gd name="connsiteY9" fmla="*/ 15743 h 21918"/>
              <a:gd name="connsiteX10" fmla="*/ 5277 w 22088"/>
              <a:gd name="connsiteY10" fmla="*/ 11203 h 21918"/>
              <a:gd name="connsiteX11" fmla="*/ 0 w 22088"/>
              <a:gd name="connsiteY11" fmla="*/ 9737 h 21918"/>
              <a:gd name="connsiteX12" fmla="*/ 5259 w 22088"/>
              <a:gd name="connsiteY12" fmla="*/ 8186 h 21918"/>
              <a:gd name="connsiteX13" fmla="*/ 217 w 22088"/>
              <a:gd name="connsiteY13" fmla="*/ 2613 h 21918"/>
              <a:gd name="connsiteX14" fmla="*/ 7428 w 22088"/>
              <a:gd name="connsiteY14" fmla="*/ 6145 h 21918"/>
              <a:gd name="connsiteX15" fmla="*/ 8199 w 22088"/>
              <a:gd name="connsiteY15" fmla="*/ 2613 h 21918"/>
              <a:gd name="connsiteX16" fmla="*/ 11211 w 22088"/>
              <a:gd name="connsiteY16" fmla="*/ 5780 h 21918"/>
              <a:gd name="connsiteX0" fmla="*/ 8199 w 22088"/>
              <a:gd name="connsiteY0" fmla="*/ 2613 h 21918"/>
              <a:gd name="connsiteX1" fmla="*/ 15107 w 22088"/>
              <a:gd name="connsiteY1" fmla="*/ 0 h 21918"/>
              <a:gd name="connsiteX2" fmla="*/ 14101 w 22088"/>
              <a:gd name="connsiteY2" fmla="*/ 7264 h 21918"/>
              <a:gd name="connsiteX3" fmla="*/ 19163 w 22088"/>
              <a:gd name="connsiteY3" fmla="*/ 7593 h 21918"/>
              <a:gd name="connsiteX4" fmla="*/ 16012 w 22088"/>
              <a:gd name="connsiteY4" fmla="*/ 9967 h 21918"/>
              <a:gd name="connsiteX5" fmla="*/ 22088 w 22088"/>
              <a:gd name="connsiteY5" fmla="*/ 16415 h 21918"/>
              <a:gd name="connsiteX6" fmla="*/ 11953 w 22088"/>
              <a:gd name="connsiteY6" fmla="*/ 13508 h 21918"/>
              <a:gd name="connsiteX7" fmla="*/ 8332 w 22088"/>
              <a:gd name="connsiteY7" fmla="*/ 21918 h 21918"/>
              <a:gd name="connsiteX8" fmla="*/ 6953 w 22088"/>
              <a:gd name="connsiteY8" fmla="*/ 13857 h 21918"/>
              <a:gd name="connsiteX9" fmla="*/ 1271 w 22088"/>
              <a:gd name="connsiteY9" fmla="*/ 15743 h 21918"/>
              <a:gd name="connsiteX10" fmla="*/ 5277 w 22088"/>
              <a:gd name="connsiteY10" fmla="*/ 11203 h 21918"/>
              <a:gd name="connsiteX11" fmla="*/ 0 w 22088"/>
              <a:gd name="connsiteY11" fmla="*/ 9737 h 21918"/>
              <a:gd name="connsiteX12" fmla="*/ 5259 w 22088"/>
              <a:gd name="connsiteY12" fmla="*/ 8186 h 21918"/>
              <a:gd name="connsiteX13" fmla="*/ 217 w 22088"/>
              <a:gd name="connsiteY13" fmla="*/ 2613 h 21918"/>
              <a:gd name="connsiteX14" fmla="*/ 7428 w 22088"/>
              <a:gd name="connsiteY14" fmla="*/ 6145 h 21918"/>
              <a:gd name="connsiteX15" fmla="*/ 8199 w 22088"/>
              <a:gd name="connsiteY15" fmla="*/ 2613 h 21918"/>
              <a:gd name="connsiteX0" fmla="*/ 8763 w 22088"/>
              <a:gd name="connsiteY0" fmla="*/ 2275 h 21918"/>
              <a:gd name="connsiteX1" fmla="*/ 15107 w 22088"/>
              <a:gd name="connsiteY1" fmla="*/ 0 h 21918"/>
              <a:gd name="connsiteX2" fmla="*/ 14101 w 22088"/>
              <a:gd name="connsiteY2" fmla="*/ 7264 h 21918"/>
              <a:gd name="connsiteX3" fmla="*/ 19163 w 22088"/>
              <a:gd name="connsiteY3" fmla="*/ 7593 h 21918"/>
              <a:gd name="connsiteX4" fmla="*/ 16012 w 22088"/>
              <a:gd name="connsiteY4" fmla="*/ 9967 h 21918"/>
              <a:gd name="connsiteX5" fmla="*/ 22088 w 22088"/>
              <a:gd name="connsiteY5" fmla="*/ 16415 h 21918"/>
              <a:gd name="connsiteX6" fmla="*/ 11953 w 22088"/>
              <a:gd name="connsiteY6" fmla="*/ 13508 h 21918"/>
              <a:gd name="connsiteX7" fmla="*/ 8332 w 22088"/>
              <a:gd name="connsiteY7" fmla="*/ 21918 h 21918"/>
              <a:gd name="connsiteX8" fmla="*/ 6953 w 22088"/>
              <a:gd name="connsiteY8" fmla="*/ 13857 h 21918"/>
              <a:gd name="connsiteX9" fmla="*/ 1271 w 22088"/>
              <a:gd name="connsiteY9" fmla="*/ 15743 h 21918"/>
              <a:gd name="connsiteX10" fmla="*/ 5277 w 22088"/>
              <a:gd name="connsiteY10" fmla="*/ 11203 h 21918"/>
              <a:gd name="connsiteX11" fmla="*/ 0 w 22088"/>
              <a:gd name="connsiteY11" fmla="*/ 9737 h 21918"/>
              <a:gd name="connsiteX12" fmla="*/ 5259 w 22088"/>
              <a:gd name="connsiteY12" fmla="*/ 8186 h 21918"/>
              <a:gd name="connsiteX13" fmla="*/ 217 w 22088"/>
              <a:gd name="connsiteY13" fmla="*/ 2613 h 21918"/>
              <a:gd name="connsiteX14" fmla="*/ 7428 w 22088"/>
              <a:gd name="connsiteY14" fmla="*/ 6145 h 21918"/>
              <a:gd name="connsiteX15" fmla="*/ 8763 w 22088"/>
              <a:gd name="connsiteY15" fmla="*/ 2275 h 21918"/>
              <a:gd name="connsiteX0" fmla="*/ 7428 w 22088"/>
              <a:gd name="connsiteY0" fmla="*/ 6145 h 21918"/>
              <a:gd name="connsiteX1" fmla="*/ 15107 w 22088"/>
              <a:gd name="connsiteY1" fmla="*/ 0 h 21918"/>
              <a:gd name="connsiteX2" fmla="*/ 14101 w 22088"/>
              <a:gd name="connsiteY2" fmla="*/ 7264 h 21918"/>
              <a:gd name="connsiteX3" fmla="*/ 19163 w 22088"/>
              <a:gd name="connsiteY3" fmla="*/ 7593 h 21918"/>
              <a:gd name="connsiteX4" fmla="*/ 16012 w 22088"/>
              <a:gd name="connsiteY4" fmla="*/ 9967 h 21918"/>
              <a:gd name="connsiteX5" fmla="*/ 22088 w 22088"/>
              <a:gd name="connsiteY5" fmla="*/ 16415 h 21918"/>
              <a:gd name="connsiteX6" fmla="*/ 11953 w 22088"/>
              <a:gd name="connsiteY6" fmla="*/ 13508 h 21918"/>
              <a:gd name="connsiteX7" fmla="*/ 8332 w 22088"/>
              <a:gd name="connsiteY7" fmla="*/ 21918 h 21918"/>
              <a:gd name="connsiteX8" fmla="*/ 6953 w 22088"/>
              <a:gd name="connsiteY8" fmla="*/ 13857 h 21918"/>
              <a:gd name="connsiteX9" fmla="*/ 1271 w 22088"/>
              <a:gd name="connsiteY9" fmla="*/ 15743 h 21918"/>
              <a:gd name="connsiteX10" fmla="*/ 5277 w 22088"/>
              <a:gd name="connsiteY10" fmla="*/ 11203 h 21918"/>
              <a:gd name="connsiteX11" fmla="*/ 0 w 22088"/>
              <a:gd name="connsiteY11" fmla="*/ 9737 h 21918"/>
              <a:gd name="connsiteX12" fmla="*/ 5259 w 22088"/>
              <a:gd name="connsiteY12" fmla="*/ 8186 h 21918"/>
              <a:gd name="connsiteX13" fmla="*/ 217 w 22088"/>
              <a:gd name="connsiteY13" fmla="*/ 2613 h 21918"/>
              <a:gd name="connsiteX14" fmla="*/ 7428 w 22088"/>
              <a:gd name="connsiteY14" fmla="*/ 6145 h 21918"/>
              <a:gd name="connsiteX0" fmla="*/ 8761 w 22088"/>
              <a:gd name="connsiteY0" fmla="*/ 7157 h 21918"/>
              <a:gd name="connsiteX1" fmla="*/ 15107 w 22088"/>
              <a:gd name="connsiteY1" fmla="*/ 0 h 21918"/>
              <a:gd name="connsiteX2" fmla="*/ 14101 w 22088"/>
              <a:gd name="connsiteY2" fmla="*/ 7264 h 21918"/>
              <a:gd name="connsiteX3" fmla="*/ 19163 w 22088"/>
              <a:gd name="connsiteY3" fmla="*/ 7593 h 21918"/>
              <a:gd name="connsiteX4" fmla="*/ 16012 w 22088"/>
              <a:gd name="connsiteY4" fmla="*/ 9967 h 21918"/>
              <a:gd name="connsiteX5" fmla="*/ 22088 w 22088"/>
              <a:gd name="connsiteY5" fmla="*/ 16415 h 21918"/>
              <a:gd name="connsiteX6" fmla="*/ 11953 w 22088"/>
              <a:gd name="connsiteY6" fmla="*/ 13508 h 21918"/>
              <a:gd name="connsiteX7" fmla="*/ 8332 w 22088"/>
              <a:gd name="connsiteY7" fmla="*/ 21918 h 21918"/>
              <a:gd name="connsiteX8" fmla="*/ 6953 w 22088"/>
              <a:gd name="connsiteY8" fmla="*/ 13857 h 21918"/>
              <a:gd name="connsiteX9" fmla="*/ 1271 w 22088"/>
              <a:gd name="connsiteY9" fmla="*/ 15743 h 21918"/>
              <a:gd name="connsiteX10" fmla="*/ 5277 w 22088"/>
              <a:gd name="connsiteY10" fmla="*/ 11203 h 21918"/>
              <a:gd name="connsiteX11" fmla="*/ 0 w 22088"/>
              <a:gd name="connsiteY11" fmla="*/ 9737 h 21918"/>
              <a:gd name="connsiteX12" fmla="*/ 5259 w 22088"/>
              <a:gd name="connsiteY12" fmla="*/ 8186 h 21918"/>
              <a:gd name="connsiteX13" fmla="*/ 217 w 22088"/>
              <a:gd name="connsiteY13" fmla="*/ 2613 h 21918"/>
              <a:gd name="connsiteX14" fmla="*/ 8761 w 22088"/>
              <a:gd name="connsiteY14" fmla="*/ 7157 h 21918"/>
              <a:gd name="connsiteX0" fmla="*/ 8761 w 22088"/>
              <a:gd name="connsiteY0" fmla="*/ 7157 h 21918"/>
              <a:gd name="connsiteX1" fmla="*/ 15107 w 22088"/>
              <a:gd name="connsiteY1" fmla="*/ 0 h 21918"/>
              <a:gd name="connsiteX2" fmla="*/ 12330 w 22088"/>
              <a:gd name="connsiteY2" fmla="*/ 8583 h 21918"/>
              <a:gd name="connsiteX3" fmla="*/ 19163 w 22088"/>
              <a:gd name="connsiteY3" fmla="*/ 7593 h 21918"/>
              <a:gd name="connsiteX4" fmla="*/ 16012 w 22088"/>
              <a:gd name="connsiteY4" fmla="*/ 9967 h 21918"/>
              <a:gd name="connsiteX5" fmla="*/ 22088 w 22088"/>
              <a:gd name="connsiteY5" fmla="*/ 16415 h 21918"/>
              <a:gd name="connsiteX6" fmla="*/ 11953 w 22088"/>
              <a:gd name="connsiteY6" fmla="*/ 13508 h 21918"/>
              <a:gd name="connsiteX7" fmla="*/ 8332 w 22088"/>
              <a:gd name="connsiteY7" fmla="*/ 21918 h 21918"/>
              <a:gd name="connsiteX8" fmla="*/ 6953 w 22088"/>
              <a:gd name="connsiteY8" fmla="*/ 13857 h 21918"/>
              <a:gd name="connsiteX9" fmla="*/ 1271 w 22088"/>
              <a:gd name="connsiteY9" fmla="*/ 15743 h 21918"/>
              <a:gd name="connsiteX10" fmla="*/ 5277 w 22088"/>
              <a:gd name="connsiteY10" fmla="*/ 11203 h 21918"/>
              <a:gd name="connsiteX11" fmla="*/ 0 w 22088"/>
              <a:gd name="connsiteY11" fmla="*/ 9737 h 21918"/>
              <a:gd name="connsiteX12" fmla="*/ 5259 w 22088"/>
              <a:gd name="connsiteY12" fmla="*/ 8186 h 21918"/>
              <a:gd name="connsiteX13" fmla="*/ 217 w 22088"/>
              <a:gd name="connsiteY13" fmla="*/ 2613 h 21918"/>
              <a:gd name="connsiteX14" fmla="*/ 8761 w 22088"/>
              <a:gd name="connsiteY14" fmla="*/ 7157 h 21918"/>
              <a:gd name="connsiteX0" fmla="*/ 8761 w 22088"/>
              <a:gd name="connsiteY0" fmla="*/ 7157 h 21918"/>
              <a:gd name="connsiteX1" fmla="*/ 15107 w 22088"/>
              <a:gd name="connsiteY1" fmla="*/ 0 h 21918"/>
              <a:gd name="connsiteX2" fmla="*/ 12330 w 22088"/>
              <a:gd name="connsiteY2" fmla="*/ 8583 h 21918"/>
              <a:gd name="connsiteX3" fmla="*/ 19163 w 22088"/>
              <a:gd name="connsiteY3" fmla="*/ 7593 h 21918"/>
              <a:gd name="connsiteX4" fmla="*/ 14021 w 22088"/>
              <a:gd name="connsiteY4" fmla="*/ 10900 h 21918"/>
              <a:gd name="connsiteX5" fmla="*/ 22088 w 22088"/>
              <a:gd name="connsiteY5" fmla="*/ 16415 h 21918"/>
              <a:gd name="connsiteX6" fmla="*/ 11953 w 22088"/>
              <a:gd name="connsiteY6" fmla="*/ 13508 h 21918"/>
              <a:gd name="connsiteX7" fmla="*/ 8332 w 22088"/>
              <a:gd name="connsiteY7" fmla="*/ 21918 h 21918"/>
              <a:gd name="connsiteX8" fmla="*/ 6953 w 22088"/>
              <a:gd name="connsiteY8" fmla="*/ 13857 h 21918"/>
              <a:gd name="connsiteX9" fmla="*/ 1271 w 22088"/>
              <a:gd name="connsiteY9" fmla="*/ 15743 h 21918"/>
              <a:gd name="connsiteX10" fmla="*/ 5277 w 22088"/>
              <a:gd name="connsiteY10" fmla="*/ 11203 h 21918"/>
              <a:gd name="connsiteX11" fmla="*/ 0 w 22088"/>
              <a:gd name="connsiteY11" fmla="*/ 9737 h 21918"/>
              <a:gd name="connsiteX12" fmla="*/ 5259 w 22088"/>
              <a:gd name="connsiteY12" fmla="*/ 8186 h 21918"/>
              <a:gd name="connsiteX13" fmla="*/ 217 w 22088"/>
              <a:gd name="connsiteY13" fmla="*/ 2613 h 21918"/>
              <a:gd name="connsiteX14" fmla="*/ 8761 w 22088"/>
              <a:gd name="connsiteY14" fmla="*/ 7157 h 2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088" h="21918">
                <a:moveTo>
                  <a:pt x="8761" y="7157"/>
                </a:moveTo>
                <a:lnTo>
                  <a:pt x="15107" y="0"/>
                </a:lnTo>
                <a:lnTo>
                  <a:pt x="12330" y="8583"/>
                </a:lnTo>
                <a:lnTo>
                  <a:pt x="19163" y="7593"/>
                </a:lnTo>
                <a:lnTo>
                  <a:pt x="14021" y="10900"/>
                </a:lnTo>
                <a:lnTo>
                  <a:pt x="22088" y="16415"/>
                </a:lnTo>
                <a:lnTo>
                  <a:pt x="11953" y="13508"/>
                </a:lnTo>
                <a:lnTo>
                  <a:pt x="8332" y="21918"/>
                </a:lnTo>
                <a:lnTo>
                  <a:pt x="6953" y="13857"/>
                </a:lnTo>
                <a:lnTo>
                  <a:pt x="1271" y="15743"/>
                </a:lnTo>
                <a:lnTo>
                  <a:pt x="5277" y="11203"/>
                </a:lnTo>
                <a:lnTo>
                  <a:pt x="0" y="9737"/>
                </a:lnTo>
                <a:lnTo>
                  <a:pt x="5259" y="8186"/>
                </a:lnTo>
                <a:lnTo>
                  <a:pt x="217" y="2613"/>
                </a:lnTo>
                <a:lnTo>
                  <a:pt x="8761" y="7157"/>
                </a:lnTo>
                <a:close/>
              </a:path>
            </a:pathLst>
          </a:custGeom>
          <a:gradFill flip="none" rotWithShape="1">
            <a:gsLst>
              <a:gs pos="69000">
                <a:schemeClr val="bg2"/>
              </a:gs>
              <a:gs pos="26000">
                <a:schemeClr val="bg2">
                  <a:lumMod val="60000"/>
                  <a:lumOff val="40000"/>
                </a:schemeClr>
              </a:gs>
              <a:gs pos="0">
                <a:schemeClr val="bg2">
                  <a:lumMod val="40000"/>
                  <a:lumOff val="60000"/>
                </a:schemeClr>
              </a:gs>
            </a:gsLst>
            <a:path path="circle">
              <a:fillToRect l="50000" t="50000" r="50000" b="50000"/>
            </a:path>
            <a:tileRect/>
          </a:gradFill>
          <a:ln w="6350" cap="flat" cmpd="sng" algn="ctr">
            <a:noFill/>
            <a:prstDash val="solid"/>
            <a:round/>
            <a:headEnd type="none" w="med" len="med"/>
            <a:tailEnd type="none" w="med" len="med"/>
          </a:ln>
          <a:effectLst/>
        </p:spPr>
        <p:txBody>
          <a:bodyPr vert="horz" wrap="square" lIns="24923" tIns="32400" rIns="24923" bIns="32400" numCol="1" rtlCol="0" anchor="ctr" anchorCtr="0" compatLnSpc="1">
            <a:prstTxWarp prst="textNoShape">
              <a:avLst/>
            </a:prstTxWarp>
          </a:bodyPr>
          <a:lstStyle/>
          <a:p>
            <a:pPr marL="0" marR="0" lvl="0" indent="0" algn="ctr" defTabSz="844083" rtl="0" eaLnBrk="1" fontAlgn="base" latinLnBrk="0" hangingPunct="1">
              <a:lnSpc>
                <a:spcPct val="100000"/>
              </a:lnSpc>
              <a:spcBef>
                <a:spcPts val="0"/>
              </a:spcBef>
              <a:spcAft>
                <a:spcPts val="0"/>
              </a:spcAft>
              <a:buClrTx/>
              <a:buSzTx/>
              <a:buFontTx/>
              <a:buNone/>
              <a:tabLst/>
              <a:defRPr/>
            </a:pPr>
            <a:endParaRPr kumimoji="0" lang="de-DE" sz="831" b="1" i="0" u="none" strike="noStrike" kern="1200" cap="none" spc="0" normalizeH="0" baseline="0" noProof="0" dirty="0">
              <a:ln>
                <a:noFill/>
              </a:ln>
              <a:solidFill>
                <a:srgbClr val="FFFFFF"/>
              </a:solidFill>
              <a:effectLst/>
              <a:uLnTx/>
              <a:uFillTx/>
              <a:latin typeface="Arial"/>
              <a:ea typeface="+mn-ea"/>
              <a:cs typeface="Arial" charset="0"/>
            </a:endParaRPr>
          </a:p>
        </p:txBody>
      </p:sp>
      <p:sp>
        <p:nvSpPr>
          <p:cNvPr id="48" name="Freeform 47"/>
          <p:cNvSpPr/>
          <p:nvPr/>
        </p:nvSpPr>
        <p:spPr>
          <a:xfrm>
            <a:off x="4533937" y="2489918"/>
            <a:ext cx="0" cy="2616923"/>
          </a:xfrm>
          <a:custGeom>
            <a:avLst/>
            <a:gdLst>
              <a:gd name="connsiteX0" fmla="*/ 0 w 862704"/>
              <a:gd name="connsiteY0" fmla="*/ 2349505 h 3940180"/>
              <a:gd name="connsiteX1" fmla="*/ 781050 w 862704"/>
              <a:gd name="connsiteY1" fmla="*/ 34930 h 3940180"/>
              <a:gd name="connsiteX2" fmla="*/ 800100 w 862704"/>
              <a:gd name="connsiteY2" fmla="*/ 3940180 h 3940180"/>
              <a:gd name="connsiteX0" fmla="*/ 0 w 862704"/>
              <a:gd name="connsiteY0" fmla="*/ 2349505 h 3940180"/>
              <a:gd name="connsiteX1" fmla="*/ 781050 w 862704"/>
              <a:gd name="connsiteY1" fmla="*/ 34930 h 3940180"/>
              <a:gd name="connsiteX2" fmla="*/ 800100 w 862704"/>
              <a:gd name="connsiteY2" fmla="*/ 3940180 h 3940180"/>
              <a:gd name="connsiteX0" fmla="*/ 0 w 862704"/>
              <a:gd name="connsiteY0" fmla="*/ 2314575 h 3905250"/>
              <a:gd name="connsiteX1" fmla="*/ 781050 w 862704"/>
              <a:gd name="connsiteY1" fmla="*/ 0 h 3905250"/>
              <a:gd name="connsiteX2" fmla="*/ 800100 w 862704"/>
              <a:gd name="connsiteY2" fmla="*/ 3905250 h 3905250"/>
              <a:gd name="connsiteX0" fmla="*/ 0 w 819897"/>
              <a:gd name="connsiteY0" fmla="*/ 2314575 h 3905250"/>
              <a:gd name="connsiteX1" fmla="*/ 781050 w 819897"/>
              <a:gd name="connsiteY1" fmla="*/ 0 h 3905250"/>
              <a:gd name="connsiteX2" fmla="*/ 800100 w 819897"/>
              <a:gd name="connsiteY2" fmla="*/ 3905250 h 3905250"/>
              <a:gd name="connsiteX0" fmla="*/ 0 w 800100"/>
              <a:gd name="connsiteY0" fmla="*/ 2314575 h 3905250"/>
              <a:gd name="connsiteX1" fmla="*/ 781050 w 800100"/>
              <a:gd name="connsiteY1" fmla="*/ 0 h 3905250"/>
              <a:gd name="connsiteX2" fmla="*/ 800100 w 800100"/>
              <a:gd name="connsiteY2" fmla="*/ 3905250 h 3905250"/>
              <a:gd name="connsiteX0" fmla="*/ 0 w 800100"/>
              <a:gd name="connsiteY0" fmla="*/ 2314575 h 3905250"/>
              <a:gd name="connsiteX1" fmla="*/ 781050 w 800100"/>
              <a:gd name="connsiteY1" fmla="*/ 0 h 3905250"/>
              <a:gd name="connsiteX2" fmla="*/ 800100 w 800100"/>
              <a:gd name="connsiteY2" fmla="*/ 3905250 h 3905250"/>
              <a:gd name="connsiteX0" fmla="*/ 0 w 800100"/>
              <a:gd name="connsiteY0" fmla="*/ 2390775 h 3981450"/>
              <a:gd name="connsiteX1" fmla="*/ 790575 w 800100"/>
              <a:gd name="connsiteY1" fmla="*/ 0 h 3981450"/>
              <a:gd name="connsiteX2" fmla="*/ 800100 w 800100"/>
              <a:gd name="connsiteY2" fmla="*/ 3981450 h 3981450"/>
              <a:gd name="connsiteX0" fmla="*/ 0 w 800100"/>
              <a:gd name="connsiteY0" fmla="*/ 2424486 h 4015161"/>
              <a:gd name="connsiteX1" fmla="*/ 799002 w 800100"/>
              <a:gd name="connsiteY1" fmla="*/ 0 h 4015161"/>
              <a:gd name="connsiteX2" fmla="*/ 800100 w 800100"/>
              <a:gd name="connsiteY2" fmla="*/ 4015161 h 4015161"/>
              <a:gd name="connsiteX0" fmla="*/ 0 w 800100"/>
              <a:gd name="connsiteY0" fmla="*/ 2416058 h 4006733"/>
              <a:gd name="connsiteX1" fmla="*/ 794788 w 800100"/>
              <a:gd name="connsiteY1" fmla="*/ 0 h 4006733"/>
              <a:gd name="connsiteX2" fmla="*/ 800100 w 800100"/>
              <a:gd name="connsiteY2" fmla="*/ 4006733 h 4006733"/>
              <a:gd name="connsiteX0" fmla="*/ 0 w 794788"/>
              <a:gd name="connsiteY0" fmla="*/ 2416058 h 3884532"/>
              <a:gd name="connsiteX1" fmla="*/ 794788 w 794788"/>
              <a:gd name="connsiteY1" fmla="*/ 0 h 3884532"/>
              <a:gd name="connsiteX2" fmla="*/ 791673 w 794788"/>
              <a:gd name="connsiteY2" fmla="*/ 3884532 h 3884532"/>
              <a:gd name="connsiteX0" fmla="*/ 0 w 794788"/>
              <a:gd name="connsiteY0" fmla="*/ 2416058 h 3968808"/>
              <a:gd name="connsiteX1" fmla="*/ 794788 w 794788"/>
              <a:gd name="connsiteY1" fmla="*/ 0 h 3968808"/>
              <a:gd name="connsiteX2" fmla="*/ 791673 w 794788"/>
              <a:gd name="connsiteY2" fmla="*/ 3968808 h 3968808"/>
              <a:gd name="connsiteX0" fmla="*/ 0 w 794788"/>
              <a:gd name="connsiteY0" fmla="*/ 2416058 h 4019374"/>
              <a:gd name="connsiteX1" fmla="*/ 794788 w 794788"/>
              <a:gd name="connsiteY1" fmla="*/ 0 h 4019374"/>
              <a:gd name="connsiteX2" fmla="*/ 791673 w 794788"/>
              <a:gd name="connsiteY2" fmla="*/ 4019374 h 4019374"/>
              <a:gd name="connsiteX0" fmla="*/ 0 w 794788"/>
              <a:gd name="connsiteY0" fmla="*/ 2416058 h 4019374"/>
              <a:gd name="connsiteX1" fmla="*/ 794788 w 794788"/>
              <a:gd name="connsiteY1" fmla="*/ 0 h 4019374"/>
              <a:gd name="connsiteX2" fmla="*/ 791673 w 794788"/>
              <a:gd name="connsiteY2" fmla="*/ 4019374 h 4019374"/>
              <a:gd name="connsiteX0" fmla="*/ 13014 w 13014"/>
              <a:gd name="connsiteY0" fmla="*/ 0 h 4019374"/>
              <a:gd name="connsiteX1" fmla="*/ 9899 w 13014"/>
              <a:gd name="connsiteY1" fmla="*/ 4019374 h 4019374"/>
              <a:gd name="connsiteX0" fmla="*/ 7878 w 13575"/>
              <a:gd name="connsiteY0" fmla="*/ 0 h 4064413"/>
              <a:gd name="connsiteX1" fmla="*/ 13575 w 13575"/>
              <a:gd name="connsiteY1" fmla="*/ 4064413 h 4064413"/>
              <a:gd name="connsiteX0" fmla="*/ 5883 w 11580"/>
              <a:gd name="connsiteY0" fmla="*/ 0 h 4064413"/>
              <a:gd name="connsiteX1" fmla="*/ 11580 w 11580"/>
              <a:gd name="connsiteY1" fmla="*/ 4064413 h 4064413"/>
              <a:gd name="connsiteX0" fmla="*/ 4817 w 12548"/>
              <a:gd name="connsiteY0" fmla="*/ 0 h 4080308"/>
              <a:gd name="connsiteX1" fmla="*/ 12548 w 12548"/>
              <a:gd name="connsiteY1" fmla="*/ 4080308 h 4080308"/>
              <a:gd name="connsiteX0" fmla="*/ 5159 w 12212"/>
              <a:gd name="connsiteY0" fmla="*/ 0 h 4059114"/>
              <a:gd name="connsiteX1" fmla="*/ 12212 w 12212"/>
              <a:gd name="connsiteY1" fmla="*/ 4059114 h 4059114"/>
              <a:gd name="connsiteX0" fmla="*/ 5883 w 11581"/>
              <a:gd name="connsiteY0" fmla="*/ 0 h 4069711"/>
              <a:gd name="connsiteX1" fmla="*/ 11581 w 11581"/>
              <a:gd name="connsiteY1" fmla="*/ 4069711 h 4069711"/>
              <a:gd name="connsiteX0" fmla="*/ 9732 w 9732"/>
              <a:gd name="connsiteY0" fmla="*/ 0 h 4085607"/>
              <a:gd name="connsiteX1" fmla="*/ 9330 w 9732"/>
              <a:gd name="connsiteY1" fmla="*/ 4085607 h 4085607"/>
              <a:gd name="connsiteX0" fmla="*/ 5425 w 5425"/>
              <a:gd name="connsiteY0" fmla="*/ 0 h 10000"/>
              <a:gd name="connsiteX1" fmla="*/ 5012 w 5425"/>
              <a:gd name="connsiteY1" fmla="*/ 10000 h 10000"/>
              <a:gd name="connsiteX0" fmla="*/ 5843 w 12785"/>
              <a:gd name="connsiteY0" fmla="*/ 0 h 10019"/>
              <a:gd name="connsiteX1" fmla="*/ 12785 w 12785"/>
              <a:gd name="connsiteY1" fmla="*/ 10019 h 10019"/>
            </a:gdLst>
            <a:ahLst/>
            <a:cxnLst>
              <a:cxn ang="0">
                <a:pos x="connsiteX0" y="connsiteY0"/>
              </a:cxn>
              <a:cxn ang="0">
                <a:pos x="connsiteX1" y="connsiteY1"/>
              </a:cxn>
            </a:cxnLst>
            <a:rect l="l" t="t" r="r" b="b"/>
            <a:pathLst>
              <a:path w="12785" h="10019">
                <a:moveTo>
                  <a:pt x="5843" y="0"/>
                </a:moveTo>
                <a:cubicBezTo>
                  <a:pt x="-1927" y="2875"/>
                  <a:pt x="-4039" y="5418"/>
                  <a:pt x="12785" y="10019"/>
                </a:cubicBezTo>
              </a:path>
            </a:pathLst>
          </a:custGeom>
          <a:ln w="25400" cap="rnd">
            <a:solidFill>
              <a:schemeClr val="bg2"/>
            </a:solidFill>
            <a:prstDash val="sysDash"/>
            <a:tailEnd type="triangle" w="med" len="lg"/>
          </a:ln>
          <a:effectLst>
            <a:glow rad="127000">
              <a:schemeClr val="bg1">
                <a:alpha val="35000"/>
              </a:schemeClr>
            </a:glow>
          </a:effectLst>
        </p:spPr>
        <p:txBody>
          <a:bodyPr rtlCol="0" anchor="ctr"/>
          <a:lstStyle/>
          <a:p>
            <a:pPr marL="0" marR="0" lvl="0" indent="0" algn="ctr" defTabSz="844083" rtl="0" eaLnBrk="1" fontAlgn="base" latinLnBrk="0" hangingPunct="1">
              <a:lnSpc>
                <a:spcPct val="100000"/>
              </a:lnSpc>
              <a:spcBef>
                <a:spcPct val="0"/>
              </a:spcBef>
              <a:spcAft>
                <a:spcPct val="0"/>
              </a:spcAft>
              <a:buClrTx/>
              <a:buSzTx/>
              <a:buFontTx/>
              <a:buNone/>
              <a:tabLst/>
              <a:defRPr/>
            </a:pPr>
            <a:endParaRPr kumimoji="0" lang="de-DE" sz="1038" b="0" i="0" u="none" strike="noStrike" kern="1200" cap="none" spc="0" normalizeH="0" baseline="0" noProof="0" dirty="0">
              <a:ln>
                <a:noFill/>
              </a:ln>
              <a:solidFill>
                <a:srgbClr val="E60000"/>
              </a:solidFill>
              <a:effectLst/>
              <a:uLnTx/>
              <a:uFillTx/>
              <a:latin typeface="Arial"/>
              <a:ea typeface="+mn-ea"/>
              <a:cs typeface="Arial" charset="0"/>
            </a:endParaRPr>
          </a:p>
        </p:txBody>
      </p:sp>
      <p:sp>
        <p:nvSpPr>
          <p:cNvPr id="49" name="Explosion 1 3"/>
          <p:cNvSpPr/>
          <p:nvPr/>
        </p:nvSpPr>
        <p:spPr bwMode="auto">
          <a:xfrm rot="1849630">
            <a:off x="4259519" y="2221242"/>
            <a:ext cx="696053" cy="562935"/>
          </a:xfrm>
          <a:custGeom>
            <a:avLst/>
            <a:gdLst>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8145 w 21600"/>
              <a:gd name="connsiteY9" fmla="*/ 18095 h 21600"/>
              <a:gd name="connsiteX10" fmla="*/ 14020 w 21600"/>
              <a:gd name="connsiteY10" fmla="*/ 14457 h 21600"/>
              <a:gd name="connsiteX11" fmla="*/ 13247 w 21600"/>
              <a:gd name="connsiteY11" fmla="*/ 19737 h 21600"/>
              <a:gd name="connsiteX12" fmla="*/ 10532 w 21600"/>
              <a:gd name="connsiteY12" fmla="*/ 14935 h 21600"/>
              <a:gd name="connsiteX13" fmla="*/ 8485 w 21600"/>
              <a:gd name="connsiteY13" fmla="*/ 21600 h 21600"/>
              <a:gd name="connsiteX14" fmla="*/ 7715 w 21600"/>
              <a:gd name="connsiteY14" fmla="*/ 15627 h 21600"/>
              <a:gd name="connsiteX15" fmla="*/ 4762 w 21600"/>
              <a:gd name="connsiteY15" fmla="*/ 17617 h 21600"/>
              <a:gd name="connsiteX16" fmla="*/ 5667 w 21600"/>
              <a:gd name="connsiteY16" fmla="*/ 13937 h 21600"/>
              <a:gd name="connsiteX17" fmla="*/ 135 w 21600"/>
              <a:gd name="connsiteY17" fmla="*/ 14587 h 21600"/>
              <a:gd name="connsiteX18" fmla="*/ 3722 w 21600"/>
              <a:gd name="connsiteY18" fmla="*/ 11775 h 21600"/>
              <a:gd name="connsiteX19" fmla="*/ 0 w 21600"/>
              <a:gd name="connsiteY19" fmla="*/ 8615 h 21600"/>
              <a:gd name="connsiteX20" fmla="*/ 4627 w 21600"/>
              <a:gd name="connsiteY20" fmla="*/ 7617 h 21600"/>
              <a:gd name="connsiteX21" fmla="*/ 370 w 21600"/>
              <a:gd name="connsiteY21" fmla="*/ 2295 h 21600"/>
              <a:gd name="connsiteX22" fmla="*/ 7312 w 21600"/>
              <a:gd name="connsiteY22" fmla="*/ 6320 h 21600"/>
              <a:gd name="connsiteX23" fmla="*/ 8352 w 21600"/>
              <a:gd name="connsiteY23" fmla="*/ 2295 h 21600"/>
              <a:gd name="connsiteX24" fmla="*/ 10800 w 21600"/>
              <a:gd name="connsiteY24"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8145 w 21600"/>
              <a:gd name="connsiteY9" fmla="*/ 18095 h 21600"/>
              <a:gd name="connsiteX10" fmla="*/ 14020 w 21600"/>
              <a:gd name="connsiteY10" fmla="*/ 14457 h 21600"/>
              <a:gd name="connsiteX11" fmla="*/ 10532 w 21600"/>
              <a:gd name="connsiteY11" fmla="*/ 14935 h 21600"/>
              <a:gd name="connsiteX12" fmla="*/ 8485 w 21600"/>
              <a:gd name="connsiteY12" fmla="*/ 21600 h 21600"/>
              <a:gd name="connsiteX13" fmla="*/ 7715 w 21600"/>
              <a:gd name="connsiteY13" fmla="*/ 15627 h 21600"/>
              <a:gd name="connsiteX14" fmla="*/ 4762 w 21600"/>
              <a:gd name="connsiteY14" fmla="*/ 17617 h 21600"/>
              <a:gd name="connsiteX15" fmla="*/ 5667 w 21600"/>
              <a:gd name="connsiteY15" fmla="*/ 13937 h 21600"/>
              <a:gd name="connsiteX16" fmla="*/ 135 w 21600"/>
              <a:gd name="connsiteY16" fmla="*/ 14587 h 21600"/>
              <a:gd name="connsiteX17" fmla="*/ 3722 w 21600"/>
              <a:gd name="connsiteY17" fmla="*/ 11775 h 21600"/>
              <a:gd name="connsiteX18" fmla="*/ 0 w 21600"/>
              <a:gd name="connsiteY18" fmla="*/ 8615 h 21600"/>
              <a:gd name="connsiteX19" fmla="*/ 4627 w 21600"/>
              <a:gd name="connsiteY19" fmla="*/ 7617 h 21600"/>
              <a:gd name="connsiteX20" fmla="*/ 370 w 21600"/>
              <a:gd name="connsiteY20" fmla="*/ 2295 h 21600"/>
              <a:gd name="connsiteX21" fmla="*/ 7312 w 21600"/>
              <a:gd name="connsiteY21" fmla="*/ 6320 h 21600"/>
              <a:gd name="connsiteX22" fmla="*/ 8352 w 21600"/>
              <a:gd name="connsiteY22" fmla="*/ 2295 h 21600"/>
              <a:gd name="connsiteX23" fmla="*/ 10800 w 21600"/>
              <a:gd name="connsiteY23"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8145 w 21600"/>
              <a:gd name="connsiteY9" fmla="*/ 18095 h 21600"/>
              <a:gd name="connsiteX10" fmla="*/ 10532 w 21600"/>
              <a:gd name="connsiteY10" fmla="*/ 149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9669 w 21600"/>
              <a:gd name="connsiteY9" fmla="*/ 19605 h 21600"/>
              <a:gd name="connsiteX10" fmla="*/ 10532 w 21600"/>
              <a:gd name="connsiteY10" fmla="*/ 149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9669 w 21600"/>
              <a:gd name="connsiteY9" fmla="*/ 19605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5210 w 21600"/>
              <a:gd name="connsiteY8" fmla="*/ 12884 h 21600"/>
              <a:gd name="connsiteX9" fmla="*/ 19669 w 21600"/>
              <a:gd name="connsiteY9" fmla="*/ 19605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5210 w 21600"/>
              <a:gd name="connsiteY8" fmla="*/ 12884 h 21600"/>
              <a:gd name="connsiteX9" fmla="*/ 19188 w 21600"/>
              <a:gd name="connsiteY9" fmla="*/ 18513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5210 w 21600"/>
              <a:gd name="connsiteY8" fmla="*/ 12884 h 21600"/>
              <a:gd name="connsiteX9" fmla="*/ 17478 w 21600"/>
              <a:gd name="connsiteY9" fmla="*/ 17771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4247"/>
              <a:gd name="connsiteY0" fmla="*/ 5800 h 21600"/>
              <a:gd name="connsiteX1" fmla="*/ 14522 w 24247"/>
              <a:gd name="connsiteY1" fmla="*/ 0 h 21600"/>
              <a:gd name="connsiteX2" fmla="*/ 14155 w 24247"/>
              <a:gd name="connsiteY2" fmla="*/ 5325 h 21600"/>
              <a:gd name="connsiteX3" fmla="*/ 18380 w 24247"/>
              <a:gd name="connsiteY3" fmla="*/ 4457 h 21600"/>
              <a:gd name="connsiteX4" fmla="*/ 16702 w 24247"/>
              <a:gd name="connsiteY4" fmla="*/ 7315 h 21600"/>
              <a:gd name="connsiteX5" fmla="*/ 21097 w 24247"/>
              <a:gd name="connsiteY5" fmla="*/ 8137 h 21600"/>
              <a:gd name="connsiteX6" fmla="*/ 17607 w 24247"/>
              <a:gd name="connsiteY6" fmla="*/ 10475 h 21600"/>
              <a:gd name="connsiteX7" fmla="*/ 24247 w 24247"/>
              <a:gd name="connsiteY7" fmla="*/ 13862 h 21600"/>
              <a:gd name="connsiteX8" fmla="*/ 15210 w 24247"/>
              <a:gd name="connsiteY8" fmla="*/ 12884 h 21600"/>
              <a:gd name="connsiteX9" fmla="*/ 17478 w 24247"/>
              <a:gd name="connsiteY9" fmla="*/ 17771 h 21600"/>
              <a:gd name="connsiteX10" fmla="*/ 10754 w 24247"/>
              <a:gd name="connsiteY10" fmla="*/ 14635 h 21600"/>
              <a:gd name="connsiteX11" fmla="*/ 8485 w 24247"/>
              <a:gd name="connsiteY11" fmla="*/ 21600 h 21600"/>
              <a:gd name="connsiteX12" fmla="*/ 7715 w 24247"/>
              <a:gd name="connsiteY12" fmla="*/ 15627 h 21600"/>
              <a:gd name="connsiteX13" fmla="*/ 4762 w 24247"/>
              <a:gd name="connsiteY13" fmla="*/ 17617 h 21600"/>
              <a:gd name="connsiteX14" fmla="*/ 5667 w 24247"/>
              <a:gd name="connsiteY14" fmla="*/ 13937 h 21600"/>
              <a:gd name="connsiteX15" fmla="*/ 135 w 24247"/>
              <a:gd name="connsiteY15" fmla="*/ 14587 h 21600"/>
              <a:gd name="connsiteX16" fmla="*/ 3722 w 24247"/>
              <a:gd name="connsiteY16" fmla="*/ 11775 h 21600"/>
              <a:gd name="connsiteX17" fmla="*/ 0 w 24247"/>
              <a:gd name="connsiteY17" fmla="*/ 8615 h 21600"/>
              <a:gd name="connsiteX18" fmla="*/ 4627 w 24247"/>
              <a:gd name="connsiteY18" fmla="*/ 7617 h 21600"/>
              <a:gd name="connsiteX19" fmla="*/ 370 w 24247"/>
              <a:gd name="connsiteY19" fmla="*/ 2295 h 21600"/>
              <a:gd name="connsiteX20" fmla="*/ 7312 w 24247"/>
              <a:gd name="connsiteY20" fmla="*/ 6320 h 21600"/>
              <a:gd name="connsiteX21" fmla="*/ 8352 w 24247"/>
              <a:gd name="connsiteY21" fmla="*/ 2295 h 21600"/>
              <a:gd name="connsiteX22" fmla="*/ 10800 w 24247"/>
              <a:gd name="connsiteY22" fmla="*/ 5800 h 21600"/>
              <a:gd name="connsiteX0" fmla="*/ 10800 w 24247"/>
              <a:gd name="connsiteY0" fmla="*/ 5800 h 21600"/>
              <a:gd name="connsiteX1" fmla="*/ 14522 w 24247"/>
              <a:gd name="connsiteY1" fmla="*/ 0 h 21600"/>
              <a:gd name="connsiteX2" fmla="*/ 14155 w 24247"/>
              <a:gd name="connsiteY2" fmla="*/ 5325 h 21600"/>
              <a:gd name="connsiteX3" fmla="*/ 18380 w 24247"/>
              <a:gd name="connsiteY3" fmla="*/ 4457 h 21600"/>
              <a:gd name="connsiteX4" fmla="*/ 16702 w 24247"/>
              <a:gd name="connsiteY4" fmla="*/ 7315 h 21600"/>
              <a:gd name="connsiteX5" fmla="*/ 20651 w 24247"/>
              <a:gd name="connsiteY5" fmla="*/ 7513 h 21600"/>
              <a:gd name="connsiteX6" fmla="*/ 17607 w 24247"/>
              <a:gd name="connsiteY6" fmla="*/ 10475 h 21600"/>
              <a:gd name="connsiteX7" fmla="*/ 24247 w 24247"/>
              <a:gd name="connsiteY7" fmla="*/ 13862 h 21600"/>
              <a:gd name="connsiteX8" fmla="*/ 15210 w 24247"/>
              <a:gd name="connsiteY8" fmla="*/ 12884 h 21600"/>
              <a:gd name="connsiteX9" fmla="*/ 17478 w 24247"/>
              <a:gd name="connsiteY9" fmla="*/ 17771 h 21600"/>
              <a:gd name="connsiteX10" fmla="*/ 10754 w 24247"/>
              <a:gd name="connsiteY10" fmla="*/ 14635 h 21600"/>
              <a:gd name="connsiteX11" fmla="*/ 8485 w 24247"/>
              <a:gd name="connsiteY11" fmla="*/ 21600 h 21600"/>
              <a:gd name="connsiteX12" fmla="*/ 7715 w 24247"/>
              <a:gd name="connsiteY12" fmla="*/ 15627 h 21600"/>
              <a:gd name="connsiteX13" fmla="*/ 4762 w 24247"/>
              <a:gd name="connsiteY13" fmla="*/ 17617 h 21600"/>
              <a:gd name="connsiteX14" fmla="*/ 5667 w 24247"/>
              <a:gd name="connsiteY14" fmla="*/ 13937 h 21600"/>
              <a:gd name="connsiteX15" fmla="*/ 135 w 24247"/>
              <a:gd name="connsiteY15" fmla="*/ 14587 h 21600"/>
              <a:gd name="connsiteX16" fmla="*/ 3722 w 24247"/>
              <a:gd name="connsiteY16" fmla="*/ 11775 h 21600"/>
              <a:gd name="connsiteX17" fmla="*/ 0 w 24247"/>
              <a:gd name="connsiteY17" fmla="*/ 8615 h 21600"/>
              <a:gd name="connsiteX18" fmla="*/ 4627 w 24247"/>
              <a:gd name="connsiteY18" fmla="*/ 7617 h 21600"/>
              <a:gd name="connsiteX19" fmla="*/ 370 w 24247"/>
              <a:gd name="connsiteY19" fmla="*/ 2295 h 21600"/>
              <a:gd name="connsiteX20" fmla="*/ 7312 w 24247"/>
              <a:gd name="connsiteY20" fmla="*/ 6320 h 21600"/>
              <a:gd name="connsiteX21" fmla="*/ 8352 w 24247"/>
              <a:gd name="connsiteY21" fmla="*/ 2295 h 21600"/>
              <a:gd name="connsiteX22" fmla="*/ 10800 w 24247"/>
              <a:gd name="connsiteY22" fmla="*/ 5800 h 21600"/>
              <a:gd name="connsiteX0" fmla="*/ 10800 w 24247"/>
              <a:gd name="connsiteY0" fmla="*/ 5800 h 21600"/>
              <a:gd name="connsiteX1" fmla="*/ 14522 w 24247"/>
              <a:gd name="connsiteY1" fmla="*/ 0 h 21600"/>
              <a:gd name="connsiteX2" fmla="*/ 14155 w 24247"/>
              <a:gd name="connsiteY2" fmla="*/ 5325 h 21600"/>
              <a:gd name="connsiteX3" fmla="*/ 16702 w 24247"/>
              <a:gd name="connsiteY3" fmla="*/ 7315 h 21600"/>
              <a:gd name="connsiteX4" fmla="*/ 20651 w 24247"/>
              <a:gd name="connsiteY4" fmla="*/ 7513 h 21600"/>
              <a:gd name="connsiteX5" fmla="*/ 17607 w 24247"/>
              <a:gd name="connsiteY5" fmla="*/ 10475 h 21600"/>
              <a:gd name="connsiteX6" fmla="*/ 24247 w 24247"/>
              <a:gd name="connsiteY6" fmla="*/ 13862 h 21600"/>
              <a:gd name="connsiteX7" fmla="*/ 15210 w 24247"/>
              <a:gd name="connsiteY7" fmla="*/ 12884 h 21600"/>
              <a:gd name="connsiteX8" fmla="*/ 17478 w 24247"/>
              <a:gd name="connsiteY8" fmla="*/ 17771 h 21600"/>
              <a:gd name="connsiteX9" fmla="*/ 10754 w 24247"/>
              <a:gd name="connsiteY9" fmla="*/ 14635 h 21600"/>
              <a:gd name="connsiteX10" fmla="*/ 8485 w 24247"/>
              <a:gd name="connsiteY10" fmla="*/ 21600 h 21600"/>
              <a:gd name="connsiteX11" fmla="*/ 7715 w 24247"/>
              <a:gd name="connsiteY11" fmla="*/ 15627 h 21600"/>
              <a:gd name="connsiteX12" fmla="*/ 4762 w 24247"/>
              <a:gd name="connsiteY12" fmla="*/ 17617 h 21600"/>
              <a:gd name="connsiteX13" fmla="*/ 5667 w 24247"/>
              <a:gd name="connsiteY13" fmla="*/ 13937 h 21600"/>
              <a:gd name="connsiteX14" fmla="*/ 135 w 24247"/>
              <a:gd name="connsiteY14" fmla="*/ 14587 h 21600"/>
              <a:gd name="connsiteX15" fmla="*/ 3722 w 24247"/>
              <a:gd name="connsiteY15" fmla="*/ 11775 h 21600"/>
              <a:gd name="connsiteX16" fmla="*/ 0 w 24247"/>
              <a:gd name="connsiteY16" fmla="*/ 8615 h 21600"/>
              <a:gd name="connsiteX17" fmla="*/ 4627 w 24247"/>
              <a:gd name="connsiteY17" fmla="*/ 7617 h 21600"/>
              <a:gd name="connsiteX18" fmla="*/ 370 w 24247"/>
              <a:gd name="connsiteY18" fmla="*/ 2295 h 21600"/>
              <a:gd name="connsiteX19" fmla="*/ 7312 w 24247"/>
              <a:gd name="connsiteY19" fmla="*/ 6320 h 21600"/>
              <a:gd name="connsiteX20" fmla="*/ 8352 w 24247"/>
              <a:gd name="connsiteY20" fmla="*/ 2295 h 21600"/>
              <a:gd name="connsiteX21" fmla="*/ 10800 w 24247"/>
              <a:gd name="connsiteY21" fmla="*/ 5800 h 21600"/>
              <a:gd name="connsiteX0" fmla="*/ 10800 w 24247"/>
              <a:gd name="connsiteY0" fmla="*/ 5800 h 21600"/>
              <a:gd name="connsiteX1" fmla="*/ 14522 w 24247"/>
              <a:gd name="connsiteY1" fmla="*/ 0 h 21600"/>
              <a:gd name="connsiteX2" fmla="*/ 16702 w 24247"/>
              <a:gd name="connsiteY2" fmla="*/ 7315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5534 w 24247"/>
              <a:gd name="connsiteY4" fmla="*/ 10202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19316 w 24247"/>
              <a:gd name="connsiteY3" fmla="*/ 7275 h 21600"/>
              <a:gd name="connsiteX4" fmla="*/ 15534 w 24247"/>
              <a:gd name="connsiteY4" fmla="*/ 10202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5667 w 24247"/>
              <a:gd name="connsiteY11" fmla="*/ 13937 h 21600"/>
              <a:gd name="connsiteX12" fmla="*/ 135 w 24247"/>
              <a:gd name="connsiteY12" fmla="*/ 14587 h 21600"/>
              <a:gd name="connsiteX13" fmla="*/ 3722 w 24247"/>
              <a:gd name="connsiteY13" fmla="*/ 11775 h 21600"/>
              <a:gd name="connsiteX14" fmla="*/ 0 w 24247"/>
              <a:gd name="connsiteY14" fmla="*/ 8615 h 21600"/>
              <a:gd name="connsiteX15" fmla="*/ 4627 w 24247"/>
              <a:gd name="connsiteY15" fmla="*/ 7617 h 21600"/>
              <a:gd name="connsiteX16" fmla="*/ 370 w 24247"/>
              <a:gd name="connsiteY16" fmla="*/ 2295 h 21600"/>
              <a:gd name="connsiteX17" fmla="*/ 7312 w 24247"/>
              <a:gd name="connsiteY17" fmla="*/ 6320 h 21600"/>
              <a:gd name="connsiteX18" fmla="*/ 8352 w 24247"/>
              <a:gd name="connsiteY18" fmla="*/ 2295 h 21600"/>
              <a:gd name="connsiteX19" fmla="*/ 10800 w 24247"/>
              <a:gd name="connsiteY19"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5667 w 24247"/>
              <a:gd name="connsiteY10" fmla="*/ 13937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5667 w 24247"/>
              <a:gd name="connsiteY10" fmla="*/ 13937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5667 w 24247"/>
              <a:gd name="connsiteY10" fmla="*/ 13937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424 w 24247"/>
              <a:gd name="connsiteY11" fmla="*/ 15425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424 w 24247"/>
              <a:gd name="connsiteY11" fmla="*/ 15425 h 21600"/>
              <a:gd name="connsiteX12" fmla="*/ 5290 w 24247"/>
              <a:gd name="connsiteY12" fmla="*/ 11461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424 w 24247"/>
              <a:gd name="connsiteY11" fmla="*/ 15425 h 21600"/>
              <a:gd name="connsiteX12" fmla="*/ 5524 w 24247"/>
              <a:gd name="connsiteY12" fmla="*/ 11317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371 w 24094"/>
              <a:gd name="connsiteY12" fmla="*/ 11317 h 21600"/>
              <a:gd name="connsiteX13" fmla="*/ 0 w 24094"/>
              <a:gd name="connsiteY13" fmla="*/ 9419 h 21600"/>
              <a:gd name="connsiteX14" fmla="*/ 4474 w 24094"/>
              <a:gd name="connsiteY14" fmla="*/ 7617 h 21600"/>
              <a:gd name="connsiteX15" fmla="*/ 217 w 24094"/>
              <a:gd name="connsiteY15" fmla="*/ 2295 h 21600"/>
              <a:gd name="connsiteX16" fmla="*/ 7159 w 24094"/>
              <a:gd name="connsiteY16" fmla="*/ 6320 h 21600"/>
              <a:gd name="connsiteX17" fmla="*/ 8199 w 24094"/>
              <a:gd name="connsiteY17" fmla="*/ 2295 h 21600"/>
              <a:gd name="connsiteX18" fmla="*/ 10647 w 24094"/>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277 w 24094"/>
              <a:gd name="connsiteY12" fmla="*/ 10885 h 21600"/>
              <a:gd name="connsiteX13" fmla="*/ 0 w 24094"/>
              <a:gd name="connsiteY13" fmla="*/ 9419 h 21600"/>
              <a:gd name="connsiteX14" fmla="*/ 4474 w 24094"/>
              <a:gd name="connsiteY14" fmla="*/ 7617 h 21600"/>
              <a:gd name="connsiteX15" fmla="*/ 217 w 24094"/>
              <a:gd name="connsiteY15" fmla="*/ 2295 h 21600"/>
              <a:gd name="connsiteX16" fmla="*/ 7159 w 24094"/>
              <a:gd name="connsiteY16" fmla="*/ 6320 h 21600"/>
              <a:gd name="connsiteX17" fmla="*/ 8199 w 24094"/>
              <a:gd name="connsiteY17" fmla="*/ 2295 h 21600"/>
              <a:gd name="connsiteX18" fmla="*/ 10647 w 24094"/>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277 w 24094"/>
              <a:gd name="connsiteY12" fmla="*/ 10885 h 21600"/>
              <a:gd name="connsiteX13" fmla="*/ 0 w 24094"/>
              <a:gd name="connsiteY13" fmla="*/ 9419 h 21600"/>
              <a:gd name="connsiteX14" fmla="*/ 5259 w 24094"/>
              <a:gd name="connsiteY14" fmla="*/ 7868 h 21600"/>
              <a:gd name="connsiteX15" fmla="*/ 217 w 24094"/>
              <a:gd name="connsiteY15" fmla="*/ 2295 h 21600"/>
              <a:gd name="connsiteX16" fmla="*/ 7159 w 24094"/>
              <a:gd name="connsiteY16" fmla="*/ 6320 h 21600"/>
              <a:gd name="connsiteX17" fmla="*/ 8199 w 24094"/>
              <a:gd name="connsiteY17" fmla="*/ 2295 h 21600"/>
              <a:gd name="connsiteX18" fmla="*/ 10647 w 24094"/>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277 w 24094"/>
              <a:gd name="connsiteY12" fmla="*/ 10885 h 21600"/>
              <a:gd name="connsiteX13" fmla="*/ 0 w 24094"/>
              <a:gd name="connsiteY13" fmla="*/ 9419 h 21600"/>
              <a:gd name="connsiteX14" fmla="*/ 5259 w 24094"/>
              <a:gd name="connsiteY14" fmla="*/ 7868 h 21600"/>
              <a:gd name="connsiteX15" fmla="*/ 217 w 24094"/>
              <a:gd name="connsiteY15" fmla="*/ 2295 h 21600"/>
              <a:gd name="connsiteX16" fmla="*/ 7428 w 24094"/>
              <a:gd name="connsiteY16" fmla="*/ 5827 h 21600"/>
              <a:gd name="connsiteX17" fmla="*/ 8199 w 24094"/>
              <a:gd name="connsiteY17" fmla="*/ 2295 h 21600"/>
              <a:gd name="connsiteX18" fmla="*/ 10647 w 24094"/>
              <a:gd name="connsiteY18" fmla="*/ 5800 h 21600"/>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601 w 24094"/>
              <a:gd name="connsiteY8" fmla="*/ 14953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601 w 24094"/>
              <a:gd name="connsiteY8" fmla="*/ 14953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601 w 24094"/>
              <a:gd name="connsiteY8" fmla="*/ 14953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284 w 24094"/>
              <a:gd name="connsiteY8" fmla="*/ 12901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287 w 24094"/>
              <a:gd name="connsiteY8" fmla="*/ 13456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415 w 24094"/>
              <a:gd name="connsiteY8" fmla="*/ 13844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19979"/>
              <a:gd name="connsiteX1" fmla="*/ 15107 w 24094"/>
              <a:gd name="connsiteY1" fmla="*/ 0 h 19979"/>
              <a:gd name="connsiteX2" fmla="*/ 14101 w 24094"/>
              <a:gd name="connsiteY2" fmla="*/ 7264 h 19979"/>
              <a:gd name="connsiteX3" fmla="*/ 19163 w 24094"/>
              <a:gd name="connsiteY3" fmla="*/ 7593 h 19979"/>
              <a:gd name="connsiteX4" fmla="*/ 16012 w 24094"/>
              <a:gd name="connsiteY4" fmla="*/ 9967 h 19979"/>
              <a:gd name="connsiteX5" fmla="*/ 24094 w 24094"/>
              <a:gd name="connsiteY5" fmla="*/ 14180 h 19979"/>
              <a:gd name="connsiteX6" fmla="*/ 15057 w 24094"/>
              <a:gd name="connsiteY6" fmla="*/ 13202 h 19979"/>
              <a:gd name="connsiteX7" fmla="*/ 17325 w 24094"/>
              <a:gd name="connsiteY7" fmla="*/ 18089 h 19979"/>
              <a:gd name="connsiteX8" fmla="*/ 10415 w 24094"/>
              <a:gd name="connsiteY8" fmla="*/ 13844 h 19979"/>
              <a:gd name="connsiteX9" fmla="*/ 7917 w 24094"/>
              <a:gd name="connsiteY9" fmla="*/ 19979 h 19979"/>
              <a:gd name="connsiteX10" fmla="*/ 6953 w 24094"/>
              <a:gd name="connsiteY10" fmla="*/ 13857 h 19979"/>
              <a:gd name="connsiteX11" fmla="*/ 1271 w 24094"/>
              <a:gd name="connsiteY11" fmla="*/ 15743 h 19979"/>
              <a:gd name="connsiteX12" fmla="*/ 5277 w 24094"/>
              <a:gd name="connsiteY12" fmla="*/ 11203 h 19979"/>
              <a:gd name="connsiteX13" fmla="*/ 0 w 24094"/>
              <a:gd name="connsiteY13" fmla="*/ 9737 h 19979"/>
              <a:gd name="connsiteX14" fmla="*/ 5259 w 24094"/>
              <a:gd name="connsiteY14" fmla="*/ 8186 h 19979"/>
              <a:gd name="connsiteX15" fmla="*/ 217 w 24094"/>
              <a:gd name="connsiteY15" fmla="*/ 2613 h 19979"/>
              <a:gd name="connsiteX16" fmla="*/ 7428 w 24094"/>
              <a:gd name="connsiteY16" fmla="*/ 6145 h 19979"/>
              <a:gd name="connsiteX17" fmla="*/ 8199 w 24094"/>
              <a:gd name="connsiteY17" fmla="*/ 2613 h 19979"/>
              <a:gd name="connsiteX18" fmla="*/ 10647 w 24094"/>
              <a:gd name="connsiteY18" fmla="*/ 6118 h 19979"/>
              <a:gd name="connsiteX0" fmla="*/ 10647 w 24094"/>
              <a:gd name="connsiteY0" fmla="*/ 6118 h 19979"/>
              <a:gd name="connsiteX1" fmla="*/ 15107 w 24094"/>
              <a:gd name="connsiteY1" fmla="*/ 0 h 19979"/>
              <a:gd name="connsiteX2" fmla="*/ 14101 w 24094"/>
              <a:gd name="connsiteY2" fmla="*/ 7264 h 19979"/>
              <a:gd name="connsiteX3" fmla="*/ 19163 w 24094"/>
              <a:gd name="connsiteY3" fmla="*/ 7593 h 19979"/>
              <a:gd name="connsiteX4" fmla="*/ 16012 w 24094"/>
              <a:gd name="connsiteY4" fmla="*/ 9967 h 19979"/>
              <a:gd name="connsiteX5" fmla="*/ 24094 w 24094"/>
              <a:gd name="connsiteY5" fmla="*/ 14180 h 19979"/>
              <a:gd name="connsiteX6" fmla="*/ 15057 w 24094"/>
              <a:gd name="connsiteY6" fmla="*/ 13202 h 19979"/>
              <a:gd name="connsiteX7" fmla="*/ 16510 w 24094"/>
              <a:gd name="connsiteY7" fmla="*/ 17331 h 19979"/>
              <a:gd name="connsiteX8" fmla="*/ 10415 w 24094"/>
              <a:gd name="connsiteY8" fmla="*/ 13844 h 19979"/>
              <a:gd name="connsiteX9" fmla="*/ 7917 w 24094"/>
              <a:gd name="connsiteY9" fmla="*/ 19979 h 19979"/>
              <a:gd name="connsiteX10" fmla="*/ 6953 w 24094"/>
              <a:gd name="connsiteY10" fmla="*/ 13857 h 19979"/>
              <a:gd name="connsiteX11" fmla="*/ 1271 w 24094"/>
              <a:gd name="connsiteY11" fmla="*/ 15743 h 19979"/>
              <a:gd name="connsiteX12" fmla="*/ 5277 w 24094"/>
              <a:gd name="connsiteY12" fmla="*/ 11203 h 19979"/>
              <a:gd name="connsiteX13" fmla="*/ 0 w 24094"/>
              <a:gd name="connsiteY13" fmla="*/ 9737 h 19979"/>
              <a:gd name="connsiteX14" fmla="*/ 5259 w 24094"/>
              <a:gd name="connsiteY14" fmla="*/ 8186 h 19979"/>
              <a:gd name="connsiteX15" fmla="*/ 217 w 24094"/>
              <a:gd name="connsiteY15" fmla="*/ 2613 h 19979"/>
              <a:gd name="connsiteX16" fmla="*/ 7428 w 24094"/>
              <a:gd name="connsiteY16" fmla="*/ 6145 h 19979"/>
              <a:gd name="connsiteX17" fmla="*/ 8199 w 24094"/>
              <a:gd name="connsiteY17" fmla="*/ 2613 h 19979"/>
              <a:gd name="connsiteX18" fmla="*/ 10647 w 24094"/>
              <a:gd name="connsiteY18" fmla="*/ 6118 h 1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094" h="19979">
                <a:moveTo>
                  <a:pt x="10647" y="6118"/>
                </a:moveTo>
                <a:lnTo>
                  <a:pt x="15107" y="0"/>
                </a:lnTo>
                <a:lnTo>
                  <a:pt x="14101" y="7264"/>
                </a:lnTo>
                <a:lnTo>
                  <a:pt x="19163" y="7593"/>
                </a:lnTo>
                <a:lnTo>
                  <a:pt x="16012" y="9967"/>
                </a:lnTo>
                <a:lnTo>
                  <a:pt x="24094" y="14180"/>
                </a:lnTo>
                <a:lnTo>
                  <a:pt x="15057" y="13202"/>
                </a:lnTo>
                <a:lnTo>
                  <a:pt x="16510" y="17331"/>
                </a:lnTo>
                <a:lnTo>
                  <a:pt x="10415" y="13844"/>
                </a:lnTo>
                <a:lnTo>
                  <a:pt x="7917" y="19979"/>
                </a:lnTo>
                <a:lnTo>
                  <a:pt x="6953" y="13857"/>
                </a:lnTo>
                <a:lnTo>
                  <a:pt x="1271" y="15743"/>
                </a:lnTo>
                <a:lnTo>
                  <a:pt x="5277" y="11203"/>
                </a:lnTo>
                <a:lnTo>
                  <a:pt x="0" y="9737"/>
                </a:lnTo>
                <a:lnTo>
                  <a:pt x="5259" y="8186"/>
                </a:lnTo>
                <a:lnTo>
                  <a:pt x="217" y="2613"/>
                </a:lnTo>
                <a:lnTo>
                  <a:pt x="7428" y="6145"/>
                </a:lnTo>
                <a:lnTo>
                  <a:pt x="8199" y="2613"/>
                </a:lnTo>
                <a:lnTo>
                  <a:pt x="10647" y="6118"/>
                </a:lnTo>
                <a:close/>
              </a:path>
            </a:pathLst>
          </a:custGeom>
          <a:gradFill flip="none" rotWithShape="1">
            <a:gsLst>
              <a:gs pos="69000">
                <a:schemeClr val="bg2"/>
              </a:gs>
              <a:gs pos="26000">
                <a:schemeClr val="bg2">
                  <a:lumMod val="60000"/>
                  <a:lumOff val="40000"/>
                </a:schemeClr>
              </a:gs>
              <a:gs pos="0">
                <a:schemeClr val="bg2">
                  <a:lumMod val="40000"/>
                  <a:lumOff val="60000"/>
                </a:schemeClr>
              </a:gs>
            </a:gsLst>
            <a:path path="circle">
              <a:fillToRect l="50000" t="50000" r="50000" b="50000"/>
            </a:path>
            <a:tileRect/>
          </a:gradFill>
          <a:ln w="6350" cap="flat" cmpd="sng" algn="ctr">
            <a:noFill/>
            <a:prstDash val="solid"/>
            <a:round/>
            <a:headEnd type="none" w="med" len="med"/>
            <a:tailEnd type="none" w="med" len="med"/>
          </a:ln>
          <a:effectLst/>
        </p:spPr>
        <p:txBody>
          <a:bodyPr vert="horz" wrap="square" lIns="24923" tIns="32400" rIns="24923" bIns="32400" numCol="1" rtlCol="0" anchor="ctr" anchorCtr="0" compatLnSpc="1">
            <a:prstTxWarp prst="textNoShape">
              <a:avLst/>
            </a:prstTxWarp>
          </a:bodyPr>
          <a:lstStyle/>
          <a:p>
            <a:pPr marL="0" marR="0" lvl="0" indent="0" algn="ctr" defTabSz="844083" rtl="0" eaLnBrk="1" fontAlgn="base" latinLnBrk="0" hangingPunct="1">
              <a:lnSpc>
                <a:spcPct val="100000"/>
              </a:lnSpc>
              <a:spcBef>
                <a:spcPts val="0"/>
              </a:spcBef>
              <a:spcAft>
                <a:spcPts val="0"/>
              </a:spcAft>
              <a:buClrTx/>
              <a:buSzTx/>
              <a:buFontTx/>
              <a:buNone/>
              <a:tabLst/>
              <a:defRPr/>
            </a:pPr>
            <a:endParaRPr kumimoji="0" lang="de-DE" sz="831" b="1" i="0" u="none" strike="noStrike" kern="1200" cap="none" spc="0" normalizeH="0" baseline="0" noProof="0" dirty="0">
              <a:ln>
                <a:noFill/>
              </a:ln>
              <a:solidFill>
                <a:srgbClr val="FFFFFF"/>
              </a:solidFill>
              <a:effectLst/>
              <a:uLnTx/>
              <a:uFillTx/>
              <a:latin typeface="Arial"/>
              <a:ea typeface="+mn-ea"/>
              <a:cs typeface="Arial" charset="0"/>
            </a:endParaRPr>
          </a:p>
        </p:txBody>
      </p:sp>
      <p:sp>
        <p:nvSpPr>
          <p:cNvPr id="50" name="Explosion 1 3"/>
          <p:cNvSpPr/>
          <p:nvPr/>
        </p:nvSpPr>
        <p:spPr bwMode="auto">
          <a:xfrm rot="7956911">
            <a:off x="4294439" y="2948941"/>
            <a:ext cx="219182" cy="159258"/>
          </a:xfrm>
          <a:custGeom>
            <a:avLst/>
            <a:gdLst>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8145 w 21600"/>
              <a:gd name="connsiteY9" fmla="*/ 18095 h 21600"/>
              <a:gd name="connsiteX10" fmla="*/ 14020 w 21600"/>
              <a:gd name="connsiteY10" fmla="*/ 14457 h 21600"/>
              <a:gd name="connsiteX11" fmla="*/ 13247 w 21600"/>
              <a:gd name="connsiteY11" fmla="*/ 19737 h 21600"/>
              <a:gd name="connsiteX12" fmla="*/ 10532 w 21600"/>
              <a:gd name="connsiteY12" fmla="*/ 14935 h 21600"/>
              <a:gd name="connsiteX13" fmla="*/ 8485 w 21600"/>
              <a:gd name="connsiteY13" fmla="*/ 21600 h 21600"/>
              <a:gd name="connsiteX14" fmla="*/ 7715 w 21600"/>
              <a:gd name="connsiteY14" fmla="*/ 15627 h 21600"/>
              <a:gd name="connsiteX15" fmla="*/ 4762 w 21600"/>
              <a:gd name="connsiteY15" fmla="*/ 17617 h 21600"/>
              <a:gd name="connsiteX16" fmla="*/ 5667 w 21600"/>
              <a:gd name="connsiteY16" fmla="*/ 13937 h 21600"/>
              <a:gd name="connsiteX17" fmla="*/ 135 w 21600"/>
              <a:gd name="connsiteY17" fmla="*/ 14587 h 21600"/>
              <a:gd name="connsiteX18" fmla="*/ 3722 w 21600"/>
              <a:gd name="connsiteY18" fmla="*/ 11775 h 21600"/>
              <a:gd name="connsiteX19" fmla="*/ 0 w 21600"/>
              <a:gd name="connsiteY19" fmla="*/ 8615 h 21600"/>
              <a:gd name="connsiteX20" fmla="*/ 4627 w 21600"/>
              <a:gd name="connsiteY20" fmla="*/ 7617 h 21600"/>
              <a:gd name="connsiteX21" fmla="*/ 370 w 21600"/>
              <a:gd name="connsiteY21" fmla="*/ 2295 h 21600"/>
              <a:gd name="connsiteX22" fmla="*/ 7312 w 21600"/>
              <a:gd name="connsiteY22" fmla="*/ 6320 h 21600"/>
              <a:gd name="connsiteX23" fmla="*/ 8352 w 21600"/>
              <a:gd name="connsiteY23" fmla="*/ 2295 h 21600"/>
              <a:gd name="connsiteX24" fmla="*/ 10800 w 21600"/>
              <a:gd name="connsiteY24"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8145 w 21600"/>
              <a:gd name="connsiteY9" fmla="*/ 18095 h 21600"/>
              <a:gd name="connsiteX10" fmla="*/ 14020 w 21600"/>
              <a:gd name="connsiteY10" fmla="*/ 14457 h 21600"/>
              <a:gd name="connsiteX11" fmla="*/ 10532 w 21600"/>
              <a:gd name="connsiteY11" fmla="*/ 14935 h 21600"/>
              <a:gd name="connsiteX12" fmla="*/ 8485 w 21600"/>
              <a:gd name="connsiteY12" fmla="*/ 21600 h 21600"/>
              <a:gd name="connsiteX13" fmla="*/ 7715 w 21600"/>
              <a:gd name="connsiteY13" fmla="*/ 15627 h 21600"/>
              <a:gd name="connsiteX14" fmla="*/ 4762 w 21600"/>
              <a:gd name="connsiteY14" fmla="*/ 17617 h 21600"/>
              <a:gd name="connsiteX15" fmla="*/ 5667 w 21600"/>
              <a:gd name="connsiteY15" fmla="*/ 13937 h 21600"/>
              <a:gd name="connsiteX16" fmla="*/ 135 w 21600"/>
              <a:gd name="connsiteY16" fmla="*/ 14587 h 21600"/>
              <a:gd name="connsiteX17" fmla="*/ 3722 w 21600"/>
              <a:gd name="connsiteY17" fmla="*/ 11775 h 21600"/>
              <a:gd name="connsiteX18" fmla="*/ 0 w 21600"/>
              <a:gd name="connsiteY18" fmla="*/ 8615 h 21600"/>
              <a:gd name="connsiteX19" fmla="*/ 4627 w 21600"/>
              <a:gd name="connsiteY19" fmla="*/ 7617 h 21600"/>
              <a:gd name="connsiteX20" fmla="*/ 370 w 21600"/>
              <a:gd name="connsiteY20" fmla="*/ 2295 h 21600"/>
              <a:gd name="connsiteX21" fmla="*/ 7312 w 21600"/>
              <a:gd name="connsiteY21" fmla="*/ 6320 h 21600"/>
              <a:gd name="connsiteX22" fmla="*/ 8352 w 21600"/>
              <a:gd name="connsiteY22" fmla="*/ 2295 h 21600"/>
              <a:gd name="connsiteX23" fmla="*/ 10800 w 21600"/>
              <a:gd name="connsiteY23"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8145 w 21600"/>
              <a:gd name="connsiteY9" fmla="*/ 18095 h 21600"/>
              <a:gd name="connsiteX10" fmla="*/ 10532 w 21600"/>
              <a:gd name="connsiteY10" fmla="*/ 149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9669 w 21600"/>
              <a:gd name="connsiteY9" fmla="*/ 19605 h 21600"/>
              <a:gd name="connsiteX10" fmla="*/ 10532 w 21600"/>
              <a:gd name="connsiteY10" fmla="*/ 149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6837 w 21600"/>
              <a:gd name="connsiteY8" fmla="*/ 12942 h 21600"/>
              <a:gd name="connsiteX9" fmla="*/ 19669 w 21600"/>
              <a:gd name="connsiteY9" fmla="*/ 19605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5210 w 21600"/>
              <a:gd name="connsiteY8" fmla="*/ 12884 h 21600"/>
              <a:gd name="connsiteX9" fmla="*/ 19669 w 21600"/>
              <a:gd name="connsiteY9" fmla="*/ 19605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5210 w 21600"/>
              <a:gd name="connsiteY8" fmla="*/ 12884 h 21600"/>
              <a:gd name="connsiteX9" fmla="*/ 19188 w 21600"/>
              <a:gd name="connsiteY9" fmla="*/ 18513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1600"/>
              <a:gd name="connsiteY0" fmla="*/ 5800 h 21600"/>
              <a:gd name="connsiteX1" fmla="*/ 14522 w 21600"/>
              <a:gd name="connsiteY1" fmla="*/ 0 h 21600"/>
              <a:gd name="connsiteX2" fmla="*/ 14155 w 21600"/>
              <a:gd name="connsiteY2" fmla="*/ 5325 h 21600"/>
              <a:gd name="connsiteX3" fmla="*/ 18380 w 21600"/>
              <a:gd name="connsiteY3" fmla="*/ 4457 h 21600"/>
              <a:gd name="connsiteX4" fmla="*/ 16702 w 21600"/>
              <a:gd name="connsiteY4" fmla="*/ 7315 h 21600"/>
              <a:gd name="connsiteX5" fmla="*/ 21097 w 21600"/>
              <a:gd name="connsiteY5" fmla="*/ 8137 h 21600"/>
              <a:gd name="connsiteX6" fmla="*/ 17607 w 21600"/>
              <a:gd name="connsiteY6" fmla="*/ 10475 h 21600"/>
              <a:gd name="connsiteX7" fmla="*/ 21600 w 21600"/>
              <a:gd name="connsiteY7" fmla="*/ 13290 h 21600"/>
              <a:gd name="connsiteX8" fmla="*/ 15210 w 21600"/>
              <a:gd name="connsiteY8" fmla="*/ 12884 h 21600"/>
              <a:gd name="connsiteX9" fmla="*/ 17478 w 21600"/>
              <a:gd name="connsiteY9" fmla="*/ 17771 h 21600"/>
              <a:gd name="connsiteX10" fmla="*/ 10754 w 21600"/>
              <a:gd name="connsiteY10" fmla="*/ 14635 h 21600"/>
              <a:gd name="connsiteX11" fmla="*/ 8485 w 21600"/>
              <a:gd name="connsiteY11" fmla="*/ 21600 h 21600"/>
              <a:gd name="connsiteX12" fmla="*/ 7715 w 21600"/>
              <a:gd name="connsiteY12" fmla="*/ 15627 h 21600"/>
              <a:gd name="connsiteX13" fmla="*/ 4762 w 21600"/>
              <a:gd name="connsiteY13" fmla="*/ 17617 h 21600"/>
              <a:gd name="connsiteX14" fmla="*/ 5667 w 21600"/>
              <a:gd name="connsiteY14" fmla="*/ 13937 h 21600"/>
              <a:gd name="connsiteX15" fmla="*/ 135 w 21600"/>
              <a:gd name="connsiteY15" fmla="*/ 14587 h 21600"/>
              <a:gd name="connsiteX16" fmla="*/ 3722 w 21600"/>
              <a:gd name="connsiteY16" fmla="*/ 11775 h 21600"/>
              <a:gd name="connsiteX17" fmla="*/ 0 w 21600"/>
              <a:gd name="connsiteY17" fmla="*/ 8615 h 21600"/>
              <a:gd name="connsiteX18" fmla="*/ 4627 w 21600"/>
              <a:gd name="connsiteY18" fmla="*/ 7617 h 21600"/>
              <a:gd name="connsiteX19" fmla="*/ 370 w 21600"/>
              <a:gd name="connsiteY19" fmla="*/ 2295 h 21600"/>
              <a:gd name="connsiteX20" fmla="*/ 7312 w 21600"/>
              <a:gd name="connsiteY20" fmla="*/ 6320 h 21600"/>
              <a:gd name="connsiteX21" fmla="*/ 8352 w 21600"/>
              <a:gd name="connsiteY21" fmla="*/ 2295 h 21600"/>
              <a:gd name="connsiteX22" fmla="*/ 10800 w 21600"/>
              <a:gd name="connsiteY22" fmla="*/ 5800 h 21600"/>
              <a:gd name="connsiteX0" fmla="*/ 10800 w 24247"/>
              <a:gd name="connsiteY0" fmla="*/ 5800 h 21600"/>
              <a:gd name="connsiteX1" fmla="*/ 14522 w 24247"/>
              <a:gd name="connsiteY1" fmla="*/ 0 h 21600"/>
              <a:gd name="connsiteX2" fmla="*/ 14155 w 24247"/>
              <a:gd name="connsiteY2" fmla="*/ 5325 h 21600"/>
              <a:gd name="connsiteX3" fmla="*/ 18380 w 24247"/>
              <a:gd name="connsiteY3" fmla="*/ 4457 h 21600"/>
              <a:gd name="connsiteX4" fmla="*/ 16702 w 24247"/>
              <a:gd name="connsiteY4" fmla="*/ 7315 h 21600"/>
              <a:gd name="connsiteX5" fmla="*/ 21097 w 24247"/>
              <a:gd name="connsiteY5" fmla="*/ 8137 h 21600"/>
              <a:gd name="connsiteX6" fmla="*/ 17607 w 24247"/>
              <a:gd name="connsiteY6" fmla="*/ 10475 h 21600"/>
              <a:gd name="connsiteX7" fmla="*/ 24247 w 24247"/>
              <a:gd name="connsiteY7" fmla="*/ 13862 h 21600"/>
              <a:gd name="connsiteX8" fmla="*/ 15210 w 24247"/>
              <a:gd name="connsiteY8" fmla="*/ 12884 h 21600"/>
              <a:gd name="connsiteX9" fmla="*/ 17478 w 24247"/>
              <a:gd name="connsiteY9" fmla="*/ 17771 h 21600"/>
              <a:gd name="connsiteX10" fmla="*/ 10754 w 24247"/>
              <a:gd name="connsiteY10" fmla="*/ 14635 h 21600"/>
              <a:gd name="connsiteX11" fmla="*/ 8485 w 24247"/>
              <a:gd name="connsiteY11" fmla="*/ 21600 h 21600"/>
              <a:gd name="connsiteX12" fmla="*/ 7715 w 24247"/>
              <a:gd name="connsiteY12" fmla="*/ 15627 h 21600"/>
              <a:gd name="connsiteX13" fmla="*/ 4762 w 24247"/>
              <a:gd name="connsiteY13" fmla="*/ 17617 h 21600"/>
              <a:gd name="connsiteX14" fmla="*/ 5667 w 24247"/>
              <a:gd name="connsiteY14" fmla="*/ 13937 h 21600"/>
              <a:gd name="connsiteX15" fmla="*/ 135 w 24247"/>
              <a:gd name="connsiteY15" fmla="*/ 14587 h 21600"/>
              <a:gd name="connsiteX16" fmla="*/ 3722 w 24247"/>
              <a:gd name="connsiteY16" fmla="*/ 11775 h 21600"/>
              <a:gd name="connsiteX17" fmla="*/ 0 w 24247"/>
              <a:gd name="connsiteY17" fmla="*/ 8615 h 21600"/>
              <a:gd name="connsiteX18" fmla="*/ 4627 w 24247"/>
              <a:gd name="connsiteY18" fmla="*/ 7617 h 21600"/>
              <a:gd name="connsiteX19" fmla="*/ 370 w 24247"/>
              <a:gd name="connsiteY19" fmla="*/ 2295 h 21600"/>
              <a:gd name="connsiteX20" fmla="*/ 7312 w 24247"/>
              <a:gd name="connsiteY20" fmla="*/ 6320 h 21600"/>
              <a:gd name="connsiteX21" fmla="*/ 8352 w 24247"/>
              <a:gd name="connsiteY21" fmla="*/ 2295 h 21600"/>
              <a:gd name="connsiteX22" fmla="*/ 10800 w 24247"/>
              <a:gd name="connsiteY22" fmla="*/ 5800 h 21600"/>
              <a:gd name="connsiteX0" fmla="*/ 10800 w 24247"/>
              <a:gd name="connsiteY0" fmla="*/ 5800 h 21600"/>
              <a:gd name="connsiteX1" fmla="*/ 14522 w 24247"/>
              <a:gd name="connsiteY1" fmla="*/ 0 h 21600"/>
              <a:gd name="connsiteX2" fmla="*/ 14155 w 24247"/>
              <a:gd name="connsiteY2" fmla="*/ 5325 h 21600"/>
              <a:gd name="connsiteX3" fmla="*/ 18380 w 24247"/>
              <a:gd name="connsiteY3" fmla="*/ 4457 h 21600"/>
              <a:gd name="connsiteX4" fmla="*/ 16702 w 24247"/>
              <a:gd name="connsiteY4" fmla="*/ 7315 h 21600"/>
              <a:gd name="connsiteX5" fmla="*/ 20651 w 24247"/>
              <a:gd name="connsiteY5" fmla="*/ 7513 h 21600"/>
              <a:gd name="connsiteX6" fmla="*/ 17607 w 24247"/>
              <a:gd name="connsiteY6" fmla="*/ 10475 h 21600"/>
              <a:gd name="connsiteX7" fmla="*/ 24247 w 24247"/>
              <a:gd name="connsiteY7" fmla="*/ 13862 h 21600"/>
              <a:gd name="connsiteX8" fmla="*/ 15210 w 24247"/>
              <a:gd name="connsiteY8" fmla="*/ 12884 h 21600"/>
              <a:gd name="connsiteX9" fmla="*/ 17478 w 24247"/>
              <a:gd name="connsiteY9" fmla="*/ 17771 h 21600"/>
              <a:gd name="connsiteX10" fmla="*/ 10754 w 24247"/>
              <a:gd name="connsiteY10" fmla="*/ 14635 h 21600"/>
              <a:gd name="connsiteX11" fmla="*/ 8485 w 24247"/>
              <a:gd name="connsiteY11" fmla="*/ 21600 h 21600"/>
              <a:gd name="connsiteX12" fmla="*/ 7715 w 24247"/>
              <a:gd name="connsiteY12" fmla="*/ 15627 h 21600"/>
              <a:gd name="connsiteX13" fmla="*/ 4762 w 24247"/>
              <a:gd name="connsiteY13" fmla="*/ 17617 h 21600"/>
              <a:gd name="connsiteX14" fmla="*/ 5667 w 24247"/>
              <a:gd name="connsiteY14" fmla="*/ 13937 h 21600"/>
              <a:gd name="connsiteX15" fmla="*/ 135 w 24247"/>
              <a:gd name="connsiteY15" fmla="*/ 14587 h 21600"/>
              <a:gd name="connsiteX16" fmla="*/ 3722 w 24247"/>
              <a:gd name="connsiteY16" fmla="*/ 11775 h 21600"/>
              <a:gd name="connsiteX17" fmla="*/ 0 w 24247"/>
              <a:gd name="connsiteY17" fmla="*/ 8615 h 21600"/>
              <a:gd name="connsiteX18" fmla="*/ 4627 w 24247"/>
              <a:gd name="connsiteY18" fmla="*/ 7617 h 21600"/>
              <a:gd name="connsiteX19" fmla="*/ 370 w 24247"/>
              <a:gd name="connsiteY19" fmla="*/ 2295 h 21600"/>
              <a:gd name="connsiteX20" fmla="*/ 7312 w 24247"/>
              <a:gd name="connsiteY20" fmla="*/ 6320 h 21600"/>
              <a:gd name="connsiteX21" fmla="*/ 8352 w 24247"/>
              <a:gd name="connsiteY21" fmla="*/ 2295 h 21600"/>
              <a:gd name="connsiteX22" fmla="*/ 10800 w 24247"/>
              <a:gd name="connsiteY22" fmla="*/ 5800 h 21600"/>
              <a:gd name="connsiteX0" fmla="*/ 10800 w 24247"/>
              <a:gd name="connsiteY0" fmla="*/ 5800 h 21600"/>
              <a:gd name="connsiteX1" fmla="*/ 14522 w 24247"/>
              <a:gd name="connsiteY1" fmla="*/ 0 h 21600"/>
              <a:gd name="connsiteX2" fmla="*/ 14155 w 24247"/>
              <a:gd name="connsiteY2" fmla="*/ 5325 h 21600"/>
              <a:gd name="connsiteX3" fmla="*/ 16702 w 24247"/>
              <a:gd name="connsiteY3" fmla="*/ 7315 h 21600"/>
              <a:gd name="connsiteX4" fmla="*/ 20651 w 24247"/>
              <a:gd name="connsiteY4" fmla="*/ 7513 h 21600"/>
              <a:gd name="connsiteX5" fmla="*/ 17607 w 24247"/>
              <a:gd name="connsiteY5" fmla="*/ 10475 h 21600"/>
              <a:gd name="connsiteX6" fmla="*/ 24247 w 24247"/>
              <a:gd name="connsiteY6" fmla="*/ 13862 h 21600"/>
              <a:gd name="connsiteX7" fmla="*/ 15210 w 24247"/>
              <a:gd name="connsiteY7" fmla="*/ 12884 h 21600"/>
              <a:gd name="connsiteX8" fmla="*/ 17478 w 24247"/>
              <a:gd name="connsiteY8" fmla="*/ 17771 h 21600"/>
              <a:gd name="connsiteX9" fmla="*/ 10754 w 24247"/>
              <a:gd name="connsiteY9" fmla="*/ 14635 h 21600"/>
              <a:gd name="connsiteX10" fmla="*/ 8485 w 24247"/>
              <a:gd name="connsiteY10" fmla="*/ 21600 h 21600"/>
              <a:gd name="connsiteX11" fmla="*/ 7715 w 24247"/>
              <a:gd name="connsiteY11" fmla="*/ 15627 h 21600"/>
              <a:gd name="connsiteX12" fmla="*/ 4762 w 24247"/>
              <a:gd name="connsiteY12" fmla="*/ 17617 h 21600"/>
              <a:gd name="connsiteX13" fmla="*/ 5667 w 24247"/>
              <a:gd name="connsiteY13" fmla="*/ 13937 h 21600"/>
              <a:gd name="connsiteX14" fmla="*/ 135 w 24247"/>
              <a:gd name="connsiteY14" fmla="*/ 14587 h 21600"/>
              <a:gd name="connsiteX15" fmla="*/ 3722 w 24247"/>
              <a:gd name="connsiteY15" fmla="*/ 11775 h 21600"/>
              <a:gd name="connsiteX16" fmla="*/ 0 w 24247"/>
              <a:gd name="connsiteY16" fmla="*/ 8615 h 21600"/>
              <a:gd name="connsiteX17" fmla="*/ 4627 w 24247"/>
              <a:gd name="connsiteY17" fmla="*/ 7617 h 21600"/>
              <a:gd name="connsiteX18" fmla="*/ 370 w 24247"/>
              <a:gd name="connsiteY18" fmla="*/ 2295 h 21600"/>
              <a:gd name="connsiteX19" fmla="*/ 7312 w 24247"/>
              <a:gd name="connsiteY19" fmla="*/ 6320 h 21600"/>
              <a:gd name="connsiteX20" fmla="*/ 8352 w 24247"/>
              <a:gd name="connsiteY20" fmla="*/ 2295 h 21600"/>
              <a:gd name="connsiteX21" fmla="*/ 10800 w 24247"/>
              <a:gd name="connsiteY21" fmla="*/ 5800 h 21600"/>
              <a:gd name="connsiteX0" fmla="*/ 10800 w 24247"/>
              <a:gd name="connsiteY0" fmla="*/ 5800 h 21600"/>
              <a:gd name="connsiteX1" fmla="*/ 14522 w 24247"/>
              <a:gd name="connsiteY1" fmla="*/ 0 h 21600"/>
              <a:gd name="connsiteX2" fmla="*/ 16702 w 24247"/>
              <a:gd name="connsiteY2" fmla="*/ 7315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7607 w 24247"/>
              <a:gd name="connsiteY4" fmla="*/ 10475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20651 w 24247"/>
              <a:gd name="connsiteY3" fmla="*/ 7513 h 21600"/>
              <a:gd name="connsiteX4" fmla="*/ 15534 w 24247"/>
              <a:gd name="connsiteY4" fmla="*/ 10202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19316 w 24247"/>
              <a:gd name="connsiteY3" fmla="*/ 7275 h 21600"/>
              <a:gd name="connsiteX4" fmla="*/ 15534 w 24247"/>
              <a:gd name="connsiteY4" fmla="*/ 10202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477 w 24247"/>
              <a:gd name="connsiteY2" fmla="*/ 7054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4762 w 24247"/>
              <a:gd name="connsiteY11" fmla="*/ 17617 h 21600"/>
              <a:gd name="connsiteX12" fmla="*/ 5667 w 24247"/>
              <a:gd name="connsiteY12" fmla="*/ 13937 h 21600"/>
              <a:gd name="connsiteX13" fmla="*/ 135 w 24247"/>
              <a:gd name="connsiteY13" fmla="*/ 14587 h 21600"/>
              <a:gd name="connsiteX14" fmla="*/ 3722 w 24247"/>
              <a:gd name="connsiteY14" fmla="*/ 11775 h 21600"/>
              <a:gd name="connsiteX15" fmla="*/ 0 w 24247"/>
              <a:gd name="connsiteY15" fmla="*/ 8615 h 21600"/>
              <a:gd name="connsiteX16" fmla="*/ 4627 w 24247"/>
              <a:gd name="connsiteY16" fmla="*/ 7617 h 21600"/>
              <a:gd name="connsiteX17" fmla="*/ 370 w 24247"/>
              <a:gd name="connsiteY17" fmla="*/ 2295 h 21600"/>
              <a:gd name="connsiteX18" fmla="*/ 7312 w 24247"/>
              <a:gd name="connsiteY18" fmla="*/ 6320 h 21600"/>
              <a:gd name="connsiteX19" fmla="*/ 8352 w 24247"/>
              <a:gd name="connsiteY19" fmla="*/ 2295 h 21600"/>
              <a:gd name="connsiteX20" fmla="*/ 10800 w 24247"/>
              <a:gd name="connsiteY20"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715 w 24247"/>
              <a:gd name="connsiteY10" fmla="*/ 15627 h 21600"/>
              <a:gd name="connsiteX11" fmla="*/ 5667 w 24247"/>
              <a:gd name="connsiteY11" fmla="*/ 13937 h 21600"/>
              <a:gd name="connsiteX12" fmla="*/ 135 w 24247"/>
              <a:gd name="connsiteY12" fmla="*/ 14587 h 21600"/>
              <a:gd name="connsiteX13" fmla="*/ 3722 w 24247"/>
              <a:gd name="connsiteY13" fmla="*/ 11775 h 21600"/>
              <a:gd name="connsiteX14" fmla="*/ 0 w 24247"/>
              <a:gd name="connsiteY14" fmla="*/ 8615 h 21600"/>
              <a:gd name="connsiteX15" fmla="*/ 4627 w 24247"/>
              <a:gd name="connsiteY15" fmla="*/ 7617 h 21600"/>
              <a:gd name="connsiteX16" fmla="*/ 370 w 24247"/>
              <a:gd name="connsiteY16" fmla="*/ 2295 h 21600"/>
              <a:gd name="connsiteX17" fmla="*/ 7312 w 24247"/>
              <a:gd name="connsiteY17" fmla="*/ 6320 h 21600"/>
              <a:gd name="connsiteX18" fmla="*/ 8352 w 24247"/>
              <a:gd name="connsiteY18" fmla="*/ 2295 h 21600"/>
              <a:gd name="connsiteX19" fmla="*/ 10800 w 24247"/>
              <a:gd name="connsiteY19"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5667 w 24247"/>
              <a:gd name="connsiteY10" fmla="*/ 13937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5667 w 24247"/>
              <a:gd name="connsiteY10" fmla="*/ 13937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5667 w 24247"/>
              <a:gd name="connsiteY10" fmla="*/ 13937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35 w 24247"/>
              <a:gd name="connsiteY11" fmla="*/ 14587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424 w 24247"/>
              <a:gd name="connsiteY11" fmla="*/ 15425 h 21600"/>
              <a:gd name="connsiteX12" fmla="*/ 3722 w 24247"/>
              <a:gd name="connsiteY12" fmla="*/ 11775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424 w 24247"/>
              <a:gd name="connsiteY11" fmla="*/ 15425 h 21600"/>
              <a:gd name="connsiteX12" fmla="*/ 5290 w 24247"/>
              <a:gd name="connsiteY12" fmla="*/ 11461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800 w 24247"/>
              <a:gd name="connsiteY0" fmla="*/ 5800 h 21600"/>
              <a:gd name="connsiteX1" fmla="*/ 14522 w 24247"/>
              <a:gd name="connsiteY1" fmla="*/ 0 h 21600"/>
              <a:gd name="connsiteX2" fmla="*/ 14254 w 24247"/>
              <a:gd name="connsiteY2" fmla="*/ 6946 h 21600"/>
              <a:gd name="connsiteX3" fmla="*/ 19316 w 24247"/>
              <a:gd name="connsiteY3" fmla="*/ 7275 h 21600"/>
              <a:gd name="connsiteX4" fmla="*/ 16165 w 24247"/>
              <a:gd name="connsiteY4" fmla="*/ 9649 h 21600"/>
              <a:gd name="connsiteX5" fmla="*/ 24247 w 24247"/>
              <a:gd name="connsiteY5" fmla="*/ 13862 h 21600"/>
              <a:gd name="connsiteX6" fmla="*/ 15210 w 24247"/>
              <a:gd name="connsiteY6" fmla="*/ 12884 h 21600"/>
              <a:gd name="connsiteX7" fmla="*/ 17478 w 24247"/>
              <a:gd name="connsiteY7" fmla="*/ 17771 h 21600"/>
              <a:gd name="connsiteX8" fmla="*/ 10754 w 24247"/>
              <a:gd name="connsiteY8" fmla="*/ 14635 h 21600"/>
              <a:gd name="connsiteX9" fmla="*/ 8485 w 24247"/>
              <a:gd name="connsiteY9" fmla="*/ 21600 h 21600"/>
              <a:gd name="connsiteX10" fmla="*/ 7106 w 24247"/>
              <a:gd name="connsiteY10" fmla="*/ 13539 h 21600"/>
              <a:gd name="connsiteX11" fmla="*/ 1424 w 24247"/>
              <a:gd name="connsiteY11" fmla="*/ 15425 h 21600"/>
              <a:gd name="connsiteX12" fmla="*/ 5524 w 24247"/>
              <a:gd name="connsiteY12" fmla="*/ 11317 h 21600"/>
              <a:gd name="connsiteX13" fmla="*/ 0 w 24247"/>
              <a:gd name="connsiteY13" fmla="*/ 8615 h 21600"/>
              <a:gd name="connsiteX14" fmla="*/ 4627 w 24247"/>
              <a:gd name="connsiteY14" fmla="*/ 7617 h 21600"/>
              <a:gd name="connsiteX15" fmla="*/ 370 w 24247"/>
              <a:gd name="connsiteY15" fmla="*/ 2295 h 21600"/>
              <a:gd name="connsiteX16" fmla="*/ 7312 w 24247"/>
              <a:gd name="connsiteY16" fmla="*/ 6320 h 21600"/>
              <a:gd name="connsiteX17" fmla="*/ 8352 w 24247"/>
              <a:gd name="connsiteY17" fmla="*/ 2295 h 21600"/>
              <a:gd name="connsiteX18" fmla="*/ 10800 w 24247"/>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371 w 24094"/>
              <a:gd name="connsiteY12" fmla="*/ 11317 h 21600"/>
              <a:gd name="connsiteX13" fmla="*/ 0 w 24094"/>
              <a:gd name="connsiteY13" fmla="*/ 9419 h 21600"/>
              <a:gd name="connsiteX14" fmla="*/ 4474 w 24094"/>
              <a:gd name="connsiteY14" fmla="*/ 7617 h 21600"/>
              <a:gd name="connsiteX15" fmla="*/ 217 w 24094"/>
              <a:gd name="connsiteY15" fmla="*/ 2295 h 21600"/>
              <a:gd name="connsiteX16" fmla="*/ 7159 w 24094"/>
              <a:gd name="connsiteY16" fmla="*/ 6320 h 21600"/>
              <a:gd name="connsiteX17" fmla="*/ 8199 w 24094"/>
              <a:gd name="connsiteY17" fmla="*/ 2295 h 21600"/>
              <a:gd name="connsiteX18" fmla="*/ 10647 w 24094"/>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277 w 24094"/>
              <a:gd name="connsiteY12" fmla="*/ 10885 h 21600"/>
              <a:gd name="connsiteX13" fmla="*/ 0 w 24094"/>
              <a:gd name="connsiteY13" fmla="*/ 9419 h 21600"/>
              <a:gd name="connsiteX14" fmla="*/ 4474 w 24094"/>
              <a:gd name="connsiteY14" fmla="*/ 7617 h 21600"/>
              <a:gd name="connsiteX15" fmla="*/ 217 w 24094"/>
              <a:gd name="connsiteY15" fmla="*/ 2295 h 21600"/>
              <a:gd name="connsiteX16" fmla="*/ 7159 w 24094"/>
              <a:gd name="connsiteY16" fmla="*/ 6320 h 21600"/>
              <a:gd name="connsiteX17" fmla="*/ 8199 w 24094"/>
              <a:gd name="connsiteY17" fmla="*/ 2295 h 21600"/>
              <a:gd name="connsiteX18" fmla="*/ 10647 w 24094"/>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277 w 24094"/>
              <a:gd name="connsiteY12" fmla="*/ 10885 h 21600"/>
              <a:gd name="connsiteX13" fmla="*/ 0 w 24094"/>
              <a:gd name="connsiteY13" fmla="*/ 9419 h 21600"/>
              <a:gd name="connsiteX14" fmla="*/ 5259 w 24094"/>
              <a:gd name="connsiteY14" fmla="*/ 7868 h 21600"/>
              <a:gd name="connsiteX15" fmla="*/ 217 w 24094"/>
              <a:gd name="connsiteY15" fmla="*/ 2295 h 21600"/>
              <a:gd name="connsiteX16" fmla="*/ 7159 w 24094"/>
              <a:gd name="connsiteY16" fmla="*/ 6320 h 21600"/>
              <a:gd name="connsiteX17" fmla="*/ 8199 w 24094"/>
              <a:gd name="connsiteY17" fmla="*/ 2295 h 21600"/>
              <a:gd name="connsiteX18" fmla="*/ 10647 w 24094"/>
              <a:gd name="connsiteY18" fmla="*/ 5800 h 21600"/>
              <a:gd name="connsiteX0" fmla="*/ 10647 w 24094"/>
              <a:gd name="connsiteY0" fmla="*/ 5800 h 21600"/>
              <a:gd name="connsiteX1" fmla="*/ 14369 w 24094"/>
              <a:gd name="connsiteY1" fmla="*/ 0 h 21600"/>
              <a:gd name="connsiteX2" fmla="*/ 14101 w 24094"/>
              <a:gd name="connsiteY2" fmla="*/ 6946 h 21600"/>
              <a:gd name="connsiteX3" fmla="*/ 19163 w 24094"/>
              <a:gd name="connsiteY3" fmla="*/ 7275 h 21600"/>
              <a:gd name="connsiteX4" fmla="*/ 16012 w 24094"/>
              <a:gd name="connsiteY4" fmla="*/ 9649 h 21600"/>
              <a:gd name="connsiteX5" fmla="*/ 24094 w 24094"/>
              <a:gd name="connsiteY5" fmla="*/ 13862 h 21600"/>
              <a:gd name="connsiteX6" fmla="*/ 15057 w 24094"/>
              <a:gd name="connsiteY6" fmla="*/ 12884 h 21600"/>
              <a:gd name="connsiteX7" fmla="*/ 17325 w 24094"/>
              <a:gd name="connsiteY7" fmla="*/ 17771 h 21600"/>
              <a:gd name="connsiteX8" fmla="*/ 10601 w 24094"/>
              <a:gd name="connsiteY8" fmla="*/ 14635 h 21600"/>
              <a:gd name="connsiteX9" fmla="*/ 8332 w 24094"/>
              <a:gd name="connsiteY9" fmla="*/ 21600 h 21600"/>
              <a:gd name="connsiteX10" fmla="*/ 6953 w 24094"/>
              <a:gd name="connsiteY10" fmla="*/ 13539 h 21600"/>
              <a:gd name="connsiteX11" fmla="*/ 1271 w 24094"/>
              <a:gd name="connsiteY11" fmla="*/ 15425 h 21600"/>
              <a:gd name="connsiteX12" fmla="*/ 5277 w 24094"/>
              <a:gd name="connsiteY12" fmla="*/ 10885 h 21600"/>
              <a:gd name="connsiteX13" fmla="*/ 0 w 24094"/>
              <a:gd name="connsiteY13" fmla="*/ 9419 h 21600"/>
              <a:gd name="connsiteX14" fmla="*/ 5259 w 24094"/>
              <a:gd name="connsiteY14" fmla="*/ 7868 h 21600"/>
              <a:gd name="connsiteX15" fmla="*/ 217 w 24094"/>
              <a:gd name="connsiteY15" fmla="*/ 2295 h 21600"/>
              <a:gd name="connsiteX16" fmla="*/ 7428 w 24094"/>
              <a:gd name="connsiteY16" fmla="*/ 5827 h 21600"/>
              <a:gd name="connsiteX17" fmla="*/ 8199 w 24094"/>
              <a:gd name="connsiteY17" fmla="*/ 2295 h 21600"/>
              <a:gd name="connsiteX18" fmla="*/ 10647 w 24094"/>
              <a:gd name="connsiteY18" fmla="*/ 5800 h 21600"/>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601 w 24094"/>
              <a:gd name="connsiteY8" fmla="*/ 14953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601 w 24094"/>
              <a:gd name="connsiteY8" fmla="*/ 14953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601 w 24094"/>
              <a:gd name="connsiteY8" fmla="*/ 14953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284 w 24094"/>
              <a:gd name="connsiteY8" fmla="*/ 12901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287 w 24094"/>
              <a:gd name="connsiteY8" fmla="*/ 13456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4101 w 24094"/>
              <a:gd name="connsiteY2" fmla="*/ 7264 h 21918"/>
              <a:gd name="connsiteX3" fmla="*/ 19163 w 24094"/>
              <a:gd name="connsiteY3" fmla="*/ 7593 h 21918"/>
              <a:gd name="connsiteX4" fmla="*/ 16012 w 24094"/>
              <a:gd name="connsiteY4" fmla="*/ 9967 h 21918"/>
              <a:gd name="connsiteX5" fmla="*/ 24094 w 24094"/>
              <a:gd name="connsiteY5" fmla="*/ 14180 h 21918"/>
              <a:gd name="connsiteX6" fmla="*/ 15057 w 24094"/>
              <a:gd name="connsiteY6" fmla="*/ 13202 h 21918"/>
              <a:gd name="connsiteX7" fmla="*/ 17325 w 24094"/>
              <a:gd name="connsiteY7" fmla="*/ 18089 h 21918"/>
              <a:gd name="connsiteX8" fmla="*/ 10415 w 24094"/>
              <a:gd name="connsiteY8" fmla="*/ 13844 h 21918"/>
              <a:gd name="connsiteX9" fmla="*/ 8332 w 24094"/>
              <a:gd name="connsiteY9" fmla="*/ 21918 h 21918"/>
              <a:gd name="connsiteX10" fmla="*/ 6953 w 24094"/>
              <a:gd name="connsiteY10" fmla="*/ 13857 h 21918"/>
              <a:gd name="connsiteX11" fmla="*/ 1271 w 24094"/>
              <a:gd name="connsiteY11" fmla="*/ 15743 h 21918"/>
              <a:gd name="connsiteX12" fmla="*/ 5277 w 24094"/>
              <a:gd name="connsiteY12" fmla="*/ 11203 h 21918"/>
              <a:gd name="connsiteX13" fmla="*/ 0 w 24094"/>
              <a:gd name="connsiteY13" fmla="*/ 9737 h 21918"/>
              <a:gd name="connsiteX14" fmla="*/ 5259 w 24094"/>
              <a:gd name="connsiteY14" fmla="*/ 8186 h 21918"/>
              <a:gd name="connsiteX15" fmla="*/ 217 w 24094"/>
              <a:gd name="connsiteY15" fmla="*/ 2613 h 21918"/>
              <a:gd name="connsiteX16" fmla="*/ 7428 w 24094"/>
              <a:gd name="connsiteY16" fmla="*/ 6145 h 21918"/>
              <a:gd name="connsiteX17" fmla="*/ 8199 w 24094"/>
              <a:gd name="connsiteY17" fmla="*/ 2613 h 21918"/>
              <a:gd name="connsiteX18" fmla="*/ 10647 w 24094"/>
              <a:gd name="connsiteY18" fmla="*/ 6118 h 21918"/>
              <a:gd name="connsiteX0" fmla="*/ 10647 w 24094"/>
              <a:gd name="connsiteY0" fmla="*/ 6118 h 21918"/>
              <a:gd name="connsiteX1" fmla="*/ 15107 w 24094"/>
              <a:gd name="connsiteY1" fmla="*/ 0 h 21918"/>
              <a:gd name="connsiteX2" fmla="*/ 19163 w 24094"/>
              <a:gd name="connsiteY2" fmla="*/ 7593 h 21918"/>
              <a:gd name="connsiteX3" fmla="*/ 16012 w 24094"/>
              <a:gd name="connsiteY3" fmla="*/ 9967 h 21918"/>
              <a:gd name="connsiteX4" fmla="*/ 24094 w 24094"/>
              <a:gd name="connsiteY4" fmla="*/ 14180 h 21918"/>
              <a:gd name="connsiteX5" fmla="*/ 15057 w 24094"/>
              <a:gd name="connsiteY5" fmla="*/ 13202 h 21918"/>
              <a:gd name="connsiteX6" fmla="*/ 17325 w 24094"/>
              <a:gd name="connsiteY6" fmla="*/ 18089 h 21918"/>
              <a:gd name="connsiteX7" fmla="*/ 10415 w 24094"/>
              <a:gd name="connsiteY7" fmla="*/ 13844 h 21918"/>
              <a:gd name="connsiteX8" fmla="*/ 8332 w 24094"/>
              <a:gd name="connsiteY8" fmla="*/ 21918 h 21918"/>
              <a:gd name="connsiteX9" fmla="*/ 6953 w 24094"/>
              <a:gd name="connsiteY9" fmla="*/ 13857 h 21918"/>
              <a:gd name="connsiteX10" fmla="*/ 1271 w 24094"/>
              <a:gd name="connsiteY10" fmla="*/ 15743 h 21918"/>
              <a:gd name="connsiteX11" fmla="*/ 5277 w 24094"/>
              <a:gd name="connsiteY11" fmla="*/ 11203 h 21918"/>
              <a:gd name="connsiteX12" fmla="*/ 0 w 24094"/>
              <a:gd name="connsiteY12" fmla="*/ 9737 h 21918"/>
              <a:gd name="connsiteX13" fmla="*/ 5259 w 24094"/>
              <a:gd name="connsiteY13" fmla="*/ 8186 h 21918"/>
              <a:gd name="connsiteX14" fmla="*/ 217 w 24094"/>
              <a:gd name="connsiteY14" fmla="*/ 2613 h 21918"/>
              <a:gd name="connsiteX15" fmla="*/ 7428 w 24094"/>
              <a:gd name="connsiteY15" fmla="*/ 6145 h 21918"/>
              <a:gd name="connsiteX16" fmla="*/ 8199 w 24094"/>
              <a:gd name="connsiteY16" fmla="*/ 2613 h 21918"/>
              <a:gd name="connsiteX17" fmla="*/ 10647 w 24094"/>
              <a:gd name="connsiteY17" fmla="*/ 6118 h 21918"/>
              <a:gd name="connsiteX0" fmla="*/ 10647 w 24094"/>
              <a:gd name="connsiteY0" fmla="*/ 6118 h 21918"/>
              <a:gd name="connsiteX1" fmla="*/ 15107 w 24094"/>
              <a:gd name="connsiteY1" fmla="*/ 0 h 21918"/>
              <a:gd name="connsiteX2" fmla="*/ 16012 w 24094"/>
              <a:gd name="connsiteY2" fmla="*/ 9967 h 21918"/>
              <a:gd name="connsiteX3" fmla="*/ 24094 w 24094"/>
              <a:gd name="connsiteY3" fmla="*/ 14180 h 21918"/>
              <a:gd name="connsiteX4" fmla="*/ 15057 w 24094"/>
              <a:gd name="connsiteY4" fmla="*/ 13202 h 21918"/>
              <a:gd name="connsiteX5" fmla="*/ 17325 w 24094"/>
              <a:gd name="connsiteY5" fmla="*/ 18089 h 21918"/>
              <a:gd name="connsiteX6" fmla="*/ 10415 w 24094"/>
              <a:gd name="connsiteY6" fmla="*/ 13844 h 21918"/>
              <a:gd name="connsiteX7" fmla="*/ 8332 w 24094"/>
              <a:gd name="connsiteY7" fmla="*/ 21918 h 21918"/>
              <a:gd name="connsiteX8" fmla="*/ 6953 w 24094"/>
              <a:gd name="connsiteY8" fmla="*/ 13857 h 21918"/>
              <a:gd name="connsiteX9" fmla="*/ 1271 w 24094"/>
              <a:gd name="connsiteY9" fmla="*/ 15743 h 21918"/>
              <a:gd name="connsiteX10" fmla="*/ 5277 w 24094"/>
              <a:gd name="connsiteY10" fmla="*/ 11203 h 21918"/>
              <a:gd name="connsiteX11" fmla="*/ 0 w 24094"/>
              <a:gd name="connsiteY11" fmla="*/ 9737 h 21918"/>
              <a:gd name="connsiteX12" fmla="*/ 5259 w 24094"/>
              <a:gd name="connsiteY12" fmla="*/ 8186 h 21918"/>
              <a:gd name="connsiteX13" fmla="*/ 217 w 24094"/>
              <a:gd name="connsiteY13" fmla="*/ 2613 h 21918"/>
              <a:gd name="connsiteX14" fmla="*/ 7428 w 24094"/>
              <a:gd name="connsiteY14" fmla="*/ 6145 h 21918"/>
              <a:gd name="connsiteX15" fmla="*/ 8199 w 24094"/>
              <a:gd name="connsiteY15" fmla="*/ 2613 h 21918"/>
              <a:gd name="connsiteX16" fmla="*/ 10647 w 24094"/>
              <a:gd name="connsiteY16" fmla="*/ 6118 h 21918"/>
              <a:gd name="connsiteX0" fmla="*/ 10647 w 24094"/>
              <a:gd name="connsiteY0" fmla="*/ 6118 h 21918"/>
              <a:gd name="connsiteX1" fmla="*/ 15107 w 24094"/>
              <a:gd name="connsiteY1" fmla="*/ 0 h 21918"/>
              <a:gd name="connsiteX2" fmla="*/ 14018 w 24094"/>
              <a:gd name="connsiteY2" fmla="*/ 8431 h 21918"/>
              <a:gd name="connsiteX3" fmla="*/ 24094 w 24094"/>
              <a:gd name="connsiteY3" fmla="*/ 14180 h 21918"/>
              <a:gd name="connsiteX4" fmla="*/ 15057 w 24094"/>
              <a:gd name="connsiteY4" fmla="*/ 13202 h 21918"/>
              <a:gd name="connsiteX5" fmla="*/ 17325 w 24094"/>
              <a:gd name="connsiteY5" fmla="*/ 18089 h 21918"/>
              <a:gd name="connsiteX6" fmla="*/ 10415 w 24094"/>
              <a:gd name="connsiteY6" fmla="*/ 13844 h 21918"/>
              <a:gd name="connsiteX7" fmla="*/ 8332 w 24094"/>
              <a:gd name="connsiteY7" fmla="*/ 21918 h 21918"/>
              <a:gd name="connsiteX8" fmla="*/ 6953 w 24094"/>
              <a:gd name="connsiteY8" fmla="*/ 13857 h 21918"/>
              <a:gd name="connsiteX9" fmla="*/ 1271 w 24094"/>
              <a:gd name="connsiteY9" fmla="*/ 15743 h 21918"/>
              <a:gd name="connsiteX10" fmla="*/ 5277 w 24094"/>
              <a:gd name="connsiteY10" fmla="*/ 11203 h 21918"/>
              <a:gd name="connsiteX11" fmla="*/ 0 w 24094"/>
              <a:gd name="connsiteY11" fmla="*/ 9737 h 21918"/>
              <a:gd name="connsiteX12" fmla="*/ 5259 w 24094"/>
              <a:gd name="connsiteY12" fmla="*/ 8186 h 21918"/>
              <a:gd name="connsiteX13" fmla="*/ 217 w 24094"/>
              <a:gd name="connsiteY13" fmla="*/ 2613 h 21918"/>
              <a:gd name="connsiteX14" fmla="*/ 7428 w 24094"/>
              <a:gd name="connsiteY14" fmla="*/ 6145 h 21918"/>
              <a:gd name="connsiteX15" fmla="*/ 8199 w 24094"/>
              <a:gd name="connsiteY15" fmla="*/ 2613 h 21918"/>
              <a:gd name="connsiteX16" fmla="*/ 10647 w 24094"/>
              <a:gd name="connsiteY16" fmla="*/ 6118 h 21918"/>
              <a:gd name="connsiteX0" fmla="*/ 10647 w 24094"/>
              <a:gd name="connsiteY0" fmla="*/ 6118 h 21918"/>
              <a:gd name="connsiteX1" fmla="*/ 15107 w 24094"/>
              <a:gd name="connsiteY1" fmla="*/ 0 h 21918"/>
              <a:gd name="connsiteX2" fmla="*/ 14018 w 24094"/>
              <a:gd name="connsiteY2" fmla="*/ 8431 h 21918"/>
              <a:gd name="connsiteX3" fmla="*/ 24094 w 24094"/>
              <a:gd name="connsiteY3" fmla="*/ 14180 h 21918"/>
              <a:gd name="connsiteX4" fmla="*/ 15057 w 24094"/>
              <a:gd name="connsiteY4" fmla="*/ 13202 h 21918"/>
              <a:gd name="connsiteX5" fmla="*/ 17325 w 24094"/>
              <a:gd name="connsiteY5" fmla="*/ 18089 h 21918"/>
              <a:gd name="connsiteX6" fmla="*/ 10415 w 24094"/>
              <a:gd name="connsiteY6" fmla="*/ 13844 h 21918"/>
              <a:gd name="connsiteX7" fmla="*/ 8332 w 24094"/>
              <a:gd name="connsiteY7" fmla="*/ 21918 h 21918"/>
              <a:gd name="connsiteX8" fmla="*/ 6953 w 24094"/>
              <a:gd name="connsiteY8" fmla="*/ 13857 h 21918"/>
              <a:gd name="connsiteX9" fmla="*/ 1271 w 24094"/>
              <a:gd name="connsiteY9" fmla="*/ 15743 h 21918"/>
              <a:gd name="connsiteX10" fmla="*/ 5277 w 24094"/>
              <a:gd name="connsiteY10" fmla="*/ 11203 h 21918"/>
              <a:gd name="connsiteX11" fmla="*/ 0 w 24094"/>
              <a:gd name="connsiteY11" fmla="*/ 9737 h 21918"/>
              <a:gd name="connsiteX12" fmla="*/ 5259 w 24094"/>
              <a:gd name="connsiteY12" fmla="*/ 8186 h 21918"/>
              <a:gd name="connsiteX13" fmla="*/ 217 w 24094"/>
              <a:gd name="connsiteY13" fmla="*/ 2613 h 21918"/>
              <a:gd name="connsiteX14" fmla="*/ 7428 w 24094"/>
              <a:gd name="connsiteY14" fmla="*/ 6145 h 21918"/>
              <a:gd name="connsiteX15" fmla="*/ 8199 w 24094"/>
              <a:gd name="connsiteY15" fmla="*/ 2613 h 21918"/>
              <a:gd name="connsiteX16" fmla="*/ 10647 w 24094"/>
              <a:gd name="connsiteY16" fmla="*/ 6118 h 21918"/>
              <a:gd name="connsiteX0" fmla="*/ 10647 w 24094"/>
              <a:gd name="connsiteY0" fmla="*/ 6118 h 21918"/>
              <a:gd name="connsiteX1" fmla="*/ 15107 w 24094"/>
              <a:gd name="connsiteY1" fmla="*/ 0 h 21918"/>
              <a:gd name="connsiteX2" fmla="*/ 14018 w 24094"/>
              <a:gd name="connsiteY2" fmla="*/ 8431 h 21918"/>
              <a:gd name="connsiteX3" fmla="*/ 24094 w 24094"/>
              <a:gd name="connsiteY3" fmla="*/ 14180 h 21918"/>
              <a:gd name="connsiteX4" fmla="*/ 15057 w 24094"/>
              <a:gd name="connsiteY4" fmla="*/ 13202 h 21918"/>
              <a:gd name="connsiteX5" fmla="*/ 17325 w 24094"/>
              <a:gd name="connsiteY5" fmla="*/ 18089 h 21918"/>
              <a:gd name="connsiteX6" fmla="*/ 10415 w 24094"/>
              <a:gd name="connsiteY6" fmla="*/ 13844 h 21918"/>
              <a:gd name="connsiteX7" fmla="*/ 8332 w 24094"/>
              <a:gd name="connsiteY7" fmla="*/ 21918 h 21918"/>
              <a:gd name="connsiteX8" fmla="*/ 6953 w 24094"/>
              <a:gd name="connsiteY8" fmla="*/ 13857 h 21918"/>
              <a:gd name="connsiteX9" fmla="*/ 1271 w 24094"/>
              <a:gd name="connsiteY9" fmla="*/ 15743 h 21918"/>
              <a:gd name="connsiteX10" fmla="*/ 5277 w 24094"/>
              <a:gd name="connsiteY10" fmla="*/ 11203 h 21918"/>
              <a:gd name="connsiteX11" fmla="*/ 0 w 24094"/>
              <a:gd name="connsiteY11" fmla="*/ 9737 h 21918"/>
              <a:gd name="connsiteX12" fmla="*/ 5259 w 24094"/>
              <a:gd name="connsiteY12" fmla="*/ 8186 h 21918"/>
              <a:gd name="connsiteX13" fmla="*/ 217 w 24094"/>
              <a:gd name="connsiteY13" fmla="*/ 2613 h 21918"/>
              <a:gd name="connsiteX14" fmla="*/ 7428 w 24094"/>
              <a:gd name="connsiteY14" fmla="*/ 6145 h 21918"/>
              <a:gd name="connsiteX15" fmla="*/ 8199 w 24094"/>
              <a:gd name="connsiteY15" fmla="*/ 2613 h 21918"/>
              <a:gd name="connsiteX16" fmla="*/ 10647 w 24094"/>
              <a:gd name="connsiteY16" fmla="*/ 6118 h 21918"/>
              <a:gd name="connsiteX0" fmla="*/ 10647 w 23080"/>
              <a:gd name="connsiteY0" fmla="*/ 6118 h 21918"/>
              <a:gd name="connsiteX1" fmla="*/ 15107 w 23080"/>
              <a:gd name="connsiteY1" fmla="*/ 0 h 21918"/>
              <a:gd name="connsiteX2" fmla="*/ 14018 w 23080"/>
              <a:gd name="connsiteY2" fmla="*/ 8431 h 21918"/>
              <a:gd name="connsiteX3" fmla="*/ 23080 w 23080"/>
              <a:gd name="connsiteY3" fmla="*/ 12662 h 21918"/>
              <a:gd name="connsiteX4" fmla="*/ 15057 w 23080"/>
              <a:gd name="connsiteY4" fmla="*/ 13202 h 21918"/>
              <a:gd name="connsiteX5" fmla="*/ 17325 w 23080"/>
              <a:gd name="connsiteY5" fmla="*/ 18089 h 21918"/>
              <a:gd name="connsiteX6" fmla="*/ 10415 w 23080"/>
              <a:gd name="connsiteY6" fmla="*/ 13844 h 21918"/>
              <a:gd name="connsiteX7" fmla="*/ 8332 w 23080"/>
              <a:gd name="connsiteY7" fmla="*/ 21918 h 21918"/>
              <a:gd name="connsiteX8" fmla="*/ 6953 w 23080"/>
              <a:gd name="connsiteY8" fmla="*/ 13857 h 21918"/>
              <a:gd name="connsiteX9" fmla="*/ 1271 w 23080"/>
              <a:gd name="connsiteY9" fmla="*/ 15743 h 21918"/>
              <a:gd name="connsiteX10" fmla="*/ 5277 w 23080"/>
              <a:gd name="connsiteY10" fmla="*/ 11203 h 21918"/>
              <a:gd name="connsiteX11" fmla="*/ 0 w 23080"/>
              <a:gd name="connsiteY11" fmla="*/ 9737 h 21918"/>
              <a:gd name="connsiteX12" fmla="*/ 5259 w 23080"/>
              <a:gd name="connsiteY12" fmla="*/ 8186 h 21918"/>
              <a:gd name="connsiteX13" fmla="*/ 217 w 23080"/>
              <a:gd name="connsiteY13" fmla="*/ 2613 h 21918"/>
              <a:gd name="connsiteX14" fmla="*/ 7428 w 23080"/>
              <a:gd name="connsiteY14" fmla="*/ 6145 h 21918"/>
              <a:gd name="connsiteX15" fmla="*/ 8199 w 23080"/>
              <a:gd name="connsiteY15" fmla="*/ 2613 h 21918"/>
              <a:gd name="connsiteX16" fmla="*/ 10647 w 23080"/>
              <a:gd name="connsiteY16" fmla="*/ 6118 h 21918"/>
              <a:gd name="connsiteX0" fmla="*/ 10647 w 23080"/>
              <a:gd name="connsiteY0" fmla="*/ 6118 h 21918"/>
              <a:gd name="connsiteX1" fmla="*/ 15107 w 23080"/>
              <a:gd name="connsiteY1" fmla="*/ 0 h 21918"/>
              <a:gd name="connsiteX2" fmla="*/ 14018 w 23080"/>
              <a:gd name="connsiteY2" fmla="*/ 8431 h 21918"/>
              <a:gd name="connsiteX3" fmla="*/ 23080 w 23080"/>
              <a:gd name="connsiteY3" fmla="*/ 12662 h 21918"/>
              <a:gd name="connsiteX4" fmla="*/ 15057 w 23080"/>
              <a:gd name="connsiteY4" fmla="*/ 13202 h 21918"/>
              <a:gd name="connsiteX5" fmla="*/ 16069 w 23080"/>
              <a:gd name="connsiteY5" fmla="*/ 16597 h 21918"/>
              <a:gd name="connsiteX6" fmla="*/ 10415 w 23080"/>
              <a:gd name="connsiteY6" fmla="*/ 13844 h 21918"/>
              <a:gd name="connsiteX7" fmla="*/ 8332 w 23080"/>
              <a:gd name="connsiteY7" fmla="*/ 21918 h 21918"/>
              <a:gd name="connsiteX8" fmla="*/ 6953 w 23080"/>
              <a:gd name="connsiteY8" fmla="*/ 13857 h 21918"/>
              <a:gd name="connsiteX9" fmla="*/ 1271 w 23080"/>
              <a:gd name="connsiteY9" fmla="*/ 15743 h 21918"/>
              <a:gd name="connsiteX10" fmla="*/ 5277 w 23080"/>
              <a:gd name="connsiteY10" fmla="*/ 11203 h 21918"/>
              <a:gd name="connsiteX11" fmla="*/ 0 w 23080"/>
              <a:gd name="connsiteY11" fmla="*/ 9737 h 21918"/>
              <a:gd name="connsiteX12" fmla="*/ 5259 w 23080"/>
              <a:gd name="connsiteY12" fmla="*/ 8186 h 21918"/>
              <a:gd name="connsiteX13" fmla="*/ 217 w 23080"/>
              <a:gd name="connsiteY13" fmla="*/ 2613 h 21918"/>
              <a:gd name="connsiteX14" fmla="*/ 7428 w 23080"/>
              <a:gd name="connsiteY14" fmla="*/ 6145 h 21918"/>
              <a:gd name="connsiteX15" fmla="*/ 8199 w 23080"/>
              <a:gd name="connsiteY15" fmla="*/ 2613 h 21918"/>
              <a:gd name="connsiteX16" fmla="*/ 10647 w 23080"/>
              <a:gd name="connsiteY16" fmla="*/ 6118 h 21918"/>
              <a:gd name="connsiteX0" fmla="*/ 10647 w 23080"/>
              <a:gd name="connsiteY0" fmla="*/ 6118 h 21918"/>
              <a:gd name="connsiteX1" fmla="*/ 15107 w 23080"/>
              <a:gd name="connsiteY1" fmla="*/ 0 h 21918"/>
              <a:gd name="connsiteX2" fmla="*/ 14018 w 23080"/>
              <a:gd name="connsiteY2" fmla="*/ 8431 h 21918"/>
              <a:gd name="connsiteX3" fmla="*/ 23080 w 23080"/>
              <a:gd name="connsiteY3" fmla="*/ 12662 h 21918"/>
              <a:gd name="connsiteX4" fmla="*/ 14163 w 23080"/>
              <a:gd name="connsiteY4" fmla="*/ 11671 h 21918"/>
              <a:gd name="connsiteX5" fmla="*/ 16069 w 23080"/>
              <a:gd name="connsiteY5" fmla="*/ 16597 h 21918"/>
              <a:gd name="connsiteX6" fmla="*/ 10415 w 23080"/>
              <a:gd name="connsiteY6" fmla="*/ 13844 h 21918"/>
              <a:gd name="connsiteX7" fmla="*/ 8332 w 23080"/>
              <a:gd name="connsiteY7" fmla="*/ 21918 h 21918"/>
              <a:gd name="connsiteX8" fmla="*/ 6953 w 23080"/>
              <a:gd name="connsiteY8" fmla="*/ 13857 h 21918"/>
              <a:gd name="connsiteX9" fmla="*/ 1271 w 23080"/>
              <a:gd name="connsiteY9" fmla="*/ 15743 h 21918"/>
              <a:gd name="connsiteX10" fmla="*/ 5277 w 23080"/>
              <a:gd name="connsiteY10" fmla="*/ 11203 h 21918"/>
              <a:gd name="connsiteX11" fmla="*/ 0 w 23080"/>
              <a:gd name="connsiteY11" fmla="*/ 9737 h 21918"/>
              <a:gd name="connsiteX12" fmla="*/ 5259 w 23080"/>
              <a:gd name="connsiteY12" fmla="*/ 8186 h 21918"/>
              <a:gd name="connsiteX13" fmla="*/ 217 w 23080"/>
              <a:gd name="connsiteY13" fmla="*/ 2613 h 21918"/>
              <a:gd name="connsiteX14" fmla="*/ 7428 w 23080"/>
              <a:gd name="connsiteY14" fmla="*/ 6145 h 21918"/>
              <a:gd name="connsiteX15" fmla="*/ 8199 w 23080"/>
              <a:gd name="connsiteY15" fmla="*/ 2613 h 21918"/>
              <a:gd name="connsiteX16" fmla="*/ 10647 w 23080"/>
              <a:gd name="connsiteY16" fmla="*/ 6118 h 21918"/>
              <a:gd name="connsiteX0" fmla="*/ 10647 w 20330"/>
              <a:gd name="connsiteY0" fmla="*/ 6118 h 21918"/>
              <a:gd name="connsiteX1" fmla="*/ 15107 w 20330"/>
              <a:gd name="connsiteY1" fmla="*/ 0 h 21918"/>
              <a:gd name="connsiteX2" fmla="*/ 14018 w 20330"/>
              <a:gd name="connsiteY2" fmla="*/ 8431 h 21918"/>
              <a:gd name="connsiteX3" fmla="*/ 20330 w 20330"/>
              <a:gd name="connsiteY3" fmla="*/ 12087 h 21918"/>
              <a:gd name="connsiteX4" fmla="*/ 14163 w 20330"/>
              <a:gd name="connsiteY4" fmla="*/ 11671 h 21918"/>
              <a:gd name="connsiteX5" fmla="*/ 16069 w 20330"/>
              <a:gd name="connsiteY5" fmla="*/ 16597 h 21918"/>
              <a:gd name="connsiteX6" fmla="*/ 10415 w 20330"/>
              <a:gd name="connsiteY6" fmla="*/ 13844 h 21918"/>
              <a:gd name="connsiteX7" fmla="*/ 8332 w 20330"/>
              <a:gd name="connsiteY7" fmla="*/ 21918 h 21918"/>
              <a:gd name="connsiteX8" fmla="*/ 6953 w 20330"/>
              <a:gd name="connsiteY8" fmla="*/ 13857 h 21918"/>
              <a:gd name="connsiteX9" fmla="*/ 1271 w 20330"/>
              <a:gd name="connsiteY9" fmla="*/ 15743 h 21918"/>
              <a:gd name="connsiteX10" fmla="*/ 5277 w 20330"/>
              <a:gd name="connsiteY10" fmla="*/ 11203 h 21918"/>
              <a:gd name="connsiteX11" fmla="*/ 0 w 20330"/>
              <a:gd name="connsiteY11" fmla="*/ 9737 h 21918"/>
              <a:gd name="connsiteX12" fmla="*/ 5259 w 20330"/>
              <a:gd name="connsiteY12" fmla="*/ 8186 h 21918"/>
              <a:gd name="connsiteX13" fmla="*/ 217 w 20330"/>
              <a:gd name="connsiteY13" fmla="*/ 2613 h 21918"/>
              <a:gd name="connsiteX14" fmla="*/ 7428 w 20330"/>
              <a:gd name="connsiteY14" fmla="*/ 6145 h 21918"/>
              <a:gd name="connsiteX15" fmla="*/ 8199 w 20330"/>
              <a:gd name="connsiteY15" fmla="*/ 2613 h 21918"/>
              <a:gd name="connsiteX16" fmla="*/ 10647 w 20330"/>
              <a:gd name="connsiteY16" fmla="*/ 6118 h 21918"/>
              <a:gd name="connsiteX0" fmla="*/ 10647 w 20330"/>
              <a:gd name="connsiteY0" fmla="*/ 6118 h 21918"/>
              <a:gd name="connsiteX1" fmla="*/ 15107 w 20330"/>
              <a:gd name="connsiteY1" fmla="*/ 0 h 21918"/>
              <a:gd name="connsiteX2" fmla="*/ 14018 w 20330"/>
              <a:gd name="connsiteY2" fmla="*/ 8431 h 21918"/>
              <a:gd name="connsiteX3" fmla="*/ 20330 w 20330"/>
              <a:gd name="connsiteY3" fmla="*/ 12087 h 21918"/>
              <a:gd name="connsiteX4" fmla="*/ 14163 w 20330"/>
              <a:gd name="connsiteY4" fmla="*/ 11671 h 21918"/>
              <a:gd name="connsiteX5" fmla="*/ 16069 w 20330"/>
              <a:gd name="connsiteY5" fmla="*/ 16597 h 21918"/>
              <a:gd name="connsiteX6" fmla="*/ 10415 w 20330"/>
              <a:gd name="connsiteY6" fmla="*/ 13844 h 21918"/>
              <a:gd name="connsiteX7" fmla="*/ 8332 w 20330"/>
              <a:gd name="connsiteY7" fmla="*/ 21918 h 21918"/>
              <a:gd name="connsiteX8" fmla="*/ 6953 w 20330"/>
              <a:gd name="connsiteY8" fmla="*/ 13857 h 21918"/>
              <a:gd name="connsiteX9" fmla="*/ 1271 w 20330"/>
              <a:gd name="connsiteY9" fmla="*/ 15743 h 21918"/>
              <a:gd name="connsiteX10" fmla="*/ 5277 w 20330"/>
              <a:gd name="connsiteY10" fmla="*/ 11203 h 21918"/>
              <a:gd name="connsiteX11" fmla="*/ 0 w 20330"/>
              <a:gd name="connsiteY11" fmla="*/ 9737 h 21918"/>
              <a:gd name="connsiteX12" fmla="*/ 5259 w 20330"/>
              <a:gd name="connsiteY12" fmla="*/ 8186 h 21918"/>
              <a:gd name="connsiteX13" fmla="*/ 217 w 20330"/>
              <a:gd name="connsiteY13" fmla="*/ 2613 h 21918"/>
              <a:gd name="connsiteX14" fmla="*/ 7428 w 20330"/>
              <a:gd name="connsiteY14" fmla="*/ 6145 h 21918"/>
              <a:gd name="connsiteX15" fmla="*/ 8044 w 20330"/>
              <a:gd name="connsiteY15" fmla="*/ 1126 h 21918"/>
              <a:gd name="connsiteX16" fmla="*/ 10647 w 20330"/>
              <a:gd name="connsiteY16" fmla="*/ 6118 h 21918"/>
              <a:gd name="connsiteX0" fmla="*/ 10647 w 20330"/>
              <a:gd name="connsiteY0" fmla="*/ 6118 h 21918"/>
              <a:gd name="connsiteX1" fmla="*/ 15107 w 20330"/>
              <a:gd name="connsiteY1" fmla="*/ 0 h 21918"/>
              <a:gd name="connsiteX2" fmla="*/ 14018 w 20330"/>
              <a:gd name="connsiteY2" fmla="*/ 8431 h 21918"/>
              <a:gd name="connsiteX3" fmla="*/ 20330 w 20330"/>
              <a:gd name="connsiteY3" fmla="*/ 12087 h 21918"/>
              <a:gd name="connsiteX4" fmla="*/ 14163 w 20330"/>
              <a:gd name="connsiteY4" fmla="*/ 11671 h 21918"/>
              <a:gd name="connsiteX5" fmla="*/ 16069 w 20330"/>
              <a:gd name="connsiteY5" fmla="*/ 16597 h 21918"/>
              <a:gd name="connsiteX6" fmla="*/ 10415 w 20330"/>
              <a:gd name="connsiteY6" fmla="*/ 13844 h 21918"/>
              <a:gd name="connsiteX7" fmla="*/ 8332 w 20330"/>
              <a:gd name="connsiteY7" fmla="*/ 21918 h 21918"/>
              <a:gd name="connsiteX8" fmla="*/ 6953 w 20330"/>
              <a:gd name="connsiteY8" fmla="*/ 13857 h 21918"/>
              <a:gd name="connsiteX9" fmla="*/ 1271 w 20330"/>
              <a:gd name="connsiteY9" fmla="*/ 15743 h 21918"/>
              <a:gd name="connsiteX10" fmla="*/ 5277 w 20330"/>
              <a:gd name="connsiteY10" fmla="*/ 11203 h 21918"/>
              <a:gd name="connsiteX11" fmla="*/ 0 w 20330"/>
              <a:gd name="connsiteY11" fmla="*/ 9737 h 21918"/>
              <a:gd name="connsiteX12" fmla="*/ 5259 w 20330"/>
              <a:gd name="connsiteY12" fmla="*/ 8186 h 21918"/>
              <a:gd name="connsiteX13" fmla="*/ 217 w 20330"/>
              <a:gd name="connsiteY13" fmla="*/ 2613 h 21918"/>
              <a:gd name="connsiteX14" fmla="*/ 7614 w 20330"/>
              <a:gd name="connsiteY14" fmla="*/ 6751 h 21918"/>
              <a:gd name="connsiteX15" fmla="*/ 8044 w 20330"/>
              <a:gd name="connsiteY15" fmla="*/ 1126 h 21918"/>
              <a:gd name="connsiteX16" fmla="*/ 10647 w 20330"/>
              <a:gd name="connsiteY16" fmla="*/ 6118 h 21918"/>
              <a:gd name="connsiteX0" fmla="*/ 10647 w 20330"/>
              <a:gd name="connsiteY0" fmla="*/ 6118 h 21918"/>
              <a:gd name="connsiteX1" fmla="*/ 15107 w 20330"/>
              <a:gd name="connsiteY1" fmla="*/ 0 h 21918"/>
              <a:gd name="connsiteX2" fmla="*/ 14018 w 20330"/>
              <a:gd name="connsiteY2" fmla="*/ 8431 h 21918"/>
              <a:gd name="connsiteX3" fmla="*/ 20330 w 20330"/>
              <a:gd name="connsiteY3" fmla="*/ 12087 h 21918"/>
              <a:gd name="connsiteX4" fmla="*/ 12445 w 20330"/>
              <a:gd name="connsiteY4" fmla="*/ 11609 h 21918"/>
              <a:gd name="connsiteX5" fmla="*/ 16069 w 20330"/>
              <a:gd name="connsiteY5" fmla="*/ 16597 h 21918"/>
              <a:gd name="connsiteX6" fmla="*/ 10415 w 20330"/>
              <a:gd name="connsiteY6" fmla="*/ 13844 h 21918"/>
              <a:gd name="connsiteX7" fmla="*/ 8332 w 20330"/>
              <a:gd name="connsiteY7" fmla="*/ 21918 h 21918"/>
              <a:gd name="connsiteX8" fmla="*/ 6953 w 20330"/>
              <a:gd name="connsiteY8" fmla="*/ 13857 h 21918"/>
              <a:gd name="connsiteX9" fmla="*/ 1271 w 20330"/>
              <a:gd name="connsiteY9" fmla="*/ 15743 h 21918"/>
              <a:gd name="connsiteX10" fmla="*/ 5277 w 20330"/>
              <a:gd name="connsiteY10" fmla="*/ 11203 h 21918"/>
              <a:gd name="connsiteX11" fmla="*/ 0 w 20330"/>
              <a:gd name="connsiteY11" fmla="*/ 9737 h 21918"/>
              <a:gd name="connsiteX12" fmla="*/ 5259 w 20330"/>
              <a:gd name="connsiteY12" fmla="*/ 8186 h 21918"/>
              <a:gd name="connsiteX13" fmla="*/ 217 w 20330"/>
              <a:gd name="connsiteY13" fmla="*/ 2613 h 21918"/>
              <a:gd name="connsiteX14" fmla="*/ 7614 w 20330"/>
              <a:gd name="connsiteY14" fmla="*/ 6751 h 21918"/>
              <a:gd name="connsiteX15" fmla="*/ 8044 w 20330"/>
              <a:gd name="connsiteY15" fmla="*/ 1126 h 21918"/>
              <a:gd name="connsiteX16" fmla="*/ 10647 w 20330"/>
              <a:gd name="connsiteY16" fmla="*/ 6118 h 21918"/>
              <a:gd name="connsiteX0" fmla="*/ 10647 w 20330"/>
              <a:gd name="connsiteY0" fmla="*/ 6118 h 21918"/>
              <a:gd name="connsiteX1" fmla="*/ 15107 w 20330"/>
              <a:gd name="connsiteY1" fmla="*/ 0 h 21918"/>
              <a:gd name="connsiteX2" fmla="*/ 14018 w 20330"/>
              <a:gd name="connsiteY2" fmla="*/ 8431 h 21918"/>
              <a:gd name="connsiteX3" fmla="*/ 20330 w 20330"/>
              <a:gd name="connsiteY3" fmla="*/ 12087 h 21918"/>
              <a:gd name="connsiteX4" fmla="*/ 13062 w 20330"/>
              <a:gd name="connsiteY4" fmla="*/ 11667 h 21918"/>
              <a:gd name="connsiteX5" fmla="*/ 16069 w 20330"/>
              <a:gd name="connsiteY5" fmla="*/ 16597 h 21918"/>
              <a:gd name="connsiteX6" fmla="*/ 10415 w 20330"/>
              <a:gd name="connsiteY6" fmla="*/ 13844 h 21918"/>
              <a:gd name="connsiteX7" fmla="*/ 8332 w 20330"/>
              <a:gd name="connsiteY7" fmla="*/ 21918 h 21918"/>
              <a:gd name="connsiteX8" fmla="*/ 6953 w 20330"/>
              <a:gd name="connsiteY8" fmla="*/ 13857 h 21918"/>
              <a:gd name="connsiteX9" fmla="*/ 1271 w 20330"/>
              <a:gd name="connsiteY9" fmla="*/ 15743 h 21918"/>
              <a:gd name="connsiteX10" fmla="*/ 5277 w 20330"/>
              <a:gd name="connsiteY10" fmla="*/ 11203 h 21918"/>
              <a:gd name="connsiteX11" fmla="*/ 0 w 20330"/>
              <a:gd name="connsiteY11" fmla="*/ 9737 h 21918"/>
              <a:gd name="connsiteX12" fmla="*/ 5259 w 20330"/>
              <a:gd name="connsiteY12" fmla="*/ 8186 h 21918"/>
              <a:gd name="connsiteX13" fmla="*/ 217 w 20330"/>
              <a:gd name="connsiteY13" fmla="*/ 2613 h 21918"/>
              <a:gd name="connsiteX14" fmla="*/ 7614 w 20330"/>
              <a:gd name="connsiteY14" fmla="*/ 6751 h 21918"/>
              <a:gd name="connsiteX15" fmla="*/ 8044 w 20330"/>
              <a:gd name="connsiteY15" fmla="*/ 1126 h 21918"/>
              <a:gd name="connsiteX16" fmla="*/ 10647 w 20330"/>
              <a:gd name="connsiteY16" fmla="*/ 6118 h 21918"/>
              <a:gd name="connsiteX0" fmla="*/ 10647 w 20330"/>
              <a:gd name="connsiteY0" fmla="*/ 6118 h 21918"/>
              <a:gd name="connsiteX1" fmla="*/ 15107 w 20330"/>
              <a:gd name="connsiteY1" fmla="*/ 0 h 21918"/>
              <a:gd name="connsiteX2" fmla="*/ 13483 w 20330"/>
              <a:gd name="connsiteY2" fmla="*/ 7988 h 21918"/>
              <a:gd name="connsiteX3" fmla="*/ 20330 w 20330"/>
              <a:gd name="connsiteY3" fmla="*/ 12087 h 21918"/>
              <a:gd name="connsiteX4" fmla="*/ 13062 w 20330"/>
              <a:gd name="connsiteY4" fmla="*/ 11667 h 21918"/>
              <a:gd name="connsiteX5" fmla="*/ 16069 w 20330"/>
              <a:gd name="connsiteY5" fmla="*/ 16597 h 21918"/>
              <a:gd name="connsiteX6" fmla="*/ 10415 w 20330"/>
              <a:gd name="connsiteY6" fmla="*/ 13844 h 21918"/>
              <a:gd name="connsiteX7" fmla="*/ 8332 w 20330"/>
              <a:gd name="connsiteY7" fmla="*/ 21918 h 21918"/>
              <a:gd name="connsiteX8" fmla="*/ 6953 w 20330"/>
              <a:gd name="connsiteY8" fmla="*/ 13857 h 21918"/>
              <a:gd name="connsiteX9" fmla="*/ 1271 w 20330"/>
              <a:gd name="connsiteY9" fmla="*/ 15743 h 21918"/>
              <a:gd name="connsiteX10" fmla="*/ 5277 w 20330"/>
              <a:gd name="connsiteY10" fmla="*/ 11203 h 21918"/>
              <a:gd name="connsiteX11" fmla="*/ 0 w 20330"/>
              <a:gd name="connsiteY11" fmla="*/ 9737 h 21918"/>
              <a:gd name="connsiteX12" fmla="*/ 5259 w 20330"/>
              <a:gd name="connsiteY12" fmla="*/ 8186 h 21918"/>
              <a:gd name="connsiteX13" fmla="*/ 217 w 20330"/>
              <a:gd name="connsiteY13" fmla="*/ 2613 h 21918"/>
              <a:gd name="connsiteX14" fmla="*/ 7614 w 20330"/>
              <a:gd name="connsiteY14" fmla="*/ 6751 h 21918"/>
              <a:gd name="connsiteX15" fmla="*/ 8044 w 20330"/>
              <a:gd name="connsiteY15" fmla="*/ 1126 h 21918"/>
              <a:gd name="connsiteX16" fmla="*/ 10647 w 20330"/>
              <a:gd name="connsiteY16" fmla="*/ 6118 h 21918"/>
              <a:gd name="connsiteX0" fmla="*/ 10647 w 20330"/>
              <a:gd name="connsiteY0" fmla="*/ 5990 h 21790"/>
              <a:gd name="connsiteX1" fmla="*/ 16221 w 20330"/>
              <a:gd name="connsiteY1" fmla="*/ 0 h 21790"/>
              <a:gd name="connsiteX2" fmla="*/ 13483 w 20330"/>
              <a:gd name="connsiteY2" fmla="*/ 7860 h 21790"/>
              <a:gd name="connsiteX3" fmla="*/ 20330 w 20330"/>
              <a:gd name="connsiteY3" fmla="*/ 11959 h 21790"/>
              <a:gd name="connsiteX4" fmla="*/ 13062 w 20330"/>
              <a:gd name="connsiteY4" fmla="*/ 11539 h 21790"/>
              <a:gd name="connsiteX5" fmla="*/ 16069 w 20330"/>
              <a:gd name="connsiteY5" fmla="*/ 16469 h 21790"/>
              <a:gd name="connsiteX6" fmla="*/ 10415 w 20330"/>
              <a:gd name="connsiteY6" fmla="*/ 13716 h 21790"/>
              <a:gd name="connsiteX7" fmla="*/ 8332 w 20330"/>
              <a:gd name="connsiteY7" fmla="*/ 21790 h 21790"/>
              <a:gd name="connsiteX8" fmla="*/ 6953 w 20330"/>
              <a:gd name="connsiteY8" fmla="*/ 13729 h 21790"/>
              <a:gd name="connsiteX9" fmla="*/ 1271 w 20330"/>
              <a:gd name="connsiteY9" fmla="*/ 15615 h 21790"/>
              <a:gd name="connsiteX10" fmla="*/ 5277 w 20330"/>
              <a:gd name="connsiteY10" fmla="*/ 11075 h 21790"/>
              <a:gd name="connsiteX11" fmla="*/ 0 w 20330"/>
              <a:gd name="connsiteY11" fmla="*/ 9609 h 21790"/>
              <a:gd name="connsiteX12" fmla="*/ 5259 w 20330"/>
              <a:gd name="connsiteY12" fmla="*/ 8058 h 21790"/>
              <a:gd name="connsiteX13" fmla="*/ 217 w 20330"/>
              <a:gd name="connsiteY13" fmla="*/ 2485 h 21790"/>
              <a:gd name="connsiteX14" fmla="*/ 7614 w 20330"/>
              <a:gd name="connsiteY14" fmla="*/ 6623 h 21790"/>
              <a:gd name="connsiteX15" fmla="*/ 8044 w 20330"/>
              <a:gd name="connsiteY15" fmla="*/ 998 h 21790"/>
              <a:gd name="connsiteX16" fmla="*/ 10647 w 20330"/>
              <a:gd name="connsiteY16" fmla="*/ 5990 h 21790"/>
              <a:gd name="connsiteX0" fmla="*/ 10647 w 20749"/>
              <a:gd name="connsiteY0" fmla="*/ 5990 h 21790"/>
              <a:gd name="connsiteX1" fmla="*/ 16221 w 20749"/>
              <a:gd name="connsiteY1" fmla="*/ 0 h 21790"/>
              <a:gd name="connsiteX2" fmla="*/ 13483 w 20749"/>
              <a:gd name="connsiteY2" fmla="*/ 7860 h 21790"/>
              <a:gd name="connsiteX3" fmla="*/ 20749 w 20749"/>
              <a:gd name="connsiteY3" fmla="*/ 11286 h 21790"/>
              <a:gd name="connsiteX4" fmla="*/ 13062 w 20749"/>
              <a:gd name="connsiteY4" fmla="*/ 11539 h 21790"/>
              <a:gd name="connsiteX5" fmla="*/ 16069 w 20749"/>
              <a:gd name="connsiteY5" fmla="*/ 16469 h 21790"/>
              <a:gd name="connsiteX6" fmla="*/ 10415 w 20749"/>
              <a:gd name="connsiteY6" fmla="*/ 13716 h 21790"/>
              <a:gd name="connsiteX7" fmla="*/ 8332 w 20749"/>
              <a:gd name="connsiteY7" fmla="*/ 21790 h 21790"/>
              <a:gd name="connsiteX8" fmla="*/ 6953 w 20749"/>
              <a:gd name="connsiteY8" fmla="*/ 13729 h 21790"/>
              <a:gd name="connsiteX9" fmla="*/ 1271 w 20749"/>
              <a:gd name="connsiteY9" fmla="*/ 15615 h 21790"/>
              <a:gd name="connsiteX10" fmla="*/ 5277 w 20749"/>
              <a:gd name="connsiteY10" fmla="*/ 11075 h 21790"/>
              <a:gd name="connsiteX11" fmla="*/ 0 w 20749"/>
              <a:gd name="connsiteY11" fmla="*/ 9609 h 21790"/>
              <a:gd name="connsiteX12" fmla="*/ 5259 w 20749"/>
              <a:gd name="connsiteY12" fmla="*/ 8058 h 21790"/>
              <a:gd name="connsiteX13" fmla="*/ 217 w 20749"/>
              <a:gd name="connsiteY13" fmla="*/ 2485 h 21790"/>
              <a:gd name="connsiteX14" fmla="*/ 7614 w 20749"/>
              <a:gd name="connsiteY14" fmla="*/ 6623 h 21790"/>
              <a:gd name="connsiteX15" fmla="*/ 8044 w 20749"/>
              <a:gd name="connsiteY15" fmla="*/ 998 h 21790"/>
              <a:gd name="connsiteX16" fmla="*/ 10647 w 20749"/>
              <a:gd name="connsiteY16" fmla="*/ 5990 h 21790"/>
              <a:gd name="connsiteX0" fmla="*/ 10647 w 20749"/>
              <a:gd name="connsiteY0" fmla="*/ 5990 h 21790"/>
              <a:gd name="connsiteX1" fmla="*/ 16221 w 20749"/>
              <a:gd name="connsiteY1" fmla="*/ 0 h 21790"/>
              <a:gd name="connsiteX2" fmla="*/ 13483 w 20749"/>
              <a:gd name="connsiteY2" fmla="*/ 7860 h 21790"/>
              <a:gd name="connsiteX3" fmla="*/ 20749 w 20749"/>
              <a:gd name="connsiteY3" fmla="*/ 11286 h 21790"/>
              <a:gd name="connsiteX4" fmla="*/ 13062 w 20749"/>
              <a:gd name="connsiteY4" fmla="*/ 11539 h 21790"/>
              <a:gd name="connsiteX5" fmla="*/ 16069 w 20749"/>
              <a:gd name="connsiteY5" fmla="*/ 16469 h 21790"/>
              <a:gd name="connsiteX6" fmla="*/ 10415 w 20749"/>
              <a:gd name="connsiteY6" fmla="*/ 13716 h 21790"/>
              <a:gd name="connsiteX7" fmla="*/ 8332 w 20749"/>
              <a:gd name="connsiteY7" fmla="*/ 21790 h 21790"/>
              <a:gd name="connsiteX8" fmla="*/ 6953 w 20749"/>
              <a:gd name="connsiteY8" fmla="*/ 13729 h 21790"/>
              <a:gd name="connsiteX9" fmla="*/ 1271 w 20749"/>
              <a:gd name="connsiteY9" fmla="*/ 15615 h 21790"/>
              <a:gd name="connsiteX10" fmla="*/ 5277 w 20749"/>
              <a:gd name="connsiteY10" fmla="*/ 11075 h 21790"/>
              <a:gd name="connsiteX11" fmla="*/ 0 w 20749"/>
              <a:gd name="connsiteY11" fmla="*/ 9609 h 21790"/>
              <a:gd name="connsiteX12" fmla="*/ 217 w 20749"/>
              <a:gd name="connsiteY12" fmla="*/ 2485 h 21790"/>
              <a:gd name="connsiteX13" fmla="*/ 7614 w 20749"/>
              <a:gd name="connsiteY13" fmla="*/ 6623 h 21790"/>
              <a:gd name="connsiteX14" fmla="*/ 8044 w 20749"/>
              <a:gd name="connsiteY14" fmla="*/ 998 h 21790"/>
              <a:gd name="connsiteX15" fmla="*/ 10647 w 20749"/>
              <a:gd name="connsiteY15" fmla="*/ 5990 h 21790"/>
              <a:gd name="connsiteX0" fmla="*/ 10430 w 20532"/>
              <a:gd name="connsiteY0" fmla="*/ 5990 h 21790"/>
              <a:gd name="connsiteX1" fmla="*/ 16004 w 20532"/>
              <a:gd name="connsiteY1" fmla="*/ 0 h 21790"/>
              <a:gd name="connsiteX2" fmla="*/ 13266 w 20532"/>
              <a:gd name="connsiteY2" fmla="*/ 7860 h 21790"/>
              <a:gd name="connsiteX3" fmla="*/ 20532 w 20532"/>
              <a:gd name="connsiteY3" fmla="*/ 11286 h 21790"/>
              <a:gd name="connsiteX4" fmla="*/ 12845 w 20532"/>
              <a:gd name="connsiteY4" fmla="*/ 11539 h 21790"/>
              <a:gd name="connsiteX5" fmla="*/ 15852 w 20532"/>
              <a:gd name="connsiteY5" fmla="*/ 16469 h 21790"/>
              <a:gd name="connsiteX6" fmla="*/ 10198 w 20532"/>
              <a:gd name="connsiteY6" fmla="*/ 13716 h 21790"/>
              <a:gd name="connsiteX7" fmla="*/ 8115 w 20532"/>
              <a:gd name="connsiteY7" fmla="*/ 21790 h 21790"/>
              <a:gd name="connsiteX8" fmla="*/ 6736 w 20532"/>
              <a:gd name="connsiteY8" fmla="*/ 13729 h 21790"/>
              <a:gd name="connsiteX9" fmla="*/ 1054 w 20532"/>
              <a:gd name="connsiteY9" fmla="*/ 15615 h 21790"/>
              <a:gd name="connsiteX10" fmla="*/ 5060 w 20532"/>
              <a:gd name="connsiteY10" fmla="*/ 11075 h 21790"/>
              <a:gd name="connsiteX11" fmla="*/ 0 w 20532"/>
              <a:gd name="connsiteY11" fmla="*/ 2485 h 21790"/>
              <a:gd name="connsiteX12" fmla="*/ 7397 w 20532"/>
              <a:gd name="connsiteY12" fmla="*/ 6623 h 21790"/>
              <a:gd name="connsiteX13" fmla="*/ 7827 w 20532"/>
              <a:gd name="connsiteY13" fmla="*/ 998 h 21790"/>
              <a:gd name="connsiteX14" fmla="*/ 10430 w 20532"/>
              <a:gd name="connsiteY14" fmla="*/ 5990 h 21790"/>
              <a:gd name="connsiteX0" fmla="*/ 10430 w 20532"/>
              <a:gd name="connsiteY0" fmla="*/ 5990 h 21790"/>
              <a:gd name="connsiteX1" fmla="*/ 16004 w 20532"/>
              <a:gd name="connsiteY1" fmla="*/ 0 h 21790"/>
              <a:gd name="connsiteX2" fmla="*/ 13266 w 20532"/>
              <a:gd name="connsiteY2" fmla="*/ 7860 h 21790"/>
              <a:gd name="connsiteX3" fmla="*/ 20532 w 20532"/>
              <a:gd name="connsiteY3" fmla="*/ 11286 h 21790"/>
              <a:gd name="connsiteX4" fmla="*/ 12845 w 20532"/>
              <a:gd name="connsiteY4" fmla="*/ 11539 h 21790"/>
              <a:gd name="connsiteX5" fmla="*/ 15852 w 20532"/>
              <a:gd name="connsiteY5" fmla="*/ 16469 h 21790"/>
              <a:gd name="connsiteX6" fmla="*/ 10198 w 20532"/>
              <a:gd name="connsiteY6" fmla="*/ 13716 h 21790"/>
              <a:gd name="connsiteX7" fmla="*/ 8115 w 20532"/>
              <a:gd name="connsiteY7" fmla="*/ 21790 h 21790"/>
              <a:gd name="connsiteX8" fmla="*/ 6736 w 20532"/>
              <a:gd name="connsiteY8" fmla="*/ 13729 h 21790"/>
              <a:gd name="connsiteX9" fmla="*/ 1054 w 20532"/>
              <a:gd name="connsiteY9" fmla="*/ 15615 h 21790"/>
              <a:gd name="connsiteX10" fmla="*/ 6165 w 20532"/>
              <a:gd name="connsiteY10" fmla="*/ 9951 h 21790"/>
              <a:gd name="connsiteX11" fmla="*/ 0 w 20532"/>
              <a:gd name="connsiteY11" fmla="*/ 2485 h 21790"/>
              <a:gd name="connsiteX12" fmla="*/ 7397 w 20532"/>
              <a:gd name="connsiteY12" fmla="*/ 6623 h 21790"/>
              <a:gd name="connsiteX13" fmla="*/ 7827 w 20532"/>
              <a:gd name="connsiteY13" fmla="*/ 998 h 21790"/>
              <a:gd name="connsiteX14" fmla="*/ 10430 w 20532"/>
              <a:gd name="connsiteY14" fmla="*/ 5990 h 21790"/>
              <a:gd name="connsiteX0" fmla="*/ 10430 w 20532"/>
              <a:gd name="connsiteY0" fmla="*/ 5990 h 21790"/>
              <a:gd name="connsiteX1" fmla="*/ 16004 w 20532"/>
              <a:gd name="connsiteY1" fmla="*/ 0 h 21790"/>
              <a:gd name="connsiteX2" fmla="*/ 13266 w 20532"/>
              <a:gd name="connsiteY2" fmla="*/ 7860 h 21790"/>
              <a:gd name="connsiteX3" fmla="*/ 20532 w 20532"/>
              <a:gd name="connsiteY3" fmla="*/ 11286 h 21790"/>
              <a:gd name="connsiteX4" fmla="*/ 12845 w 20532"/>
              <a:gd name="connsiteY4" fmla="*/ 11539 h 21790"/>
              <a:gd name="connsiteX5" fmla="*/ 15852 w 20532"/>
              <a:gd name="connsiteY5" fmla="*/ 16469 h 21790"/>
              <a:gd name="connsiteX6" fmla="*/ 10198 w 20532"/>
              <a:gd name="connsiteY6" fmla="*/ 13716 h 21790"/>
              <a:gd name="connsiteX7" fmla="*/ 8115 w 20532"/>
              <a:gd name="connsiteY7" fmla="*/ 21790 h 21790"/>
              <a:gd name="connsiteX8" fmla="*/ 6736 w 20532"/>
              <a:gd name="connsiteY8" fmla="*/ 13729 h 21790"/>
              <a:gd name="connsiteX9" fmla="*/ 1054 w 20532"/>
              <a:gd name="connsiteY9" fmla="*/ 15615 h 21790"/>
              <a:gd name="connsiteX10" fmla="*/ 722 w 20532"/>
              <a:gd name="connsiteY10" fmla="*/ 14749 h 21790"/>
              <a:gd name="connsiteX11" fmla="*/ 6165 w 20532"/>
              <a:gd name="connsiteY11" fmla="*/ 9951 h 21790"/>
              <a:gd name="connsiteX12" fmla="*/ 0 w 20532"/>
              <a:gd name="connsiteY12" fmla="*/ 2485 h 21790"/>
              <a:gd name="connsiteX13" fmla="*/ 7397 w 20532"/>
              <a:gd name="connsiteY13" fmla="*/ 6623 h 21790"/>
              <a:gd name="connsiteX14" fmla="*/ 7827 w 20532"/>
              <a:gd name="connsiteY14" fmla="*/ 998 h 21790"/>
              <a:gd name="connsiteX15" fmla="*/ 10430 w 20532"/>
              <a:gd name="connsiteY15" fmla="*/ 5990 h 21790"/>
              <a:gd name="connsiteX0" fmla="*/ 10430 w 20532"/>
              <a:gd name="connsiteY0" fmla="*/ 5990 h 21790"/>
              <a:gd name="connsiteX1" fmla="*/ 16004 w 20532"/>
              <a:gd name="connsiteY1" fmla="*/ 0 h 21790"/>
              <a:gd name="connsiteX2" fmla="*/ 13266 w 20532"/>
              <a:gd name="connsiteY2" fmla="*/ 7860 h 21790"/>
              <a:gd name="connsiteX3" fmla="*/ 20532 w 20532"/>
              <a:gd name="connsiteY3" fmla="*/ 11286 h 21790"/>
              <a:gd name="connsiteX4" fmla="*/ 12845 w 20532"/>
              <a:gd name="connsiteY4" fmla="*/ 11539 h 21790"/>
              <a:gd name="connsiteX5" fmla="*/ 15852 w 20532"/>
              <a:gd name="connsiteY5" fmla="*/ 16469 h 21790"/>
              <a:gd name="connsiteX6" fmla="*/ 10198 w 20532"/>
              <a:gd name="connsiteY6" fmla="*/ 13716 h 21790"/>
              <a:gd name="connsiteX7" fmla="*/ 8115 w 20532"/>
              <a:gd name="connsiteY7" fmla="*/ 21790 h 21790"/>
              <a:gd name="connsiteX8" fmla="*/ 6736 w 20532"/>
              <a:gd name="connsiteY8" fmla="*/ 13729 h 21790"/>
              <a:gd name="connsiteX9" fmla="*/ 722 w 20532"/>
              <a:gd name="connsiteY9" fmla="*/ 14749 h 21790"/>
              <a:gd name="connsiteX10" fmla="*/ 6165 w 20532"/>
              <a:gd name="connsiteY10" fmla="*/ 9951 h 21790"/>
              <a:gd name="connsiteX11" fmla="*/ 0 w 20532"/>
              <a:gd name="connsiteY11" fmla="*/ 2485 h 21790"/>
              <a:gd name="connsiteX12" fmla="*/ 7397 w 20532"/>
              <a:gd name="connsiteY12" fmla="*/ 6623 h 21790"/>
              <a:gd name="connsiteX13" fmla="*/ 7827 w 20532"/>
              <a:gd name="connsiteY13" fmla="*/ 998 h 21790"/>
              <a:gd name="connsiteX14" fmla="*/ 10430 w 20532"/>
              <a:gd name="connsiteY14" fmla="*/ 5990 h 21790"/>
              <a:gd name="connsiteX0" fmla="*/ 10430 w 20532"/>
              <a:gd name="connsiteY0" fmla="*/ 5990 h 21790"/>
              <a:gd name="connsiteX1" fmla="*/ 16004 w 20532"/>
              <a:gd name="connsiteY1" fmla="*/ 0 h 21790"/>
              <a:gd name="connsiteX2" fmla="*/ 12942 w 20532"/>
              <a:gd name="connsiteY2" fmla="*/ 8272 h 21790"/>
              <a:gd name="connsiteX3" fmla="*/ 20532 w 20532"/>
              <a:gd name="connsiteY3" fmla="*/ 11286 h 21790"/>
              <a:gd name="connsiteX4" fmla="*/ 12845 w 20532"/>
              <a:gd name="connsiteY4" fmla="*/ 11539 h 21790"/>
              <a:gd name="connsiteX5" fmla="*/ 15852 w 20532"/>
              <a:gd name="connsiteY5" fmla="*/ 16469 h 21790"/>
              <a:gd name="connsiteX6" fmla="*/ 10198 w 20532"/>
              <a:gd name="connsiteY6" fmla="*/ 13716 h 21790"/>
              <a:gd name="connsiteX7" fmla="*/ 8115 w 20532"/>
              <a:gd name="connsiteY7" fmla="*/ 21790 h 21790"/>
              <a:gd name="connsiteX8" fmla="*/ 6736 w 20532"/>
              <a:gd name="connsiteY8" fmla="*/ 13729 h 21790"/>
              <a:gd name="connsiteX9" fmla="*/ 722 w 20532"/>
              <a:gd name="connsiteY9" fmla="*/ 14749 h 21790"/>
              <a:gd name="connsiteX10" fmla="*/ 6165 w 20532"/>
              <a:gd name="connsiteY10" fmla="*/ 9951 h 21790"/>
              <a:gd name="connsiteX11" fmla="*/ 0 w 20532"/>
              <a:gd name="connsiteY11" fmla="*/ 2485 h 21790"/>
              <a:gd name="connsiteX12" fmla="*/ 7397 w 20532"/>
              <a:gd name="connsiteY12" fmla="*/ 6623 h 21790"/>
              <a:gd name="connsiteX13" fmla="*/ 7827 w 20532"/>
              <a:gd name="connsiteY13" fmla="*/ 998 h 21790"/>
              <a:gd name="connsiteX14" fmla="*/ 10430 w 20532"/>
              <a:gd name="connsiteY14" fmla="*/ 5990 h 21790"/>
              <a:gd name="connsiteX0" fmla="*/ 10430 w 20532"/>
              <a:gd name="connsiteY0" fmla="*/ 5990 h 21790"/>
              <a:gd name="connsiteX1" fmla="*/ 16004 w 20532"/>
              <a:gd name="connsiteY1" fmla="*/ 0 h 21790"/>
              <a:gd name="connsiteX2" fmla="*/ 12942 w 20532"/>
              <a:gd name="connsiteY2" fmla="*/ 8272 h 21790"/>
              <a:gd name="connsiteX3" fmla="*/ 20532 w 20532"/>
              <a:gd name="connsiteY3" fmla="*/ 11286 h 21790"/>
              <a:gd name="connsiteX4" fmla="*/ 12845 w 20532"/>
              <a:gd name="connsiteY4" fmla="*/ 11539 h 21790"/>
              <a:gd name="connsiteX5" fmla="*/ 14445 w 20532"/>
              <a:gd name="connsiteY5" fmla="*/ 15871 h 21790"/>
              <a:gd name="connsiteX6" fmla="*/ 10198 w 20532"/>
              <a:gd name="connsiteY6" fmla="*/ 13716 h 21790"/>
              <a:gd name="connsiteX7" fmla="*/ 8115 w 20532"/>
              <a:gd name="connsiteY7" fmla="*/ 21790 h 21790"/>
              <a:gd name="connsiteX8" fmla="*/ 6736 w 20532"/>
              <a:gd name="connsiteY8" fmla="*/ 13729 h 21790"/>
              <a:gd name="connsiteX9" fmla="*/ 722 w 20532"/>
              <a:gd name="connsiteY9" fmla="*/ 14749 h 21790"/>
              <a:gd name="connsiteX10" fmla="*/ 6165 w 20532"/>
              <a:gd name="connsiteY10" fmla="*/ 9951 h 21790"/>
              <a:gd name="connsiteX11" fmla="*/ 0 w 20532"/>
              <a:gd name="connsiteY11" fmla="*/ 2485 h 21790"/>
              <a:gd name="connsiteX12" fmla="*/ 7397 w 20532"/>
              <a:gd name="connsiteY12" fmla="*/ 6623 h 21790"/>
              <a:gd name="connsiteX13" fmla="*/ 7827 w 20532"/>
              <a:gd name="connsiteY13" fmla="*/ 998 h 21790"/>
              <a:gd name="connsiteX14" fmla="*/ 10430 w 20532"/>
              <a:gd name="connsiteY14" fmla="*/ 5990 h 21790"/>
              <a:gd name="connsiteX0" fmla="*/ 10430 w 20532"/>
              <a:gd name="connsiteY0" fmla="*/ 5990 h 22312"/>
              <a:gd name="connsiteX1" fmla="*/ 16004 w 20532"/>
              <a:gd name="connsiteY1" fmla="*/ 0 h 22312"/>
              <a:gd name="connsiteX2" fmla="*/ 12942 w 20532"/>
              <a:gd name="connsiteY2" fmla="*/ 8272 h 22312"/>
              <a:gd name="connsiteX3" fmla="*/ 20532 w 20532"/>
              <a:gd name="connsiteY3" fmla="*/ 11286 h 22312"/>
              <a:gd name="connsiteX4" fmla="*/ 12845 w 20532"/>
              <a:gd name="connsiteY4" fmla="*/ 11539 h 22312"/>
              <a:gd name="connsiteX5" fmla="*/ 14445 w 20532"/>
              <a:gd name="connsiteY5" fmla="*/ 15871 h 22312"/>
              <a:gd name="connsiteX6" fmla="*/ 10198 w 20532"/>
              <a:gd name="connsiteY6" fmla="*/ 13716 h 22312"/>
              <a:gd name="connsiteX7" fmla="*/ 7925 w 20532"/>
              <a:gd name="connsiteY7" fmla="*/ 22312 h 22312"/>
              <a:gd name="connsiteX8" fmla="*/ 6736 w 20532"/>
              <a:gd name="connsiteY8" fmla="*/ 13729 h 22312"/>
              <a:gd name="connsiteX9" fmla="*/ 722 w 20532"/>
              <a:gd name="connsiteY9" fmla="*/ 14749 h 22312"/>
              <a:gd name="connsiteX10" fmla="*/ 6165 w 20532"/>
              <a:gd name="connsiteY10" fmla="*/ 9951 h 22312"/>
              <a:gd name="connsiteX11" fmla="*/ 0 w 20532"/>
              <a:gd name="connsiteY11" fmla="*/ 2485 h 22312"/>
              <a:gd name="connsiteX12" fmla="*/ 7397 w 20532"/>
              <a:gd name="connsiteY12" fmla="*/ 6623 h 22312"/>
              <a:gd name="connsiteX13" fmla="*/ 7827 w 20532"/>
              <a:gd name="connsiteY13" fmla="*/ 998 h 22312"/>
              <a:gd name="connsiteX14" fmla="*/ 10430 w 20532"/>
              <a:gd name="connsiteY14" fmla="*/ 5990 h 22312"/>
              <a:gd name="connsiteX0" fmla="*/ 10495 w 20532"/>
              <a:gd name="connsiteY0" fmla="*/ 6610 h 22312"/>
              <a:gd name="connsiteX1" fmla="*/ 16004 w 20532"/>
              <a:gd name="connsiteY1" fmla="*/ 0 h 22312"/>
              <a:gd name="connsiteX2" fmla="*/ 12942 w 20532"/>
              <a:gd name="connsiteY2" fmla="*/ 8272 h 22312"/>
              <a:gd name="connsiteX3" fmla="*/ 20532 w 20532"/>
              <a:gd name="connsiteY3" fmla="*/ 11286 h 22312"/>
              <a:gd name="connsiteX4" fmla="*/ 12845 w 20532"/>
              <a:gd name="connsiteY4" fmla="*/ 11539 h 22312"/>
              <a:gd name="connsiteX5" fmla="*/ 14445 w 20532"/>
              <a:gd name="connsiteY5" fmla="*/ 15871 h 22312"/>
              <a:gd name="connsiteX6" fmla="*/ 10198 w 20532"/>
              <a:gd name="connsiteY6" fmla="*/ 13716 h 22312"/>
              <a:gd name="connsiteX7" fmla="*/ 7925 w 20532"/>
              <a:gd name="connsiteY7" fmla="*/ 22312 h 22312"/>
              <a:gd name="connsiteX8" fmla="*/ 6736 w 20532"/>
              <a:gd name="connsiteY8" fmla="*/ 13729 h 22312"/>
              <a:gd name="connsiteX9" fmla="*/ 722 w 20532"/>
              <a:gd name="connsiteY9" fmla="*/ 14749 h 22312"/>
              <a:gd name="connsiteX10" fmla="*/ 6165 w 20532"/>
              <a:gd name="connsiteY10" fmla="*/ 9951 h 22312"/>
              <a:gd name="connsiteX11" fmla="*/ 0 w 20532"/>
              <a:gd name="connsiteY11" fmla="*/ 2485 h 22312"/>
              <a:gd name="connsiteX12" fmla="*/ 7397 w 20532"/>
              <a:gd name="connsiteY12" fmla="*/ 6623 h 22312"/>
              <a:gd name="connsiteX13" fmla="*/ 7827 w 20532"/>
              <a:gd name="connsiteY13" fmla="*/ 998 h 22312"/>
              <a:gd name="connsiteX14" fmla="*/ 10495 w 20532"/>
              <a:gd name="connsiteY14" fmla="*/ 6610 h 22312"/>
              <a:gd name="connsiteX0" fmla="*/ 10495 w 20532"/>
              <a:gd name="connsiteY0" fmla="*/ 6035 h 21737"/>
              <a:gd name="connsiteX1" fmla="*/ 15331 w 20532"/>
              <a:gd name="connsiteY1" fmla="*/ 0 h 21737"/>
              <a:gd name="connsiteX2" fmla="*/ 12942 w 20532"/>
              <a:gd name="connsiteY2" fmla="*/ 7697 h 21737"/>
              <a:gd name="connsiteX3" fmla="*/ 20532 w 20532"/>
              <a:gd name="connsiteY3" fmla="*/ 10711 h 21737"/>
              <a:gd name="connsiteX4" fmla="*/ 12845 w 20532"/>
              <a:gd name="connsiteY4" fmla="*/ 10964 h 21737"/>
              <a:gd name="connsiteX5" fmla="*/ 14445 w 20532"/>
              <a:gd name="connsiteY5" fmla="*/ 15296 h 21737"/>
              <a:gd name="connsiteX6" fmla="*/ 10198 w 20532"/>
              <a:gd name="connsiteY6" fmla="*/ 13141 h 21737"/>
              <a:gd name="connsiteX7" fmla="*/ 7925 w 20532"/>
              <a:gd name="connsiteY7" fmla="*/ 21737 h 21737"/>
              <a:gd name="connsiteX8" fmla="*/ 6736 w 20532"/>
              <a:gd name="connsiteY8" fmla="*/ 13154 h 21737"/>
              <a:gd name="connsiteX9" fmla="*/ 722 w 20532"/>
              <a:gd name="connsiteY9" fmla="*/ 14174 h 21737"/>
              <a:gd name="connsiteX10" fmla="*/ 6165 w 20532"/>
              <a:gd name="connsiteY10" fmla="*/ 9376 h 21737"/>
              <a:gd name="connsiteX11" fmla="*/ 0 w 20532"/>
              <a:gd name="connsiteY11" fmla="*/ 1910 h 21737"/>
              <a:gd name="connsiteX12" fmla="*/ 7397 w 20532"/>
              <a:gd name="connsiteY12" fmla="*/ 6048 h 21737"/>
              <a:gd name="connsiteX13" fmla="*/ 7827 w 20532"/>
              <a:gd name="connsiteY13" fmla="*/ 423 h 21737"/>
              <a:gd name="connsiteX14" fmla="*/ 10495 w 20532"/>
              <a:gd name="connsiteY14" fmla="*/ 6035 h 21737"/>
              <a:gd name="connsiteX0" fmla="*/ 10495 w 20532"/>
              <a:gd name="connsiteY0" fmla="*/ 6035 h 21737"/>
              <a:gd name="connsiteX1" fmla="*/ 15331 w 20532"/>
              <a:gd name="connsiteY1" fmla="*/ 0 h 21737"/>
              <a:gd name="connsiteX2" fmla="*/ 12942 w 20532"/>
              <a:gd name="connsiteY2" fmla="*/ 7697 h 21737"/>
              <a:gd name="connsiteX3" fmla="*/ 20532 w 20532"/>
              <a:gd name="connsiteY3" fmla="*/ 10711 h 21737"/>
              <a:gd name="connsiteX4" fmla="*/ 12845 w 20532"/>
              <a:gd name="connsiteY4" fmla="*/ 10964 h 21737"/>
              <a:gd name="connsiteX5" fmla="*/ 14445 w 20532"/>
              <a:gd name="connsiteY5" fmla="*/ 15296 h 21737"/>
              <a:gd name="connsiteX6" fmla="*/ 10198 w 20532"/>
              <a:gd name="connsiteY6" fmla="*/ 13141 h 21737"/>
              <a:gd name="connsiteX7" fmla="*/ 7925 w 20532"/>
              <a:gd name="connsiteY7" fmla="*/ 21737 h 21737"/>
              <a:gd name="connsiteX8" fmla="*/ 6736 w 20532"/>
              <a:gd name="connsiteY8" fmla="*/ 13154 h 21737"/>
              <a:gd name="connsiteX9" fmla="*/ 1844 w 20532"/>
              <a:gd name="connsiteY9" fmla="*/ 12729 h 21737"/>
              <a:gd name="connsiteX10" fmla="*/ 6165 w 20532"/>
              <a:gd name="connsiteY10" fmla="*/ 9376 h 21737"/>
              <a:gd name="connsiteX11" fmla="*/ 0 w 20532"/>
              <a:gd name="connsiteY11" fmla="*/ 1910 h 21737"/>
              <a:gd name="connsiteX12" fmla="*/ 7397 w 20532"/>
              <a:gd name="connsiteY12" fmla="*/ 6048 h 21737"/>
              <a:gd name="connsiteX13" fmla="*/ 7827 w 20532"/>
              <a:gd name="connsiteY13" fmla="*/ 423 h 21737"/>
              <a:gd name="connsiteX14" fmla="*/ 10495 w 20532"/>
              <a:gd name="connsiteY14" fmla="*/ 6035 h 21737"/>
              <a:gd name="connsiteX0" fmla="*/ 10495 w 20532"/>
              <a:gd name="connsiteY0" fmla="*/ 6035 h 21737"/>
              <a:gd name="connsiteX1" fmla="*/ 15331 w 20532"/>
              <a:gd name="connsiteY1" fmla="*/ 0 h 21737"/>
              <a:gd name="connsiteX2" fmla="*/ 12942 w 20532"/>
              <a:gd name="connsiteY2" fmla="*/ 7697 h 21737"/>
              <a:gd name="connsiteX3" fmla="*/ 20532 w 20532"/>
              <a:gd name="connsiteY3" fmla="*/ 10711 h 21737"/>
              <a:gd name="connsiteX4" fmla="*/ 12845 w 20532"/>
              <a:gd name="connsiteY4" fmla="*/ 10964 h 21737"/>
              <a:gd name="connsiteX5" fmla="*/ 14445 w 20532"/>
              <a:gd name="connsiteY5" fmla="*/ 15296 h 21737"/>
              <a:gd name="connsiteX6" fmla="*/ 10198 w 20532"/>
              <a:gd name="connsiteY6" fmla="*/ 13141 h 21737"/>
              <a:gd name="connsiteX7" fmla="*/ 7925 w 20532"/>
              <a:gd name="connsiteY7" fmla="*/ 21737 h 21737"/>
              <a:gd name="connsiteX8" fmla="*/ 7684 w 20532"/>
              <a:gd name="connsiteY8" fmla="*/ 11846 h 21737"/>
              <a:gd name="connsiteX9" fmla="*/ 1844 w 20532"/>
              <a:gd name="connsiteY9" fmla="*/ 12729 h 21737"/>
              <a:gd name="connsiteX10" fmla="*/ 6165 w 20532"/>
              <a:gd name="connsiteY10" fmla="*/ 9376 h 21737"/>
              <a:gd name="connsiteX11" fmla="*/ 0 w 20532"/>
              <a:gd name="connsiteY11" fmla="*/ 1910 h 21737"/>
              <a:gd name="connsiteX12" fmla="*/ 7397 w 20532"/>
              <a:gd name="connsiteY12" fmla="*/ 6048 h 21737"/>
              <a:gd name="connsiteX13" fmla="*/ 7827 w 20532"/>
              <a:gd name="connsiteY13" fmla="*/ 423 h 21737"/>
              <a:gd name="connsiteX14" fmla="*/ 10495 w 20532"/>
              <a:gd name="connsiteY14" fmla="*/ 6035 h 21737"/>
              <a:gd name="connsiteX0" fmla="*/ 10495 w 20532"/>
              <a:gd name="connsiteY0" fmla="*/ 6035 h 21737"/>
              <a:gd name="connsiteX1" fmla="*/ 15331 w 20532"/>
              <a:gd name="connsiteY1" fmla="*/ 0 h 21737"/>
              <a:gd name="connsiteX2" fmla="*/ 12942 w 20532"/>
              <a:gd name="connsiteY2" fmla="*/ 7697 h 21737"/>
              <a:gd name="connsiteX3" fmla="*/ 20532 w 20532"/>
              <a:gd name="connsiteY3" fmla="*/ 10711 h 21737"/>
              <a:gd name="connsiteX4" fmla="*/ 12845 w 20532"/>
              <a:gd name="connsiteY4" fmla="*/ 10964 h 21737"/>
              <a:gd name="connsiteX5" fmla="*/ 14445 w 20532"/>
              <a:gd name="connsiteY5" fmla="*/ 15296 h 21737"/>
              <a:gd name="connsiteX6" fmla="*/ 10554 w 20532"/>
              <a:gd name="connsiteY6" fmla="*/ 11592 h 21737"/>
              <a:gd name="connsiteX7" fmla="*/ 7925 w 20532"/>
              <a:gd name="connsiteY7" fmla="*/ 21737 h 21737"/>
              <a:gd name="connsiteX8" fmla="*/ 7684 w 20532"/>
              <a:gd name="connsiteY8" fmla="*/ 11846 h 21737"/>
              <a:gd name="connsiteX9" fmla="*/ 1844 w 20532"/>
              <a:gd name="connsiteY9" fmla="*/ 12729 h 21737"/>
              <a:gd name="connsiteX10" fmla="*/ 6165 w 20532"/>
              <a:gd name="connsiteY10" fmla="*/ 9376 h 21737"/>
              <a:gd name="connsiteX11" fmla="*/ 0 w 20532"/>
              <a:gd name="connsiteY11" fmla="*/ 1910 h 21737"/>
              <a:gd name="connsiteX12" fmla="*/ 7397 w 20532"/>
              <a:gd name="connsiteY12" fmla="*/ 6048 h 21737"/>
              <a:gd name="connsiteX13" fmla="*/ 7827 w 20532"/>
              <a:gd name="connsiteY13" fmla="*/ 423 h 21737"/>
              <a:gd name="connsiteX14" fmla="*/ 10495 w 20532"/>
              <a:gd name="connsiteY14" fmla="*/ 6035 h 21737"/>
              <a:gd name="connsiteX0" fmla="*/ 10495 w 20532"/>
              <a:gd name="connsiteY0" fmla="*/ 6035 h 21737"/>
              <a:gd name="connsiteX1" fmla="*/ 15331 w 20532"/>
              <a:gd name="connsiteY1" fmla="*/ 0 h 21737"/>
              <a:gd name="connsiteX2" fmla="*/ 12942 w 20532"/>
              <a:gd name="connsiteY2" fmla="*/ 7697 h 21737"/>
              <a:gd name="connsiteX3" fmla="*/ 20532 w 20532"/>
              <a:gd name="connsiteY3" fmla="*/ 10711 h 21737"/>
              <a:gd name="connsiteX4" fmla="*/ 12845 w 20532"/>
              <a:gd name="connsiteY4" fmla="*/ 10964 h 21737"/>
              <a:gd name="connsiteX5" fmla="*/ 14445 w 20532"/>
              <a:gd name="connsiteY5" fmla="*/ 15296 h 21737"/>
              <a:gd name="connsiteX6" fmla="*/ 10554 w 20532"/>
              <a:gd name="connsiteY6" fmla="*/ 11592 h 21737"/>
              <a:gd name="connsiteX7" fmla="*/ 7925 w 20532"/>
              <a:gd name="connsiteY7" fmla="*/ 21737 h 21737"/>
              <a:gd name="connsiteX8" fmla="*/ 8112 w 20532"/>
              <a:gd name="connsiteY8" fmla="*/ 10946 h 21737"/>
              <a:gd name="connsiteX9" fmla="*/ 1844 w 20532"/>
              <a:gd name="connsiteY9" fmla="*/ 12729 h 21737"/>
              <a:gd name="connsiteX10" fmla="*/ 6165 w 20532"/>
              <a:gd name="connsiteY10" fmla="*/ 9376 h 21737"/>
              <a:gd name="connsiteX11" fmla="*/ 0 w 20532"/>
              <a:gd name="connsiteY11" fmla="*/ 1910 h 21737"/>
              <a:gd name="connsiteX12" fmla="*/ 7397 w 20532"/>
              <a:gd name="connsiteY12" fmla="*/ 6048 h 21737"/>
              <a:gd name="connsiteX13" fmla="*/ 7827 w 20532"/>
              <a:gd name="connsiteY13" fmla="*/ 423 h 21737"/>
              <a:gd name="connsiteX14" fmla="*/ 10495 w 20532"/>
              <a:gd name="connsiteY14" fmla="*/ 6035 h 21737"/>
              <a:gd name="connsiteX0" fmla="*/ 10495 w 20532"/>
              <a:gd name="connsiteY0" fmla="*/ 6035 h 21737"/>
              <a:gd name="connsiteX1" fmla="*/ 15331 w 20532"/>
              <a:gd name="connsiteY1" fmla="*/ 0 h 21737"/>
              <a:gd name="connsiteX2" fmla="*/ 12942 w 20532"/>
              <a:gd name="connsiteY2" fmla="*/ 7697 h 21737"/>
              <a:gd name="connsiteX3" fmla="*/ 20532 w 20532"/>
              <a:gd name="connsiteY3" fmla="*/ 10711 h 21737"/>
              <a:gd name="connsiteX4" fmla="*/ 12845 w 20532"/>
              <a:gd name="connsiteY4" fmla="*/ 10964 h 21737"/>
              <a:gd name="connsiteX5" fmla="*/ 14445 w 20532"/>
              <a:gd name="connsiteY5" fmla="*/ 15296 h 21737"/>
              <a:gd name="connsiteX6" fmla="*/ 10554 w 20532"/>
              <a:gd name="connsiteY6" fmla="*/ 11592 h 21737"/>
              <a:gd name="connsiteX7" fmla="*/ 7925 w 20532"/>
              <a:gd name="connsiteY7" fmla="*/ 21737 h 21737"/>
              <a:gd name="connsiteX8" fmla="*/ 8112 w 20532"/>
              <a:gd name="connsiteY8" fmla="*/ 10946 h 21737"/>
              <a:gd name="connsiteX9" fmla="*/ 1936 w 20532"/>
              <a:gd name="connsiteY9" fmla="*/ 13221 h 21737"/>
              <a:gd name="connsiteX10" fmla="*/ 6165 w 20532"/>
              <a:gd name="connsiteY10" fmla="*/ 9376 h 21737"/>
              <a:gd name="connsiteX11" fmla="*/ 0 w 20532"/>
              <a:gd name="connsiteY11" fmla="*/ 1910 h 21737"/>
              <a:gd name="connsiteX12" fmla="*/ 7397 w 20532"/>
              <a:gd name="connsiteY12" fmla="*/ 6048 h 21737"/>
              <a:gd name="connsiteX13" fmla="*/ 7827 w 20532"/>
              <a:gd name="connsiteY13" fmla="*/ 423 h 21737"/>
              <a:gd name="connsiteX14" fmla="*/ 10495 w 20532"/>
              <a:gd name="connsiteY14" fmla="*/ 6035 h 21737"/>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2845 w 20532"/>
              <a:gd name="connsiteY4" fmla="*/ 10964 h 16242"/>
              <a:gd name="connsiteX5" fmla="*/ 14445 w 20532"/>
              <a:gd name="connsiteY5" fmla="*/ 15296 h 16242"/>
              <a:gd name="connsiteX6" fmla="*/ 10554 w 20532"/>
              <a:gd name="connsiteY6" fmla="*/ 11592 h 16242"/>
              <a:gd name="connsiteX7" fmla="*/ 8029 w 20532"/>
              <a:gd name="connsiteY7" fmla="*/ 16242 h 16242"/>
              <a:gd name="connsiteX8" fmla="*/ 8112 w 20532"/>
              <a:gd name="connsiteY8" fmla="*/ 10946 h 16242"/>
              <a:gd name="connsiteX9" fmla="*/ 1936 w 20532"/>
              <a:gd name="connsiteY9" fmla="*/ 13221 h 16242"/>
              <a:gd name="connsiteX10" fmla="*/ 6165 w 20532"/>
              <a:gd name="connsiteY10" fmla="*/ 9376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2845 w 20532"/>
              <a:gd name="connsiteY4" fmla="*/ 10964 h 16242"/>
              <a:gd name="connsiteX5" fmla="*/ 14445 w 20532"/>
              <a:gd name="connsiteY5" fmla="*/ 15296 h 16242"/>
              <a:gd name="connsiteX6" fmla="*/ 10554 w 20532"/>
              <a:gd name="connsiteY6" fmla="*/ 11592 h 16242"/>
              <a:gd name="connsiteX7" fmla="*/ 8029 w 20532"/>
              <a:gd name="connsiteY7" fmla="*/ 16242 h 16242"/>
              <a:gd name="connsiteX8" fmla="*/ 7505 w 20532"/>
              <a:gd name="connsiteY8" fmla="*/ 11062 h 16242"/>
              <a:gd name="connsiteX9" fmla="*/ 1936 w 20532"/>
              <a:gd name="connsiteY9" fmla="*/ 13221 h 16242"/>
              <a:gd name="connsiteX10" fmla="*/ 6165 w 20532"/>
              <a:gd name="connsiteY10" fmla="*/ 9376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2845 w 20532"/>
              <a:gd name="connsiteY4" fmla="*/ 10964 h 16242"/>
              <a:gd name="connsiteX5" fmla="*/ 14445 w 20532"/>
              <a:gd name="connsiteY5" fmla="*/ 15296 h 16242"/>
              <a:gd name="connsiteX6" fmla="*/ 10554 w 20532"/>
              <a:gd name="connsiteY6" fmla="*/ 11592 h 16242"/>
              <a:gd name="connsiteX7" fmla="*/ 8029 w 20532"/>
              <a:gd name="connsiteY7" fmla="*/ 16242 h 16242"/>
              <a:gd name="connsiteX8" fmla="*/ 7505 w 20532"/>
              <a:gd name="connsiteY8" fmla="*/ 11062 h 16242"/>
              <a:gd name="connsiteX9" fmla="*/ 1936 w 20532"/>
              <a:gd name="connsiteY9" fmla="*/ 13221 h 16242"/>
              <a:gd name="connsiteX10" fmla="*/ 6165 w 20532"/>
              <a:gd name="connsiteY10" fmla="*/ 9376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2845 w 20532"/>
              <a:gd name="connsiteY4" fmla="*/ 10964 h 16242"/>
              <a:gd name="connsiteX5" fmla="*/ 14445 w 20532"/>
              <a:gd name="connsiteY5" fmla="*/ 15296 h 16242"/>
              <a:gd name="connsiteX6" fmla="*/ 10554 w 20532"/>
              <a:gd name="connsiteY6" fmla="*/ 11592 h 16242"/>
              <a:gd name="connsiteX7" fmla="*/ 8029 w 20532"/>
              <a:gd name="connsiteY7" fmla="*/ 16242 h 16242"/>
              <a:gd name="connsiteX8" fmla="*/ 7505 w 20532"/>
              <a:gd name="connsiteY8" fmla="*/ 11062 h 16242"/>
              <a:gd name="connsiteX9" fmla="*/ 1936 w 20532"/>
              <a:gd name="connsiteY9" fmla="*/ 13221 h 16242"/>
              <a:gd name="connsiteX10" fmla="*/ 6165 w 20532"/>
              <a:gd name="connsiteY10" fmla="*/ 9376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2845 w 20532"/>
              <a:gd name="connsiteY4" fmla="*/ 10964 h 16242"/>
              <a:gd name="connsiteX5" fmla="*/ 14445 w 20532"/>
              <a:gd name="connsiteY5" fmla="*/ 15296 h 16242"/>
              <a:gd name="connsiteX6" fmla="*/ 10554 w 20532"/>
              <a:gd name="connsiteY6" fmla="*/ 11592 h 16242"/>
              <a:gd name="connsiteX7" fmla="*/ 8029 w 20532"/>
              <a:gd name="connsiteY7" fmla="*/ 16242 h 16242"/>
              <a:gd name="connsiteX8" fmla="*/ 7505 w 20532"/>
              <a:gd name="connsiteY8" fmla="*/ 11062 h 16242"/>
              <a:gd name="connsiteX9" fmla="*/ 1936 w 20532"/>
              <a:gd name="connsiteY9" fmla="*/ 13221 h 16242"/>
              <a:gd name="connsiteX10" fmla="*/ 6165 w 20532"/>
              <a:gd name="connsiteY10" fmla="*/ 9376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2845 w 20532"/>
              <a:gd name="connsiteY4" fmla="*/ 10964 h 16242"/>
              <a:gd name="connsiteX5" fmla="*/ 14445 w 20532"/>
              <a:gd name="connsiteY5" fmla="*/ 15296 h 16242"/>
              <a:gd name="connsiteX6" fmla="*/ 10413 w 20532"/>
              <a:gd name="connsiteY6" fmla="*/ 10814 h 16242"/>
              <a:gd name="connsiteX7" fmla="*/ 8029 w 20532"/>
              <a:gd name="connsiteY7" fmla="*/ 16242 h 16242"/>
              <a:gd name="connsiteX8" fmla="*/ 7505 w 20532"/>
              <a:gd name="connsiteY8" fmla="*/ 11062 h 16242"/>
              <a:gd name="connsiteX9" fmla="*/ 1936 w 20532"/>
              <a:gd name="connsiteY9" fmla="*/ 13221 h 16242"/>
              <a:gd name="connsiteX10" fmla="*/ 6165 w 20532"/>
              <a:gd name="connsiteY10" fmla="*/ 9376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2845 w 20532"/>
              <a:gd name="connsiteY4" fmla="*/ 10964 h 16242"/>
              <a:gd name="connsiteX5" fmla="*/ 14445 w 20532"/>
              <a:gd name="connsiteY5" fmla="*/ 15296 h 16242"/>
              <a:gd name="connsiteX6" fmla="*/ 10413 w 20532"/>
              <a:gd name="connsiteY6" fmla="*/ 10814 h 16242"/>
              <a:gd name="connsiteX7" fmla="*/ 8029 w 20532"/>
              <a:gd name="connsiteY7" fmla="*/ 16242 h 16242"/>
              <a:gd name="connsiteX8" fmla="*/ 7505 w 20532"/>
              <a:gd name="connsiteY8" fmla="*/ 11062 h 16242"/>
              <a:gd name="connsiteX9" fmla="*/ 1936 w 20532"/>
              <a:gd name="connsiteY9" fmla="*/ 13221 h 16242"/>
              <a:gd name="connsiteX10" fmla="*/ 6165 w 20532"/>
              <a:gd name="connsiteY10" fmla="*/ 9376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2845 w 20532"/>
              <a:gd name="connsiteY4" fmla="*/ 10964 h 16242"/>
              <a:gd name="connsiteX5" fmla="*/ 14445 w 20532"/>
              <a:gd name="connsiteY5" fmla="*/ 15296 h 16242"/>
              <a:gd name="connsiteX6" fmla="*/ 10413 w 20532"/>
              <a:gd name="connsiteY6" fmla="*/ 10814 h 16242"/>
              <a:gd name="connsiteX7" fmla="*/ 8029 w 20532"/>
              <a:gd name="connsiteY7" fmla="*/ 16242 h 16242"/>
              <a:gd name="connsiteX8" fmla="*/ 7505 w 20532"/>
              <a:gd name="connsiteY8" fmla="*/ 11062 h 16242"/>
              <a:gd name="connsiteX9" fmla="*/ 1936 w 20532"/>
              <a:gd name="connsiteY9" fmla="*/ 13221 h 16242"/>
              <a:gd name="connsiteX10" fmla="*/ 6165 w 20532"/>
              <a:gd name="connsiteY10" fmla="*/ 9376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1984 w 20532"/>
              <a:gd name="connsiteY4" fmla="*/ 9679 h 16242"/>
              <a:gd name="connsiteX5" fmla="*/ 14445 w 20532"/>
              <a:gd name="connsiteY5" fmla="*/ 15296 h 16242"/>
              <a:gd name="connsiteX6" fmla="*/ 10413 w 20532"/>
              <a:gd name="connsiteY6" fmla="*/ 10814 h 16242"/>
              <a:gd name="connsiteX7" fmla="*/ 8029 w 20532"/>
              <a:gd name="connsiteY7" fmla="*/ 16242 h 16242"/>
              <a:gd name="connsiteX8" fmla="*/ 7505 w 20532"/>
              <a:gd name="connsiteY8" fmla="*/ 11062 h 16242"/>
              <a:gd name="connsiteX9" fmla="*/ 1936 w 20532"/>
              <a:gd name="connsiteY9" fmla="*/ 13221 h 16242"/>
              <a:gd name="connsiteX10" fmla="*/ 6165 w 20532"/>
              <a:gd name="connsiteY10" fmla="*/ 9376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1984 w 20532"/>
              <a:gd name="connsiteY4" fmla="*/ 9679 h 16242"/>
              <a:gd name="connsiteX5" fmla="*/ 14445 w 20532"/>
              <a:gd name="connsiteY5" fmla="*/ 15296 h 16242"/>
              <a:gd name="connsiteX6" fmla="*/ 10413 w 20532"/>
              <a:gd name="connsiteY6" fmla="*/ 10814 h 16242"/>
              <a:gd name="connsiteX7" fmla="*/ 8029 w 20532"/>
              <a:gd name="connsiteY7" fmla="*/ 16242 h 16242"/>
              <a:gd name="connsiteX8" fmla="*/ 7505 w 20532"/>
              <a:gd name="connsiteY8" fmla="*/ 11062 h 16242"/>
              <a:gd name="connsiteX9" fmla="*/ 1936 w 20532"/>
              <a:gd name="connsiteY9" fmla="*/ 13221 h 16242"/>
              <a:gd name="connsiteX10" fmla="*/ 6670 w 20532"/>
              <a:gd name="connsiteY10" fmla="*/ 7830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1984 w 20532"/>
              <a:gd name="connsiteY4" fmla="*/ 9679 h 16242"/>
              <a:gd name="connsiteX5" fmla="*/ 14445 w 20532"/>
              <a:gd name="connsiteY5" fmla="*/ 15296 h 16242"/>
              <a:gd name="connsiteX6" fmla="*/ 10413 w 20532"/>
              <a:gd name="connsiteY6" fmla="*/ 10814 h 16242"/>
              <a:gd name="connsiteX7" fmla="*/ 8029 w 20532"/>
              <a:gd name="connsiteY7" fmla="*/ 16242 h 16242"/>
              <a:gd name="connsiteX8" fmla="*/ 7505 w 20532"/>
              <a:gd name="connsiteY8" fmla="*/ 11062 h 16242"/>
              <a:gd name="connsiteX9" fmla="*/ 1901 w 20532"/>
              <a:gd name="connsiteY9" fmla="*/ 11295 h 16242"/>
              <a:gd name="connsiteX10" fmla="*/ 6670 w 20532"/>
              <a:gd name="connsiteY10" fmla="*/ 7830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1984 w 20532"/>
              <a:gd name="connsiteY4" fmla="*/ 9679 h 16242"/>
              <a:gd name="connsiteX5" fmla="*/ 14445 w 20532"/>
              <a:gd name="connsiteY5" fmla="*/ 15296 h 16242"/>
              <a:gd name="connsiteX6" fmla="*/ 9997 w 20532"/>
              <a:gd name="connsiteY6" fmla="*/ 10249 h 16242"/>
              <a:gd name="connsiteX7" fmla="*/ 8029 w 20532"/>
              <a:gd name="connsiteY7" fmla="*/ 16242 h 16242"/>
              <a:gd name="connsiteX8" fmla="*/ 7505 w 20532"/>
              <a:gd name="connsiteY8" fmla="*/ 11062 h 16242"/>
              <a:gd name="connsiteX9" fmla="*/ 1901 w 20532"/>
              <a:gd name="connsiteY9" fmla="*/ 11295 h 16242"/>
              <a:gd name="connsiteX10" fmla="*/ 6670 w 20532"/>
              <a:gd name="connsiteY10" fmla="*/ 7830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6242"/>
              <a:gd name="connsiteX1" fmla="*/ 15331 w 20532"/>
              <a:gd name="connsiteY1" fmla="*/ 0 h 16242"/>
              <a:gd name="connsiteX2" fmla="*/ 12942 w 20532"/>
              <a:gd name="connsiteY2" fmla="*/ 7697 h 16242"/>
              <a:gd name="connsiteX3" fmla="*/ 20532 w 20532"/>
              <a:gd name="connsiteY3" fmla="*/ 10711 h 16242"/>
              <a:gd name="connsiteX4" fmla="*/ 11416 w 20532"/>
              <a:gd name="connsiteY4" fmla="*/ 9143 h 16242"/>
              <a:gd name="connsiteX5" fmla="*/ 14445 w 20532"/>
              <a:gd name="connsiteY5" fmla="*/ 15296 h 16242"/>
              <a:gd name="connsiteX6" fmla="*/ 9997 w 20532"/>
              <a:gd name="connsiteY6" fmla="*/ 10249 h 16242"/>
              <a:gd name="connsiteX7" fmla="*/ 8029 w 20532"/>
              <a:gd name="connsiteY7" fmla="*/ 16242 h 16242"/>
              <a:gd name="connsiteX8" fmla="*/ 7505 w 20532"/>
              <a:gd name="connsiteY8" fmla="*/ 11062 h 16242"/>
              <a:gd name="connsiteX9" fmla="*/ 1901 w 20532"/>
              <a:gd name="connsiteY9" fmla="*/ 11295 h 16242"/>
              <a:gd name="connsiteX10" fmla="*/ 6670 w 20532"/>
              <a:gd name="connsiteY10" fmla="*/ 7830 h 16242"/>
              <a:gd name="connsiteX11" fmla="*/ 0 w 20532"/>
              <a:gd name="connsiteY11" fmla="*/ 1910 h 16242"/>
              <a:gd name="connsiteX12" fmla="*/ 7397 w 20532"/>
              <a:gd name="connsiteY12" fmla="*/ 6048 h 16242"/>
              <a:gd name="connsiteX13" fmla="*/ 7827 w 20532"/>
              <a:gd name="connsiteY13" fmla="*/ 423 h 16242"/>
              <a:gd name="connsiteX14" fmla="*/ 10495 w 20532"/>
              <a:gd name="connsiteY14" fmla="*/ 6035 h 16242"/>
              <a:gd name="connsiteX0" fmla="*/ 10495 w 20532"/>
              <a:gd name="connsiteY0" fmla="*/ 6035 h 15296"/>
              <a:gd name="connsiteX1" fmla="*/ 15331 w 20532"/>
              <a:gd name="connsiteY1" fmla="*/ 0 h 15296"/>
              <a:gd name="connsiteX2" fmla="*/ 12942 w 20532"/>
              <a:gd name="connsiteY2" fmla="*/ 7697 h 15296"/>
              <a:gd name="connsiteX3" fmla="*/ 20532 w 20532"/>
              <a:gd name="connsiteY3" fmla="*/ 10711 h 15296"/>
              <a:gd name="connsiteX4" fmla="*/ 11416 w 20532"/>
              <a:gd name="connsiteY4" fmla="*/ 9143 h 15296"/>
              <a:gd name="connsiteX5" fmla="*/ 14445 w 20532"/>
              <a:gd name="connsiteY5" fmla="*/ 15296 h 15296"/>
              <a:gd name="connsiteX6" fmla="*/ 9997 w 20532"/>
              <a:gd name="connsiteY6" fmla="*/ 10249 h 15296"/>
              <a:gd name="connsiteX7" fmla="*/ 8203 w 20532"/>
              <a:gd name="connsiteY7" fmla="*/ 14598 h 15296"/>
              <a:gd name="connsiteX8" fmla="*/ 7505 w 20532"/>
              <a:gd name="connsiteY8" fmla="*/ 11062 h 15296"/>
              <a:gd name="connsiteX9" fmla="*/ 1901 w 20532"/>
              <a:gd name="connsiteY9" fmla="*/ 11295 h 15296"/>
              <a:gd name="connsiteX10" fmla="*/ 6670 w 20532"/>
              <a:gd name="connsiteY10" fmla="*/ 7830 h 15296"/>
              <a:gd name="connsiteX11" fmla="*/ 0 w 20532"/>
              <a:gd name="connsiteY11" fmla="*/ 1910 h 15296"/>
              <a:gd name="connsiteX12" fmla="*/ 7397 w 20532"/>
              <a:gd name="connsiteY12" fmla="*/ 6048 h 15296"/>
              <a:gd name="connsiteX13" fmla="*/ 7827 w 20532"/>
              <a:gd name="connsiteY13" fmla="*/ 423 h 15296"/>
              <a:gd name="connsiteX14" fmla="*/ 10495 w 20532"/>
              <a:gd name="connsiteY14" fmla="*/ 6035 h 15296"/>
              <a:gd name="connsiteX0" fmla="*/ 10495 w 20532"/>
              <a:gd name="connsiteY0" fmla="*/ 6035 h 15296"/>
              <a:gd name="connsiteX1" fmla="*/ 15331 w 20532"/>
              <a:gd name="connsiteY1" fmla="*/ 0 h 15296"/>
              <a:gd name="connsiteX2" fmla="*/ 12942 w 20532"/>
              <a:gd name="connsiteY2" fmla="*/ 7697 h 15296"/>
              <a:gd name="connsiteX3" fmla="*/ 20532 w 20532"/>
              <a:gd name="connsiteY3" fmla="*/ 10711 h 15296"/>
              <a:gd name="connsiteX4" fmla="*/ 11416 w 20532"/>
              <a:gd name="connsiteY4" fmla="*/ 9143 h 15296"/>
              <a:gd name="connsiteX5" fmla="*/ 14445 w 20532"/>
              <a:gd name="connsiteY5" fmla="*/ 15296 h 15296"/>
              <a:gd name="connsiteX6" fmla="*/ 10099 w 20532"/>
              <a:gd name="connsiteY6" fmla="*/ 11679 h 15296"/>
              <a:gd name="connsiteX7" fmla="*/ 8203 w 20532"/>
              <a:gd name="connsiteY7" fmla="*/ 14598 h 15296"/>
              <a:gd name="connsiteX8" fmla="*/ 7505 w 20532"/>
              <a:gd name="connsiteY8" fmla="*/ 11062 h 15296"/>
              <a:gd name="connsiteX9" fmla="*/ 1901 w 20532"/>
              <a:gd name="connsiteY9" fmla="*/ 11295 h 15296"/>
              <a:gd name="connsiteX10" fmla="*/ 6670 w 20532"/>
              <a:gd name="connsiteY10" fmla="*/ 7830 h 15296"/>
              <a:gd name="connsiteX11" fmla="*/ 0 w 20532"/>
              <a:gd name="connsiteY11" fmla="*/ 1910 h 15296"/>
              <a:gd name="connsiteX12" fmla="*/ 7397 w 20532"/>
              <a:gd name="connsiteY12" fmla="*/ 6048 h 15296"/>
              <a:gd name="connsiteX13" fmla="*/ 7827 w 20532"/>
              <a:gd name="connsiteY13" fmla="*/ 423 h 15296"/>
              <a:gd name="connsiteX14" fmla="*/ 10495 w 20532"/>
              <a:gd name="connsiteY14" fmla="*/ 6035 h 15296"/>
              <a:gd name="connsiteX0" fmla="*/ 10495 w 20532"/>
              <a:gd name="connsiteY0" fmla="*/ 6035 h 15296"/>
              <a:gd name="connsiteX1" fmla="*/ 15331 w 20532"/>
              <a:gd name="connsiteY1" fmla="*/ 0 h 15296"/>
              <a:gd name="connsiteX2" fmla="*/ 12942 w 20532"/>
              <a:gd name="connsiteY2" fmla="*/ 7697 h 15296"/>
              <a:gd name="connsiteX3" fmla="*/ 20532 w 20532"/>
              <a:gd name="connsiteY3" fmla="*/ 10711 h 15296"/>
              <a:gd name="connsiteX4" fmla="*/ 12041 w 20532"/>
              <a:gd name="connsiteY4" fmla="*/ 9990 h 15296"/>
              <a:gd name="connsiteX5" fmla="*/ 14445 w 20532"/>
              <a:gd name="connsiteY5" fmla="*/ 15296 h 15296"/>
              <a:gd name="connsiteX6" fmla="*/ 10099 w 20532"/>
              <a:gd name="connsiteY6" fmla="*/ 11679 h 15296"/>
              <a:gd name="connsiteX7" fmla="*/ 8203 w 20532"/>
              <a:gd name="connsiteY7" fmla="*/ 14598 h 15296"/>
              <a:gd name="connsiteX8" fmla="*/ 7505 w 20532"/>
              <a:gd name="connsiteY8" fmla="*/ 11062 h 15296"/>
              <a:gd name="connsiteX9" fmla="*/ 1901 w 20532"/>
              <a:gd name="connsiteY9" fmla="*/ 11295 h 15296"/>
              <a:gd name="connsiteX10" fmla="*/ 6670 w 20532"/>
              <a:gd name="connsiteY10" fmla="*/ 7830 h 15296"/>
              <a:gd name="connsiteX11" fmla="*/ 0 w 20532"/>
              <a:gd name="connsiteY11" fmla="*/ 1910 h 15296"/>
              <a:gd name="connsiteX12" fmla="*/ 7397 w 20532"/>
              <a:gd name="connsiteY12" fmla="*/ 6048 h 15296"/>
              <a:gd name="connsiteX13" fmla="*/ 7827 w 20532"/>
              <a:gd name="connsiteY13" fmla="*/ 423 h 15296"/>
              <a:gd name="connsiteX14" fmla="*/ 10495 w 20532"/>
              <a:gd name="connsiteY14" fmla="*/ 6035 h 15296"/>
              <a:gd name="connsiteX0" fmla="*/ 10495 w 20532"/>
              <a:gd name="connsiteY0" fmla="*/ 6035 h 15296"/>
              <a:gd name="connsiteX1" fmla="*/ 15331 w 20532"/>
              <a:gd name="connsiteY1" fmla="*/ 0 h 15296"/>
              <a:gd name="connsiteX2" fmla="*/ 12942 w 20532"/>
              <a:gd name="connsiteY2" fmla="*/ 7697 h 15296"/>
              <a:gd name="connsiteX3" fmla="*/ 20532 w 20532"/>
              <a:gd name="connsiteY3" fmla="*/ 10711 h 15296"/>
              <a:gd name="connsiteX4" fmla="*/ 12041 w 20532"/>
              <a:gd name="connsiteY4" fmla="*/ 9990 h 15296"/>
              <a:gd name="connsiteX5" fmla="*/ 14445 w 20532"/>
              <a:gd name="connsiteY5" fmla="*/ 15296 h 15296"/>
              <a:gd name="connsiteX6" fmla="*/ 10099 w 20532"/>
              <a:gd name="connsiteY6" fmla="*/ 11679 h 15296"/>
              <a:gd name="connsiteX7" fmla="*/ 8203 w 20532"/>
              <a:gd name="connsiteY7" fmla="*/ 14598 h 15296"/>
              <a:gd name="connsiteX8" fmla="*/ 7971 w 20532"/>
              <a:gd name="connsiteY8" fmla="*/ 10168 h 15296"/>
              <a:gd name="connsiteX9" fmla="*/ 1901 w 20532"/>
              <a:gd name="connsiteY9" fmla="*/ 11295 h 15296"/>
              <a:gd name="connsiteX10" fmla="*/ 6670 w 20532"/>
              <a:gd name="connsiteY10" fmla="*/ 7830 h 15296"/>
              <a:gd name="connsiteX11" fmla="*/ 0 w 20532"/>
              <a:gd name="connsiteY11" fmla="*/ 1910 h 15296"/>
              <a:gd name="connsiteX12" fmla="*/ 7397 w 20532"/>
              <a:gd name="connsiteY12" fmla="*/ 6048 h 15296"/>
              <a:gd name="connsiteX13" fmla="*/ 7827 w 20532"/>
              <a:gd name="connsiteY13" fmla="*/ 423 h 15296"/>
              <a:gd name="connsiteX14" fmla="*/ 10495 w 20532"/>
              <a:gd name="connsiteY14" fmla="*/ 6035 h 15296"/>
              <a:gd name="connsiteX0" fmla="*/ 10495 w 20532"/>
              <a:gd name="connsiteY0" fmla="*/ 6035 h 15296"/>
              <a:gd name="connsiteX1" fmla="*/ 15331 w 20532"/>
              <a:gd name="connsiteY1" fmla="*/ 0 h 15296"/>
              <a:gd name="connsiteX2" fmla="*/ 12942 w 20532"/>
              <a:gd name="connsiteY2" fmla="*/ 7697 h 15296"/>
              <a:gd name="connsiteX3" fmla="*/ 20532 w 20532"/>
              <a:gd name="connsiteY3" fmla="*/ 10711 h 15296"/>
              <a:gd name="connsiteX4" fmla="*/ 12041 w 20532"/>
              <a:gd name="connsiteY4" fmla="*/ 9990 h 15296"/>
              <a:gd name="connsiteX5" fmla="*/ 14445 w 20532"/>
              <a:gd name="connsiteY5" fmla="*/ 15296 h 15296"/>
              <a:gd name="connsiteX6" fmla="*/ 9986 w 20532"/>
              <a:gd name="connsiteY6" fmla="*/ 11056 h 15296"/>
              <a:gd name="connsiteX7" fmla="*/ 8203 w 20532"/>
              <a:gd name="connsiteY7" fmla="*/ 14598 h 15296"/>
              <a:gd name="connsiteX8" fmla="*/ 7971 w 20532"/>
              <a:gd name="connsiteY8" fmla="*/ 10168 h 15296"/>
              <a:gd name="connsiteX9" fmla="*/ 1901 w 20532"/>
              <a:gd name="connsiteY9" fmla="*/ 11295 h 15296"/>
              <a:gd name="connsiteX10" fmla="*/ 6670 w 20532"/>
              <a:gd name="connsiteY10" fmla="*/ 7830 h 15296"/>
              <a:gd name="connsiteX11" fmla="*/ 0 w 20532"/>
              <a:gd name="connsiteY11" fmla="*/ 1910 h 15296"/>
              <a:gd name="connsiteX12" fmla="*/ 7397 w 20532"/>
              <a:gd name="connsiteY12" fmla="*/ 6048 h 15296"/>
              <a:gd name="connsiteX13" fmla="*/ 7827 w 20532"/>
              <a:gd name="connsiteY13" fmla="*/ 423 h 15296"/>
              <a:gd name="connsiteX14" fmla="*/ 10495 w 20532"/>
              <a:gd name="connsiteY14" fmla="*/ 6035 h 15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532" h="15296">
                <a:moveTo>
                  <a:pt x="10495" y="6035"/>
                </a:moveTo>
                <a:lnTo>
                  <a:pt x="15331" y="0"/>
                </a:lnTo>
                <a:lnTo>
                  <a:pt x="12942" y="7697"/>
                </a:lnTo>
                <a:lnTo>
                  <a:pt x="20532" y="10711"/>
                </a:lnTo>
                <a:lnTo>
                  <a:pt x="12041" y="9990"/>
                </a:lnTo>
                <a:lnTo>
                  <a:pt x="14445" y="15296"/>
                </a:lnTo>
                <a:lnTo>
                  <a:pt x="9986" y="11056"/>
                </a:lnTo>
                <a:lnTo>
                  <a:pt x="8203" y="14598"/>
                </a:lnTo>
                <a:cubicBezTo>
                  <a:pt x="8028" y="12871"/>
                  <a:pt x="8146" y="11895"/>
                  <a:pt x="7971" y="10168"/>
                </a:cubicBezTo>
                <a:lnTo>
                  <a:pt x="1901" y="11295"/>
                </a:lnTo>
                <a:lnTo>
                  <a:pt x="6670" y="7830"/>
                </a:lnTo>
                <a:lnTo>
                  <a:pt x="0" y="1910"/>
                </a:lnTo>
                <a:lnTo>
                  <a:pt x="7397" y="6048"/>
                </a:lnTo>
                <a:cubicBezTo>
                  <a:pt x="7602" y="4375"/>
                  <a:pt x="7622" y="2096"/>
                  <a:pt x="7827" y="423"/>
                </a:cubicBezTo>
                <a:lnTo>
                  <a:pt x="10495" y="6035"/>
                </a:lnTo>
                <a:close/>
              </a:path>
            </a:pathLst>
          </a:custGeom>
          <a:gradFill flip="none" rotWithShape="1">
            <a:gsLst>
              <a:gs pos="69000">
                <a:schemeClr val="bg2"/>
              </a:gs>
              <a:gs pos="26000">
                <a:schemeClr val="bg2">
                  <a:lumMod val="60000"/>
                  <a:lumOff val="40000"/>
                </a:schemeClr>
              </a:gs>
              <a:gs pos="0">
                <a:schemeClr val="bg2">
                  <a:lumMod val="40000"/>
                  <a:lumOff val="60000"/>
                </a:schemeClr>
              </a:gs>
            </a:gsLst>
            <a:path path="circle">
              <a:fillToRect l="50000" t="50000" r="50000" b="50000"/>
            </a:path>
            <a:tileRect/>
          </a:gradFill>
          <a:ln w="6350" cap="flat" cmpd="sng" algn="ctr">
            <a:noFill/>
            <a:prstDash val="solid"/>
            <a:round/>
            <a:headEnd type="none" w="med" len="med"/>
            <a:tailEnd type="none" w="med" len="med"/>
          </a:ln>
          <a:effectLst/>
        </p:spPr>
        <p:txBody>
          <a:bodyPr vert="horz" wrap="square" lIns="24923" tIns="32400" rIns="24923" bIns="32400" numCol="1" rtlCol="0" anchor="ctr" anchorCtr="0" compatLnSpc="1">
            <a:prstTxWarp prst="textNoShape">
              <a:avLst/>
            </a:prstTxWarp>
          </a:bodyPr>
          <a:lstStyle/>
          <a:p>
            <a:pPr marL="0" marR="0" lvl="0" indent="0" algn="ctr" defTabSz="844083" rtl="0" eaLnBrk="1" fontAlgn="base" latinLnBrk="0" hangingPunct="1">
              <a:lnSpc>
                <a:spcPct val="100000"/>
              </a:lnSpc>
              <a:spcBef>
                <a:spcPts val="0"/>
              </a:spcBef>
              <a:spcAft>
                <a:spcPts val="0"/>
              </a:spcAft>
              <a:buClrTx/>
              <a:buSzTx/>
              <a:buFontTx/>
              <a:buNone/>
              <a:tabLst/>
              <a:defRPr/>
            </a:pPr>
            <a:endParaRPr kumimoji="0" lang="de-DE" sz="831" b="1" i="0" u="none" strike="noStrike" kern="1200" cap="none" spc="0" normalizeH="0" baseline="0" noProof="0" dirty="0">
              <a:ln>
                <a:noFill/>
              </a:ln>
              <a:solidFill>
                <a:srgbClr val="FFFFFF"/>
              </a:solidFill>
              <a:effectLst/>
              <a:uLnTx/>
              <a:uFillTx/>
              <a:latin typeface="Arial"/>
              <a:ea typeface="+mn-ea"/>
              <a:cs typeface="Arial" charset="0"/>
            </a:endParaRPr>
          </a:p>
        </p:txBody>
      </p:sp>
      <p:sp>
        <p:nvSpPr>
          <p:cNvPr id="35" name="Freeform 34"/>
          <p:cNvSpPr/>
          <p:nvPr/>
        </p:nvSpPr>
        <p:spPr bwMode="auto">
          <a:xfrm>
            <a:off x="2674722" y="2558562"/>
            <a:ext cx="3153993" cy="2441998"/>
          </a:xfrm>
          <a:custGeom>
            <a:avLst/>
            <a:gdLst>
              <a:gd name="connsiteX0" fmla="*/ 0 w 2695904"/>
              <a:gd name="connsiteY0" fmla="*/ 0 h 94593"/>
              <a:gd name="connsiteX1" fmla="*/ 2695904 w 2695904"/>
              <a:gd name="connsiteY1" fmla="*/ 94593 h 94593"/>
              <a:gd name="connsiteX0" fmla="*/ 0 w 8071946"/>
              <a:gd name="connsiteY0" fmla="*/ 4319752 h 4319752"/>
              <a:gd name="connsiteX1" fmla="*/ 8071946 w 8071946"/>
              <a:gd name="connsiteY1" fmla="*/ 0 h 4319752"/>
              <a:gd name="connsiteX0" fmla="*/ 0 w 4604351"/>
              <a:gd name="connsiteY0" fmla="*/ 3559732 h 3559732"/>
              <a:gd name="connsiteX1" fmla="*/ 4604351 w 4604351"/>
              <a:gd name="connsiteY1" fmla="*/ 0 h 3559732"/>
              <a:gd name="connsiteX0" fmla="*/ 0 w 4604351"/>
              <a:gd name="connsiteY0" fmla="*/ 3559732 h 3559732"/>
              <a:gd name="connsiteX1" fmla="*/ 4604351 w 4604351"/>
              <a:gd name="connsiteY1" fmla="*/ 0 h 3559732"/>
              <a:gd name="connsiteX0" fmla="*/ 0 w 4604351"/>
              <a:gd name="connsiteY0" fmla="*/ 3559732 h 3559732"/>
              <a:gd name="connsiteX1" fmla="*/ 3425643 w 4604351"/>
              <a:gd name="connsiteY1" fmla="*/ 1350502 h 3559732"/>
              <a:gd name="connsiteX2" fmla="*/ 4604351 w 4604351"/>
              <a:gd name="connsiteY2" fmla="*/ 0 h 3559732"/>
              <a:gd name="connsiteX0" fmla="*/ 0 w 4604351"/>
              <a:gd name="connsiteY0" fmla="*/ 3559732 h 3559732"/>
              <a:gd name="connsiteX1" fmla="*/ 3425643 w 4604351"/>
              <a:gd name="connsiteY1" fmla="*/ 1350502 h 3559732"/>
              <a:gd name="connsiteX2" fmla="*/ 4604351 w 4604351"/>
              <a:gd name="connsiteY2" fmla="*/ 0 h 3559732"/>
              <a:gd name="connsiteX0" fmla="*/ 0 w 4604351"/>
              <a:gd name="connsiteY0" fmla="*/ 3559732 h 3559732"/>
              <a:gd name="connsiteX1" fmla="*/ 3425643 w 4604351"/>
              <a:gd name="connsiteY1" fmla="*/ 1350502 h 3559732"/>
              <a:gd name="connsiteX2" fmla="*/ 4604351 w 4604351"/>
              <a:gd name="connsiteY2" fmla="*/ 0 h 3559732"/>
              <a:gd name="connsiteX0" fmla="*/ 0 w 4604351"/>
              <a:gd name="connsiteY0" fmla="*/ 3559732 h 3559732"/>
              <a:gd name="connsiteX1" fmla="*/ 3425643 w 4604351"/>
              <a:gd name="connsiteY1" fmla="*/ 1350502 h 3559732"/>
              <a:gd name="connsiteX2" fmla="*/ 4604351 w 4604351"/>
              <a:gd name="connsiteY2" fmla="*/ 0 h 3559732"/>
              <a:gd name="connsiteX0" fmla="*/ 0 w 4604351"/>
              <a:gd name="connsiteY0" fmla="*/ 3559732 h 3559732"/>
              <a:gd name="connsiteX1" fmla="*/ 3425643 w 4604351"/>
              <a:gd name="connsiteY1" fmla="*/ 1350502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33595 w 4604351"/>
              <a:gd name="connsiteY1" fmla="*/ 1342551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827"/>
              <a:gd name="connsiteX1" fmla="*/ 3409741 w 4604351"/>
              <a:gd name="connsiteY1" fmla="*/ 1350502 h 3559827"/>
              <a:gd name="connsiteX2" fmla="*/ 4604351 w 4604351"/>
              <a:gd name="connsiteY2" fmla="*/ 0 h 3559827"/>
              <a:gd name="connsiteX0" fmla="*/ 0 w 4604351"/>
              <a:gd name="connsiteY0" fmla="*/ 3559732 h 3559827"/>
              <a:gd name="connsiteX1" fmla="*/ 3409741 w 4604351"/>
              <a:gd name="connsiteY1" fmla="*/ 1350502 h 3559827"/>
              <a:gd name="connsiteX2" fmla="*/ 4604351 w 4604351"/>
              <a:gd name="connsiteY2" fmla="*/ 0 h 3559827"/>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3409741 w 4604351"/>
              <a:gd name="connsiteY1" fmla="*/ 1350502 h 3559732"/>
              <a:gd name="connsiteX2" fmla="*/ 4604351 w 4604351"/>
              <a:gd name="connsiteY2" fmla="*/ 0 h 3559732"/>
              <a:gd name="connsiteX0" fmla="*/ 0 w 4604351"/>
              <a:gd name="connsiteY0" fmla="*/ 3559732 h 3559732"/>
              <a:gd name="connsiteX1" fmla="*/ 1700210 w 4604351"/>
              <a:gd name="connsiteY1" fmla="*/ 2606808 h 3559732"/>
              <a:gd name="connsiteX2" fmla="*/ 3409741 w 4604351"/>
              <a:gd name="connsiteY2" fmla="*/ 1350502 h 3559732"/>
              <a:gd name="connsiteX3" fmla="*/ 4604351 w 4604351"/>
              <a:gd name="connsiteY3" fmla="*/ 0 h 3559732"/>
              <a:gd name="connsiteX0" fmla="*/ 0 w 4604351"/>
              <a:gd name="connsiteY0" fmla="*/ 3559732 h 3559732"/>
              <a:gd name="connsiteX1" fmla="*/ 1700210 w 4604351"/>
              <a:gd name="connsiteY1" fmla="*/ 2606808 h 3559732"/>
              <a:gd name="connsiteX2" fmla="*/ 3409741 w 4604351"/>
              <a:gd name="connsiteY2" fmla="*/ 1350502 h 3559732"/>
              <a:gd name="connsiteX3" fmla="*/ 4604351 w 4604351"/>
              <a:gd name="connsiteY3" fmla="*/ 0 h 3559732"/>
              <a:gd name="connsiteX0" fmla="*/ 0 w 4604351"/>
              <a:gd name="connsiteY0" fmla="*/ 3559732 h 3559732"/>
              <a:gd name="connsiteX1" fmla="*/ 1700210 w 4604351"/>
              <a:gd name="connsiteY1" fmla="*/ 2606808 h 3559732"/>
              <a:gd name="connsiteX2" fmla="*/ 3409741 w 4604351"/>
              <a:gd name="connsiteY2" fmla="*/ 1350502 h 3559732"/>
              <a:gd name="connsiteX3" fmla="*/ 4604351 w 4604351"/>
              <a:gd name="connsiteY3" fmla="*/ 0 h 3559732"/>
              <a:gd name="connsiteX0" fmla="*/ 0 w 4604351"/>
              <a:gd name="connsiteY0" fmla="*/ 3559732 h 3559732"/>
              <a:gd name="connsiteX1" fmla="*/ 1700210 w 4604351"/>
              <a:gd name="connsiteY1" fmla="*/ 2606808 h 3559732"/>
              <a:gd name="connsiteX2" fmla="*/ 3409741 w 4604351"/>
              <a:gd name="connsiteY2" fmla="*/ 1350502 h 3559732"/>
              <a:gd name="connsiteX3" fmla="*/ 4604351 w 4604351"/>
              <a:gd name="connsiteY3" fmla="*/ 0 h 3559732"/>
              <a:gd name="connsiteX0" fmla="*/ 0 w 4604351"/>
              <a:gd name="connsiteY0" fmla="*/ 3559732 h 3559732"/>
              <a:gd name="connsiteX1" fmla="*/ 1700210 w 4604351"/>
              <a:gd name="connsiteY1" fmla="*/ 2606808 h 3559732"/>
              <a:gd name="connsiteX2" fmla="*/ 3409741 w 4604351"/>
              <a:gd name="connsiteY2" fmla="*/ 1350502 h 3559732"/>
              <a:gd name="connsiteX3" fmla="*/ 4604351 w 4604351"/>
              <a:gd name="connsiteY3" fmla="*/ 0 h 3559732"/>
              <a:gd name="connsiteX0" fmla="*/ 0 w 4604351"/>
              <a:gd name="connsiteY0" fmla="*/ 3559732 h 3559732"/>
              <a:gd name="connsiteX1" fmla="*/ 1700210 w 4604351"/>
              <a:gd name="connsiteY1" fmla="*/ 2606808 h 3559732"/>
              <a:gd name="connsiteX2" fmla="*/ 3409741 w 4604351"/>
              <a:gd name="connsiteY2" fmla="*/ 1350502 h 3559732"/>
              <a:gd name="connsiteX3" fmla="*/ 4604351 w 4604351"/>
              <a:gd name="connsiteY3" fmla="*/ 0 h 3559732"/>
              <a:gd name="connsiteX0" fmla="*/ 0 w 4604351"/>
              <a:gd name="connsiteY0" fmla="*/ 3559732 h 3559732"/>
              <a:gd name="connsiteX1" fmla="*/ 1668405 w 4604351"/>
              <a:gd name="connsiteY1" fmla="*/ 2606808 h 3559732"/>
              <a:gd name="connsiteX2" fmla="*/ 3409741 w 4604351"/>
              <a:gd name="connsiteY2" fmla="*/ 1350502 h 3559732"/>
              <a:gd name="connsiteX3" fmla="*/ 4604351 w 4604351"/>
              <a:gd name="connsiteY3" fmla="*/ 0 h 3559732"/>
              <a:gd name="connsiteX0" fmla="*/ 0 w 4604351"/>
              <a:gd name="connsiteY0" fmla="*/ 3559732 h 3559732"/>
              <a:gd name="connsiteX1" fmla="*/ 1692259 w 4604351"/>
              <a:gd name="connsiteY1" fmla="*/ 2630662 h 3559732"/>
              <a:gd name="connsiteX2" fmla="*/ 3409741 w 4604351"/>
              <a:gd name="connsiteY2" fmla="*/ 1350502 h 3559732"/>
              <a:gd name="connsiteX3" fmla="*/ 4604351 w 4604351"/>
              <a:gd name="connsiteY3" fmla="*/ 0 h 3559732"/>
              <a:gd name="connsiteX0" fmla="*/ 0 w 4604351"/>
              <a:gd name="connsiteY0" fmla="*/ 3559732 h 3559732"/>
              <a:gd name="connsiteX1" fmla="*/ 1692259 w 4604351"/>
              <a:gd name="connsiteY1" fmla="*/ 2630662 h 3559732"/>
              <a:gd name="connsiteX2" fmla="*/ 3409741 w 4604351"/>
              <a:gd name="connsiteY2" fmla="*/ 1350502 h 3559732"/>
              <a:gd name="connsiteX3" fmla="*/ 4604351 w 4604351"/>
              <a:gd name="connsiteY3" fmla="*/ 0 h 3559732"/>
              <a:gd name="connsiteX0" fmla="*/ 0 w 4604351"/>
              <a:gd name="connsiteY0" fmla="*/ 3559732 h 3559732"/>
              <a:gd name="connsiteX1" fmla="*/ 1692259 w 4604351"/>
              <a:gd name="connsiteY1" fmla="*/ 2630662 h 3559732"/>
              <a:gd name="connsiteX2" fmla="*/ 3409741 w 4604351"/>
              <a:gd name="connsiteY2" fmla="*/ 1350502 h 3559732"/>
              <a:gd name="connsiteX3" fmla="*/ 4604351 w 4604351"/>
              <a:gd name="connsiteY3" fmla="*/ 0 h 3559732"/>
              <a:gd name="connsiteX0" fmla="*/ 0 w 4604351"/>
              <a:gd name="connsiteY0" fmla="*/ 3559732 h 3559732"/>
              <a:gd name="connsiteX1" fmla="*/ 1668405 w 4604351"/>
              <a:gd name="connsiteY1" fmla="*/ 2622711 h 3559732"/>
              <a:gd name="connsiteX2" fmla="*/ 3409741 w 4604351"/>
              <a:gd name="connsiteY2" fmla="*/ 1350502 h 3559732"/>
              <a:gd name="connsiteX3" fmla="*/ 4604351 w 4604351"/>
              <a:gd name="connsiteY3" fmla="*/ 0 h 3559732"/>
              <a:gd name="connsiteX0" fmla="*/ 0 w 4604351"/>
              <a:gd name="connsiteY0" fmla="*/ 3559732 h 3559732"/>
              <a:gd name="connsiteX1" fmla="*/ 1668405 w 4604351"/>
              <a:gd name="connsiteY1" fmla="*/ 2622711 h 3559732"/>
              <a:gd name="connsiteX2" fmla="*/ 3409741 w 4604351"/>
              <a:gd name="connsiteY2" fmla="*/ 1350502 h 3559732"/>
              <a:gd name="connsiteX3" fmla="*/ 4604351 w 4604351"/>
              <a:gd name="connsiteY3" fmla="*/ 0 h 3559732"/>
              <a:gd name="connsiteX0" fmla="*/ 0 w 4604351"/>
              <a:gd name="connsiteY0" fmla="*/ 3559732 h 3559732"/>
              <a:gd name="connsiteX1" fmla="*/ 1668405 w 4604351"/>
              <a:gd name="connsiteY1" fmla="*/ 2622711 h 3559732"/>
              <a:gd name="connsiteX2" fmla="*/ 3409741 w 4604351"/>
              <a:gd name="connsiteY2" fmla="*/ 1350502 h 3559732"/>
              <a:gd name="connsiteX3" fmla="*/ 4604351 w 4604351"/>
              <a:gd name="connsiteY3" fmla="*/ 0 h 3559732"/>
              <a:gd name="connsiteX0" fmla="*/ 0 w 4604351"/>
              <a:gd name="connsiteY0" fmla="*/ 3559732 h 3559732"/>
              <a:gd name="connsiteX1" fmla="*/ 1668405 w 4604351"/>
              <a:gd name="connsiteY1" fmla="*/ 2622711 h 3559732"/>
              <a:gd name="connsiteX2" fmla="*/ 3409741 w 4604351"/>
              <a:gd name="connsiteY2" fmla="*/ 1350502 h 3559732"/>
              <a:gd name="connsiteX3" fmla="*/ 4604351 w 4604351"/>
              <a:gd name="connsiteY3" fmla="*/ 0 h 3559732"/>
              <a:gd name="connsiteX0" fmla="*/ 0 w 4604351"/>
              <a:gd name="connsiteY0" fmla="*/ 3559732 h 3559732"/>
              <a:gd name="connsiteX1" fmla="*/ 1668405 w 4604351"/>
              <a:gd name="connsiteY1" fmla="*/ 2622711 h 3559732"/>
              <a:gd name="connsiteX2" fmla="*/ 3409741 w 4604351"/>
              <a:gd name="connsiteY2" fmla="*/ 1350502 h 3559732"/>
              <a:gd name="connsiteX3" fmla="*/ 4604351 w 4604351"/>
              <a:gd name="connsiteY3" fmla="*/ 0 h 3559732"/>
              <a:gd name="connsiteX0" fmla="*/ 0 w 4604351"/>
              <a:gd name="connsiteY0" fmla="*/ 3559732 h 3559732"/>
              <a:gd name="connsiteX1" fmla="*/ 1668405 w 4604351"/>
              <a:gd name="connsiteY1" fmla="*/ 2622711 h 3559732"/>
              <a:gd name="connsiteX2" fmla="*/ 3409741 w 4604351"/>
              <a:gd name="connsiteY2" fmla="*/ 1350502 h 3559732"/>
              <a:gd name="connsiteX3" fmla="*/ 4604351 w 4604351"/>
              <a:gd name="connsiteY3" fmla="*/ 0 h 3559732"/>
              <a:gd name="connsiteX0" fmla="*/ 0 w 4604351"/>
              <a:gd name="connsiteY0" fmla="*/ 3559732 h 3559732"/>
              <a:gd name="connsiteX1" fmla="*/ 1668405 w 4604351"/>
              <a:gd name="connsiteY1" fmla="*/ 2622711 h 3559732"/>
              <a:gd name="connsiteX2" fmla="*/ 3409741 w 4604351"/>
              <a:gd name="connsiteY2" fmla="*/ 1350502 h 3559732"/>
              <a:gd name="connsiteX3" fmla="*/ 4604351 w 4604351"/>
              <a:gd name="connsiteY3" fmla="*/ 0 h 3559732"/>
              <a:gd name="connsiteX0" fmla="*/ 0 w 4580497"/>
              <a:gd name="connsiteY0" fmla="*/ 3527927 h 3527927"/>
              <a:gd name="connsiteX1" fmla="*/ 1644551 w 4580497"/>
              <a:gd name="connsiteY1" fmla="*/ 2622711 h 3527927"/>
              <a:gd name="connsiteX2" fmla="*/ 3385887 w 4580497"/>
              <a:gd name="connsiteY2" fmla="*/ 1350502 h 3527927"/>
              <a:gd name="connsiteX3" fmla="*/ 4580497 w 4580497"/>
              <a:gd name="connsiteY3" fmla="*/ 0 h 3527927"/>
              <a:gd name="connsiteX0" fmla="*/ 0 w 4580497"/>
              <a:gd name="connsiteY0" fmla="*/ 3527927 h 3527927"/>
              <a:gd name="connsiteX1" fmla="*/ 1644551 w 4580497"/>
              <a:gd name="connsiteY1" fmla="*/ 2622711 h 3527927"/>
              <a:gd name="connsiteX2" fmla="*/ 3385887 w 4580497"/>
              <a:gd name="connsiteY2" fmla="*/ 1350502 h 3527927"/>
              <a:gd name="connsiteX3" fmla="*/ 4580497 w 4580497"/>
              <a:gd name="connsiteY3" fmla="*/ 0 h 3527927"/>
              <a:gd name="connsiteX0" fmla="*/ 0 w 4580497"/>
              <a:gd name="connsiteY0" fmla="*/ 3527927 h 3527927"/>
              <a:gd name="connsiteX1" fmla="*/ 1644551 w 4580497"/>
              <a:gd name="connsiteY1" fmla="*/ 2622711 h 3527927"/>
              <a:gd name="connsiteX2" fmla="*/ 3385887 w 4580497"/>
              <a:gd name="connsiteY2" fmla="*/ 1350502 h 3527927"/>
              <a:gd name="connsiteX3" fmla="*/ 4580497 w 4580497"/>
              <a:gd name="connsiteY3" fmla="*/ 0 h 3527927"/>
              <a:gd name="connsiteX0" fmla="*/ 0 w 4580497"/>
              <a:gd name="connsiteY0" fmla="*/ 3527927 h 3527927"/>
              <a:gd name="connsiteX1" fmla="*/ 1644551 w 4580497"/>
              <a:gd name="connsiteY1" fmla="*/ 2622711 h 3527927"/>
              <a:gd name="connsiteX2" fmla="*/ 3385887 w 4580497"/>
              <a:gd name="connsiteY2" fmla="*/ 1350502 h 3527927"/>
              <a:gd name="connsiteX3" fmla="*/ 4580497 w 4580497"/>
              <a:gd name="connsiteY3" fmla="*/ 0 h 3527927"/>
              <a:gd name="connsiteX0" fmla="*/ 0 w 3385887"/>
              <a:gd name="connsiteY0" fmla="*/ 2177425 h 2177425"/>
              <a:gd name="connsiteX1" fmla="*/ 1644551 w 3385887"/>
              <a:gd name="connsiteY1" fmla="*/ 1272209 h 2177425"/>
              <a:gd name="connsiteX2" fmla="*/ 3385887 w 3385887"/>
              <a:gd name="connsiteY2" fmla="*/ 0 h 2177425"/>
              <a:gd name="connsiteX0" fmla="*/ 0 w 3390414"/>
              <a:gd name="connsiteY0" fmla="*/ 2186478 h 2186478"/>
              <a:gd name="connsiteX1" fmla="*/ 1644551 w 3390414"/>
              <a:gd name="connsiteY1" fmla="*/ 1281262 h 2186478"/>
              <a:gd name="connsiteX2" fmla="*/ 3390414 w 3390414"/>
              <a:gd name="connsiteY2" fmla="*/ 0 h 2186478"/>
              <a:gd name="connsiteX0" fmla="*/ 0 w 3390414"/>
              <a:gd name="connsiteY0" fmla="*/ 2186478 h 2186478"/>
              <a:gd name="connsiteX1" fmla="*/ 1644551 w 3390414"/>
              <a:gd name="connsiteY1" fmla="*/ 1281262 h 2186478"/>
              <a:gd name="connsiteX2" fmla="*/ 3390414 w 3390414"/>
              <a:gd name="connsiteY2" fmla="*/ 0 h 2186478"/>
              <a:gd name="connsiteX0" fmla="*/ 0 w 3390414"/>
              <a:gd name="connsiteY0" fmla="*/ 2186478 h 2186478"/>
              <a:gd name="connsiteX1" fmla="*/ 1644551 w 3390414"/>
              <a:gd name="connsiteY1" fmla="*/ 1281262 h 2186478"/>
              <a:gd name="connsiteX2" fmla="*/ 3390414 w 3390414"/>
              <a:gd name="connsiteY2" fmla="*/ 0 h 2186478"/>
              <a:gd name="connsiteX0" fmla="*/ 0 w 3390414"/>
              <a:gd name="connsiteY0" fmla="*/ 2186478 h 2186478"/>
              <a:gd name="connsiteX1" fmla="*/ 1644551 w 3390414"/>
              <a:gd name="connsiteY1" fmla="*/ 1281262 h 2186478"/>
              <a:gd name="connsiteX2" fmla="*/ 3390414 w 3390414"/>
              <a:gd name="connsiteY2" fmla="*/ 0 h 2186478"/>
              <a:gd name="connsiteX0" fmla="*/ 0 w 3390414"/>
              <a:gd name="connsiteY0" fmla="*/ 2186478 h 2186478"/>
              <a:gd name="connsiteX1" fmla="*/ 1644551 w 3390414"/>
              <a:gd name="connsiteY1" fmla="*/ 1281262 h 2186478"/>
              <a:gd name="connsiteX2" fmla="*/ 3390414 w 3390414"/>
              <a:gd name="connsiteY2" fmla="*/ 0 h 2186478"/>
              <a:gd name="connsiteX0" fmla="*/ 0 w 3390414"/>
              <a:gd name="connsiteY0" fmla="*/ 2186478 h 2186478"/>
              <a:gd name="connsiteX1" fmla="*/ 1644551 w 3390414"/>
              <a:gd name="connsiteY1" fmla="*/ 1281262 h 2186478"/>
              <a:gd name="connsiteX2" fmla="*/ 3390414 w 3390414"/>
              <a:gd name="connsiteY2" fmla="*/ 0 h 2186478"/>
              <a:gd name="connsiteX0" fmla="*/ 0 w 3390414"/>
              <a:gd name="connsiteY0" fmla="*/ 2186478 h 2186478"/>
              <a:gd name="connsiteX1" fmla="*/ 1644551 w 3390414"/>
              <a:gd name="connsiteY1" fmla="*/ 1281262 h 2186478"/>
              <a:gd name="connsiteX2" fmla="*/ 3390414 w 3390414"/>
              <a:gd name="connsiteY2" fmla="*/ 0 h 2186478"/>
              <a:gd name="connsiteX0" fmla="*/ 0 w 3390414"/>
              <a:gd name="connsiteY0" fmla="*/ 2186478 h 2186478"/>
              <a:gd name="connsiteX1" fmla="*/ 1644551 w 3390414"/>
              <a:gd name="connsiteY1" fmla="*/ 1281262 h 2186478"/>
              <a:gd name="connsiteX2" fmla="*/ 3390414 w 3390414"/>
              <a:gd name="connsiteY2" fmla="*/ 0 h 2186478"/>
              <a:gd name="connsiteX0" fmla="*/ 0 w 4615365"/>
              <a:gd name="connsiteY0" fmla="*/ 3549451 h 3549451"/>
              <a:gd name="connsiteX1" fmla="*/ 1644551 w 4615365"/>
              <a:gd name="connsiteY1" fmla="*/ 2644235 h 3549451"/>
              <a:gd name="connsiteX2" fmla="*/ 4615365 w 4615365"/>
              <a:gd name="connsiteY2" fmla="*/ 0 h 3549451"/>
              <a:gd name="connsiteX0" fmla="*/ 0 w 4615365"/>
              <a:gd name="connsiteY0" fmla="*/ 3549451 h 3549451"/>
              <a:gd name="connsiteX1" fmla="*/ 1644551 w 4615365"/>
              <a:gd name="connsiteY1" fmla="*/ 2644235 h 3549451"/>
              <a:gd name="connsiteX2" fmla="*/ 3378055 w 4615365"/>
              <a:gd name="connsiteY2" fmla="*/ 1250643 h 3549451"/>
              <a:gd name="connsiteX3" fmla="*/ 4615365 w 4615365"/>
              <a:gd name="connsiteY3" fmla="*/ 0 h 3549451"/>
              <a:gd name="connsiteX0" fmla="*/ 0 w 4615365"/>
              <a:gd name="connsiteY0" fmla="*/ 3549451 h 3549451"/>
              <a:gd name="connsiteX1" fmla="*/ 1644551 w 4615365"/>
              <a:gd name="connsiteY1" fmla="*/ 2644235 h 3549451"/>
              <a:gd name="connsiteX2" fmla="*/ 3378055 w 4615365"/>
              <a:gd name="connsiteY2" fmla="*/ 1250643 h 3549451"/>
              <a:gd name="connsiteX3" fmla="*/ 4615365 w 4615365"/>
              <a:gd name="connsiteY3" fmla="*/ 0 h 3549451"/>
              <a:gd name="connsiteX0" fmla="*/ 0 w 4615365"/>
              <a:gd name="connsiteY0" fmla="*/ 3549451 h 3549451"/>
              <a:gd name="connsiteX1" fmla="*/ 1644551 w 4615365"/>
              <a:gd name="connsiteY1" fmla="*/ 2644235 h 3549451"/>
              <a:gd name="connsiteX2" fmla="*/ 3378055 w 4615365"/>
              <a:gd name="connsiteY2" fmla="*/ 1250643 h 3549451"/>
              <a:gd name="connsiteX3" fmla="*/ 4615365 w 4615365"/>
              <a:gd name="connsiteY3" fmla="*/ 0 h 3549451"/>
              <a:gd name="connsiteX0" fmla="*/ 0 w 4615365"/>
              <a:gd name="connsiteY0" fmla="*/ 3549451 h 3549451"/>
              <a:gd name="connsiteX1" fmla="*/ 1644551 w 4615365"/>
              <a:gd name="connsiteY1" fmla="*/ 2644235 h 3549451"/>
              <a:gd name="connsiteX2" fmla="*/ 3378055 w 4615365"/>
              <a:gd name="connsiteY2" fmla="*/ 1250643 h 3549451"/>
              <a:gd name="connsiteX3" fmla="*/ 4615365 w 4615365"/>
              <a:gd name="connsiteY3" fmla="*/ 0 h 3549451"/>
              <a:gd name="connsiteX0" fmla="*/ 0 w 4615365"/>
              <a:gd name="connsiteY0" fmla="*/ 3549451 h 3549451"/>
              <a:gd name="connsiteX1" fmla="*/ 1644551 w 4615365"/>
              <a:gd name="connsiteY1" fmla="*/ 2644235 h 3549451"/>
              <a:gd name="connsiteX2" fmla="*/ 3300417 w 4615365"/>
              <a:gd name="connsiteY2" fmla="*/ 1267896 h 3549451"/>
              <a:gd name="connsiteX3" fmla="*/ 4615365 w 4615365"/>
              <a:gd name="connsiteY3" fmla="*/ 0 h 3549451"/>
              <a:gd name="connsiteX0" fmla="*/ 0 w 4615365"/>
              <a:gd name="connsiteY0" fmla="*/ 3549451 h 3549451"/>
              <a:gd name="connsiteX1" fmla="*/ 1325374 w 4615365"/>
              <a:gd name="connsiteY1" fmla="*/ 3092809 h 3549451"/>
              <a:gd name="connsiteX2" fmla="*/ 3300417 w 4615365"/>
              <a:gd name="connsiteY2" fmla="*/ 1267896 h 3549451"/>
              <a:gd name="connsiteX3" fmla="*/ 4615365 w 4615365"/>
              <a:gd name="connsiteY3" fmla="*/ 0 h 3549451"/>
              <a:gd name="connsiteX0" fmla="*/ 0 w 4589486"/>
              <a:gd name="connsiteY0" fmla="*/ 3540824 h 3540824"/>
              <a:gd name="connsiteX1" fmla="*/ 1299495 w 4589486"/>
              <a:gd name="connsiteY1" fmla="*/ 3092809 h 3540824"/>
              <a:gd name="connsiteX2" fmla="*/ 3274538 w 4589486"/>
              <a:gd name="connsiteY2" fmla="*/ 1267896 h 3540824"/>
              <a:gd name="connsiteX3" fmla="*/ 4589486 w 4589486"/>
              <a:gd name="connsiteY3" fmla="*/ 0 h 3540824"/>
              <a:gd name="connsiteX0" fmla="*/ 0 w 4589486"/>
              <a:gd name="connsiteY0" fmla="*/ 3540824 h 3540824"/>
              <a:gd name="connsiteX1" fmla="*/ 1299495 w 4589486"/>
              <a:gd name="connsiteY1" fmla="*/ 3092809 h 3540824"/>
              <a:gd name="connsiteX2" fmla="*/ 3274538 w 4589486"/>
              <a:gd name="connsiteY2" fmla="*/ 1267896 h 3540824"/>
              <a:gd name="connsiteX3" fmla="*/ 4589486 w 4589486"/>
              <a:gd name="connsiteY3" fmla="*/ 0 h 3540824"/>
              <a:gd name="connsiteX0" fmla="*/ 0 w 4589486"/>
              <a:gd name="connsiteY0" fmla="*/ 3540824 h 3540824"/>
              <a:gd name="connsiteX1" fmla="*/ 2196643 w 4589486"/>
              <a:gd name="connsiteY1" fmla="*/ 1936870 h 3540824"/>
              <a:gd name="connsiteX2" fmla="*/ 3274538 w 4589486"/>
              <a:gd name="connsiteY2" fmla="*/ 1267896 h 3540824"/>
              <a:gd name="connsiteX3" fmla="*/ 4589486 w 4589486"/>
              <a:gd name="connsiteY3" fmla="*/ 0 h 3540824"/>
              <a:gd name="connsiteX0" fmla="*/ 0 w 4589486"/>
              <a:gd name="connsiteY0" fmla="*/ 3540824 h 3540824"/>
              <a:gd name="connsiteX1" fmla="*/ 2196643 w 4589486"/>
              <a:gd name="connsiteY1" fmla="*/ 1936870 h 3540824"/>
              <a:gd name="connsiteX2" fmla="*/ 3274538 w 4589486"/>
              <a:gd name="connsiteY2" fmla="*/ 1267896 h 3540824"/>
              <a:gd name="connsiteX3" fmla="*/ 4589486 w 4589486"/>
              <a:gd name="connsiteY3" fmla="*/ 0 h 3540824"/>
              <a:gd name="connsiteX0" fmla="*/ 0 w 4589486"/>
              <a:gd name="connsiteY0" fmla="*/ 3540824 h 3540824"/>
              <a:gd name="connsiteX1" fmla="*/ 2110379 w 4589486"/>
              <a:gd name="connsiteY1" fmla="*/ 1824726 h 3540824"/>
              <a:gd name="connsiteX2" fmla="*/ 3274538 w 4589486"/>
              <a:gd name="connsiteY2" fmla="*/ 1267896 h 3540824"/>
              <a:gd name="connsiteX3" fmla="*/ 4589486 w 4589486"/>
              <a:gd name="connsiteY3" fmla="*/ 0 h 3540824"/>
              <a:gd name="connsiteX0" fmla="*/ 0 w 4589486"/>
              <a:gd name="connsiteY0" fmla="*/ 3540824 h 3540824"/>
              <a:gd name="connsiteX1" fmla="*/ 2110379 w 4589486"/>
              <a:gd name="connsiteY1" fmla="*/ 1824726 h 3540824"/>
              <a:gd name="connsiteX2" fmla="*/ 3309044 w 4589486"/>
              <a:gd name="connsiteY2" fmla="*/ 1233390 h 3540824"/>
              <a:gd name="connsiteX3" fmla="*/ 4589486 w 4589486"/>
              <a:gd name="connsiteY3" fmla="*/ 0 h 3540824"/>
              <a:gd name="connsiteX0" fmla="*/ 0 w 4589486"/>
              <a:gd name="connsiteY0" fmla="*/ 3540824 h 3540824"/>
              <a:gd name="connsiteX1" fmla="*/ 2110379 w 4589486"/>
              <a:gd name="connsiteY1" fmla="*/ 1824726 h 3540824"/>
              <a:gd name="connsiteX2" fmla="*/ 3309044 w 4589486"/>
              <a:gd name="connsiteY2" fmla="*/ 1233390 h 3540824"/>
              <a:gd name="connsiteX3" fmla="*/ 4589486 w 4589486"/>
              <a:gd name="connsiteY3" fmla="*/ 0 h 3540824"/>
              <a:gd name="connsiteX0" fmla="*/ 0 w 4589486"/>
              <a:gd name="connsiteY0" fmla="*/ 3540824 h 3540824"/>
              <a:gd name="connsiteX1" fmla="*/ 2110379 w 4589486"/>
              <a:gd name="connsiteY1" fmla="*/ 1824726 h 3540824"/>
              <a:gd name="connsiteX2" fmla="*/ 3309044 w 4589486"/>
              <a:gd name="connsiteY2" fmla="*/ 1233390 h 3540824"/>
              <a:gd name="connsiteX3" fmla="*/ 4589486 w 4589486"/>
              <a:gd name="connsiteY3" fmla="*/ 0 h 3540824"/>
              <a:gd name="connsiteX0" fmla="*/ 0 w 4589486"/>
              <a:gd name="connsiteY0" fmla="*/ 3540824 h 3540824"/>
              <a:gd name="connsiteX1" fmla="*/ 2110379 w 4589486"/>
              <a:gd name="connsiteY1" fmla="*/ 1824726 h 3540824"/>
              <a:gd name="connsiteX2" fmla="*/ 3309044 w 4589486"/>
              <a:gd name="connsiteY2" fmla="*/ 1233390 h 3540824"/>
              <a:gd name="connsiteX3" fmla="*/ 4589486 w 4589486"/>
              <a:gd name="connsiteY3" fmla="*/ 0 h 3540824"/>
              <a:gd name="connsiteX0" fmla="*/ 0 w 4589486"/>
              <a:gd name="connsiteY0" fmla="*/ 3540824 h 3540824"/>
              <a:gd name="connsiteX1" fmla="*/ 2110379 w 4589486"/>
              <a:gd name="connsiteY1" fmla="*/ 1824726 h 3540824"/>
              <a:gd name="connsiteX2" fmla="*/ 3265912 w 4589486"/>
              <a:gd name="connsiteY2" fmla="*/ 1259269 h 3540824"/>
              <a:gd name="connsiteX3" fmla="*/ 4589486 w 4589486"/>
              <a:gd name="connsiteY3" fmla="*/ 0 h 3540824"/>
              <a:gd name="connsiteX0" fmla="*/ 0 w 4598113"/>
              <a:gd name="connsiteY0" fmla="*/ 3558077 h 3558077"/>
              <a:gd name="connsiteX1" fmla="*/ 2110379 w 4598113"/>
              <a:gd name="connsiteY1" fmla="*/ 1841979 h 3558077"/>
              <a:gd name="connsiteX2" fmla="*/ 3265912 w 4598113"/>
              <a:gd name="connsiteY2" fmla="*/ 1276522 h 3558077"/>
              <a:gd name="connsiteX3" fmla="*/ 4598113 w 4598113"/>
              <a:gd name="connsiteY3" fmla="*/ 0 h 3558077"/>
              <a:gd name="connsiteX0" fmla="*/ 0 w 4598113"/>
              <a:gd name="connsiteY0" fmla="*/ 3558077 h 3558077"/>
              <a:gd name="connsiteX1" fmla="*/ 2110379 w 4598113"/>
              <a:gd name="connsiteY1" fmla="*/ 1841979 h 3558077"/>
              <a:gd name="connsiteX2" fmla="*/ 3265912 w 4598113"/>
              <a:gd name="connsiteY2" fmla="*/ 1276522 h 3558077"/>
              <a:gd name="connsiteX3" fmla="*/ 4598113 w 4598113"/>
              <a:gd name="connsiteY3" fmla="*/ 0 h 3558077"/>
              <a:gd name="connsiteX0" fmla="*/ 0 w 4598113"/>
              <a:gd name="connsiteY0" fmla="*/ 3558077 h 3558077"/>
              <a:gd name="connsiteX1" fmla="*/ 2110379 w 4598113"/>
              <a:gd name="connsiteY1" fmla="*/ 1841979 h 3558077"/>
              <a:gd name="connsiteX2" fmla="*/ 3265912 w 4598113"/>
              <a:gd name="connsiteY2" fmla="*/ 1276522 h 3558077"/>
              <a:gd name="connsiteX3" fmla="*/ 4598113 w 4598113"/>
              <a:gd name="connsiteY3" fmla="*/ 0 h 3558077"/>
              <a:gd name="connsiteX0" fmla="*/ 0 w 4598113"/>
              <a:gd name="connsiteY0" fmla="*/ 3558077 h 3558077"/>
              <a:gd name="connsiteX1" fmla="*/ 2110379 w 4598113"/>
              <a:gd name="connsiteY1" fmla="*/ 1841979 h 3558077"/>
              <a:gd name="connsiteX2" fmla="*/ 3300417 w 4598113"/>
              <a:gd name="connsiteY2" fmla="*/ 1242017 h 3558077"/>
              <a:gd name="connsiteX3" fmla="*/ 4598113 w 4598113"/>
              <a:gd name="connsiteY3" fmla="*/ 0 h 3558077"/>
              <a:gd name="connsiteX0" fmla="*/ 0 w 4598113"/>
              <a:gd name="connsiteY0" fmla="*/ 3558077 h 3558077"/>
              <a:gd name="connsiteX1" fmla="*/ 2110379 w 4598113"/>
              <a:gd name="connsiteY1" fmla="*/ 1841979 h 3558077"/>
              <a:gd name="connsiteX2" fmla="*/ 3300417 w 4598113"/>
              <a:gd name="connsiteY2" fmla="*/ 1242017 h 3558077"/>
              <a:gd name="connsiteX3" fmla="*/ 4598113 w 4598113"/>
              <a:gd name="connsiteY3" fmla="*/ 0 h 3558077"/>
              <a:gd name="connsiteX0" fmla="*/ 0 w 4598113"/>
              <a:gd name="connsiteY0" fmla="*/ 3558077 h 3558077"/>
              <a:gd name="connsiteX1" fmla="*/ 2136259 w 4598113"/>
              <a:gd name="connsiteY1" fmla="*/ 1816099 h 3558077"/>
              <a:gd name="connsiteX2" fmla="*/ 3300417 w 4598113"/>
              <a:gd name="connsiteY2" fmla="*/ 1242017 h 3558077"/>
              <a:gd name="connsiteX3" fmla="*/ 4598113 w 4598113"/>
              <a:gd name="connsiteY3" fmla="*/ 0 h 3558077"/>
              <a:gd name="connsiteX0" fmla="*/ 0 w 4598113"/>
              <a:gd name="connsiteY0" fmla="*/ 3558077 h 3558077"/>
              <a:gd name="connsiteX1" fmla="*/ 2136259 w 4598113"/>
              <a:gd name="connsiteY1" fmla="*/ 1816099 h 3558077"/>
              <a:gd name="connsiteX2" fmla="*/ 3300417 w 4598113"/>
              <a:gd name="connsiteY2" fmla="*/ 1242017 h 3558077"/>
              <a:gd name="connsiteX3" fmla="*/ 4598113 w 4598113"/>
              <a:gd name="connsiteY3" fmla="*/ 0 h 3558077"/>
              <a:gd name="connsiteX0" fmla="*/ 0 w 4598113"/>
              <a:gd name="connsiteY0" fmla="*/ 3558077 h 3558077"/>
              <a:gd name="connsiteX1" fmla="*/ 2179391 w 4598113"/>
              <a:gd name="connsiteY1" fmla="*/ 1841978 h 3558077"/>
              <a:gd name="connsiteX2" fmla="*/ 3300417 w 4598113"/>
              <a:gd name="connsiteY2" fmla="*/ 1242017 h 3558077"/>
              <a:gd name="connsiteX3" fmla="*/ 4598113 w 4598113"/>
              <a:gd name="connsiteY3" fmla="*/ 0 h 3558077"/>
              <a:gd name="connsiteX0" fmla="*/ 0 w 4623992"/>
              <a:gd name="connsiteY0" fmla="*/ 3549451 h 3549451"/>
              <a:gd name="connsiteX1" fmla="*/ 2205270 w 4623992"/>
              <a:gd name="connsiteY1" fmla="*/ 1841978 h 3549451"/>
              <a:gd name="connsiteX2" fmla="*/ 3326296 w 4623992"/>
              <a:gd name="connsiteY2" fmla="*/ 1242017 h 3549451"/>
              <a:gd name="connsiteX3" fmla="*/ 4623992 w 4623992"/>
              <a:gd name="connsiteY3" fmla="*/ 0 h 3549451"/>
              <a:gd name="connsiteX0" fmla="*/ 0 w 4623992"/>
              <a:gd name="connsiteY0" fmla="*/ 3549451 h 3549451"/>
              <a:gd name="connsiteX1" fmla="*/ 2205270 w 4623992"/>
              <a:gd name="connsiteY1" fmla="*/ 1841978 h 3549451"/>
              <a:gd name="connsiteX2" fmla="*/ 3326296 w 4623992"/>
              <a:gd name="connsiteY2" fmla="*/ 1242017 h 3549451"/>
              <a:gd name="connsiteX3" fmla="*/ 4623992 w 4623992"/>
              <a:gd name="connsiteY3" fmla="*/ 0 h 3549451"/>
              <a:gd name="connsiteX0" fmla="*/ 0 w 4623992"/>
              <a:gd name="connsiteY0" fmla="*/ 3549451 h 3549451"/>
              <a:gd name="connsiteX1" fmla="*/ 2205270 w 4623992"/>
              <a:gd name="connsiteY1" fmla="*/ 1841978 h 3549451"/>
              <a:gd name="connsiteX2" fmla="*/ 3326296 w 4623992"/>
              <a:gd name="connsiteY2" fmla="*/ 1242017 h 3549451"/>
              <a:gd name="connsiteX3" fmla="*/ 4623992 w 4623992"/>
              <a:gd name="connsiteY3" fmla="*/ 0 h 3549451"/>
              <a:gd name="connsiteX0" fmla="*/ 0 w 4623992"/>
              <a:gd name="connsiteY0" fmla="*/ 3549451 h 3549451"/>
              <a:gd name="connsiteX1" fmla="*/ 2075874 w 4623992"/>
              <a:gd name="connsiteY1" fmla="*/ 1988627 h 3549451"/>
              <a:gd name="connsiteX2" fmla="*/ 3326296 w 4623992"/>
              <a:gd name="connsiteY2" fmla="*/ 1242017 h 3549451"/>
              <a:gd name="connsiteX3" fmla="*/ 4623992 w 4623992"/>
              <a:gd name="connsiteY3" fmla="*/ 0 h 3549451"/>
              <a:gd name="connsiteX0" fmla="*/ 0 w 4623992"/>
              <a:gd name="connsiteY0" fmla="*/ 3549451 h 3549451"/>
              <a:gd name="connsiteX1" fmla="*/ 2075874 w 4623992"/>
              <a:gd name="connsiteY1" fmla="*/ 1988627 h 3549451"/>
              <a:gd name="connsiteX2" fmla="*/ 3326296 w 4623992"/>
              <a:gd name="connsiteY2" fmla="*/ 1242017 h 3549451"/>
              <a:gd name="connsiteX3" fmla="*/ 4623992 w 4623992"/>
              <a:gd name="connsiteY3" fmla="*/ 0 h 3549451"/>
              <a:gd name="connsiteX0" fmla="*/ 0 w 4623992"/>
              <a:gd name="connsiteY0" fmla="*/ 3549451 h 3549451"/>
              <a:gd name="connsiteX1" fmla="*/ 2075874 w 4623992"/>
              <a:gd name="connsiteY1" fmla="*/ 1988627 h 3549451"/>
              <a:gd name="connsiteX2" fmla="*/ 3291791 w 4623992"/>
              <a:gd name="connsiteY2" fmla="*/ 1293776 h 3549451"/>
              <a:gd name="connsiteX3" fmla="*/ 4623992 w 4623992"/>
              <a:gd name="connsiteY3" fmla="*/ 0 h 3549451"/>
              <a:gd name="connsiteX0" fmla="*/ 0 w 4623992"/>
              <a:gd name="connsiteY0" fmla="*/ 3549451 h 3549451"/>
              <a:gd name="connsiteX1" fmla="*/ 1998236 w 4623992"/>
              <a:gd name="connsiteY1" fmla="*/ 2100771 h 3549451"/>
              <a:gd name="connsiteX2" fmla="*/ 3291791 w 4623992"/>
              <a:gd name="connsiteY2" fmla="*/ 1293776 h 3549451"/>
              <a:gd name="connsiteX3" fmla="*/ 4623992 w 4623992"/>
              <a:gd name="connsiteY3" fmla="*/ 0 h 3549451"/>
              <a:gd name="connsiteX0" fmla="*/ 0 w 4623992"/>
              <a:gd name="connsiteY0" fmla="*/ 3549451 h 3549451"/>
              <a:gd name="connsiteX1" fmla="*/ 1998236 w 4623992"/>
              <a:gd name="connsiteY1" fmla="*/ 2100771 h 3549451"/>
              <a:gd name="connsiteX2" fmla="*/ 3291791 w 4623992"/>
              <a:gd name="connsiteY2" fmla="*/ 1293776 h 3549451"/>
              <a:gd name="connsiteX3" fmla="*/ 4623992 w 4623992"/>
              <a:gd name="connsiteY3" fmla="*/ 0 h 3549451"/>
              <a:gd name="connsiteX0" fmla="*/ 0 w 4623992"/>
              <a:gd name="connsiteY0" fmla="*/ 3549451 h 3549451"/>
              <a:gd name="connsiteX1" fmla="*/ 1937851 w 4623992"/>
              <a:gd name="connsiteY1" fmla="*/ 2066265 h 3549451"/>
              <a:gd name="connsiteX2" fmla="*/ 3291791 w 4623992"/>
              <a:gd name="connsiteY2" fmla="*/ 1293776 h 3549451"/>
              <a:gd name="connsiteX3" fmla="*/ 4623992 w 4623992"/>
              <a:gd name="connsiteY3" fmla="*/ 0 h 3549451"/>
              <a:gd name="connsiteX0" fmla="*/ 0 w 4623992"/>
              <a:gd name="connsiteY0" fmla="*/ 3549451 h 3549451"/>
              <a:gd name="connsiteX1" fmla="*/ 1937851 w 4623992"/>
              <a:gd name="connsiteY1" fmla="*/ 2066265 h 3549451"/>
              <a:gd name="connsiteX2" fmla="*/ 3291791 w 4623992"/>
              <a:gd name="connsiteY2" fmla="*/ 1293776 h 3549451"/>
              <a:gd name="connsiteX3" fmla="*/ 4623992 w 4623992"/>
              <a:gd name="connsiteY3" fmla="*/ 0 h 3549451"/>
              <a:gd name="connsiteX0" fmla="*/ 0 w 4623992"/>
              <a:gd name="connsiteY0" fmla="*/ 3549451 h 3549451"/>
              <a:gd name="connsiteX1" fmla="*/ 1937851 w 4623992"/>
              <a:gd name="connsiteY1" fmla="*/ 2066265 h 3549451"/>
              <a:gd name="connsiteX2" fmla="*/ 3291791 w 4623992"/>
              <a:gd name="connsiteY2" fmla="*/ 1293776 h 3549451"/>
              <a:gd name="connsiteX3" fmla="*/ 4623992 w 4623992"/>
              <a:gd name="connsiteY3" fmla="*/ 0 h 3549451"/>
              <a:gd name="connsiteX0" fmla="*/ 0 w 4623992"/>
              <a:gd name="connsiteY0" fmla="*/ 3549451 h 3549451"/>
              <a:gd name="connsiteX1" fmla="*/ 1937851 w 4623992"/>
              <a:gd name="connsiteY1" fmla="*/ 2066265 h 3549451"/>
              <a:gd name="connsiteX2" fmla="*/ 3274538 w 4623992"/>
              <a:gd name="connsiteY2" fmla="*/ 1233391 h 3549451"/>
              <a:gd name="connsiteX3" fmla="*/ 4623992 w 4623992"/>
              <a:gd name="connsiteY3" fmla="*/ 0 h 3549451"/>
              <a:gd name="connsiteX0" fmla="*/ 0 w 4623992"/>
              <a:gd name="connsiteY0" fmla="*/ 3549451 h 3549451"/>
              <a:gd name="connsiteX1" fmla="*/ 1937851 w 4623992"/>
              <a:gd name="connsiteY1" fmla="*/ 2066265 h 3549451"/>
              <a:gd name="connsiteX2" fmla="*/ 3274538 w 4623992"/>
              <a:gd name="connsiteY2" fmla="*/ 1233391 h 3549451"/>
              <a:gd name="connsiteX3" fmla="*/ 4623992 w 4623992"/>
              <a:gd name="connsiteY3" fmla="*/ 0 h 3549451"/>
              <a:gd name="connsiteX0" fmla="*/ 0 w 4623992"/>
              <a:gd name="connsiteY0" fmla="*/ 3583957 h 3583957"/>
              <a:gd name="connsiteX1" fmla="*/ 1937851 w 4623992"/>
              <a:gd name="connsiteY1" fmla="*/ 2100771 h 3583957"/>
              <a:gd name="connsiteX2" fmla="*/ 3274538 w 4623992"/>
              <a:gd name="connsiteY2" fmla="*/ 1267897 h 3583957"/>
              <a:gd name="connsiteX3" fmla="*/ 4623992 w 4623992"/>
              <a:gd name="connsiteY3" fmla="*/ 0 h 3583957"/>
              <a:gd name="connsiteX0" fmla="*/ 0 w 4623992"/>
              <a:gd name="connsiteY0" fmla="*/ 3583957 h 3583957"/>
              <a:gd name="connsiteX1" fmla="*/ 1937851 w 4623992"/>
              <a:gd name="connsiteY1" fmla="*/ 2100771 h 3583957"/>
              <a:gd name="connsiteX2" fmla="*/ 3274538 w 4623992"/>
              <a:gd name="connsiteY2" fmla="*/ 1267897 h 3583957"/>
              <a:gd name="connsiteX3" fmla="*/ 4623992 w 4623992"/>
              <a:gd name="connsiteY3" fmla="*/ 0 h 3583957"/>
              <a:gd name="connsiteX0" fmla="*/ 0 w 4623992"/>
              <a:gd name="connsiteY0" fmla="*/ 3583957 h 3583957"/>
              <a:gd name="connsiteX1" fmla="*/ 1937851 w 4623992"/>
              <a:gd name="connsiteY1" fmla="*/ 2100771 h 3583957"/>
              <a:gd name="connsiteX2" fmla="*/ 3343549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43549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43549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43549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43549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43549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43549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43549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43549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43549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43549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283164 w 4623992"/>
              <a:gd name="connsiteY2" fmla="*/ 1371414 h 3583957"/>
              <a:gd name="connsiteX3" fmla="*/ 4623992 w 4623992"/>
              <a:gd name="connsiteY3" fmla="*/ 0 h 3583957"/>
              <a:gd name="connsiteX0" fmla="*/ 0 w 4623992"/>
              <a:gd name="connsiteY0" fmla="*/ 3583957 h 3583957"/>
              <a:gd name="connsiteX1" fmla="*/ 2101753 w 4623992"/>
              <a:gd name="connsiteY1" fmla="*/ 1997254 h 3583957"/>
              <a:gd name="connsiteX2" fmla="*/ 3283164 w 4623992"/>
              <a:gd name="connsiteY2" fmla="*/ 1371414 h 3583957"/>
              <a:gd name="connsiteX3" fmla="*/ 4623992 w 4623992"/>
              <a:gd name="connsiteY3" fmla="*/ 0 h 3583957"/>
              <a:gd name="connsiteX0" fmla="*/ 0 w 4623992"/>
              <a:gd name="connsiteY0" fmla="*/ 3583957 h 3583957"/>
              <a:gd name="connsiteX1" fmla="*/ 2101753 w 4623992"/>
              <a:gd name="connsiteY1" fmla="*/ 1997254 h 3583957"/>
              <a:gd name="connsiteX2" fmla="*/ 3283164 w 4623992"/>
              <a:gd name="connsiteY2" fmla="*/ 1371414 h 3583957"/>
              <a:gd name="connsiteX3" fmla="*/ 4623992 w 4623992"/>
              <a:gd name="connsiteY3" fmla="*/ 0 h 3583957"/>
              <a:gd name="connsiteX0" fmla="*/ 0 w 4623992"/>
              <a:gd name="connsiteY0" fmla="*/ 3583957 h 3583957"/>
              <a:gd name="connsiteX1" fmla="*/ 2101753 w 4623992"/>
              <a:gd name="connsiteY1" fmla="*/ 1997254 h 3583957"/>
              <a:gd name="connsiteX2" fmla="*/ 3283164 w 4623992"/>
              <a:gd name="connsiteY2" fmla="*/ 1371414 h 3583957"/>
              <a:gd name="connsiteX3" fmla="*/ 4623992 w 4623992"/>
              <a:gd name="connsiteY3" fmla="*/ 0 h 3583957"/>
              <a:gd name="connsiteX0" fmla="*/ 0 w 4623992"/>
              <a:gd name="connsiteY0" fmla="*/ 3583957 h 3583957"/>
              <a:gd name="connsiteX1" fmla="*/ 2101753 w 4623992"/>
              <a:gd name="connsiteY1" fmla="*/ 1997254 h 3583957"/>
              <a:gd name="connsiteX2" fmla="*/ 3283164 w 4623992"/>
              <a:gd name="connsiteY2" fmla="*/ 1371414 h 3583957"/>
              <a:gd name="connsiteX3" fmla="*/ 4623992 w 4623992"/>
              <a:gd name="connsiteY3" fmla="*/ 0 h 3583957"/>
              <a:gd name="connsiteX0" fmla="*/ 0 w 4623992"/>
              <a:gd name="connsiteY0" fmla="*/ 3583957 h 3583957"/>
              <a:gd name="connsiteX1" fmla="*/ 2101753 w 4623992"/>
              <a:gd name="connsiteY1" fmla="*/ 1997254 h 3583957"/>
              <a:gd name="connsiteX2" fmla="*/ 3283164 w 4623992"/>
              <a:gd name="connsiteY2" fmla="*/ 1371414 h 3583957"/>
              <a:gd name="connsiteX3" fmla="*/ 4623992 w 4623992"/>
              <a:gd name="connsiteY3" fmla="*/ 0 h 3583957"/>
              <a:gd name="connsiteX0" fmla="*/ 0 w 4623992"/>
              <a:gd name="connsiteY0" fmla="*/ 3583957 h 3583957"/>
              <a:gd name="connsiteX1" fmla="*/ 2101753 w 4623992"/>
              <a:gd name="connsiteY1" fmla="*/ 1997254 h 3583957"/>
              <a:gd name="connsiteX2" fmla="*/ 3283164 w 4623992"/>
              <a:gd name="connsiteY2" fmla="*/ 1371414 h 3583957"/>
              <a:gd name="connsiteX3" fmla="*/ 4623992 w 4623992"/>
              <a:gd name="connsiteY3" fmla="*/ 0 h 3583957"/>
              <a:gd name="connsiteX0" fmla="*/ 0 w 4623992"/>
              <a:gd name="connsiteY0" fmla="*/ 3583957 h 3583957"/>
              <a:gd name="connsiteX1" fmla="*/ 2101753 w 4623992"/>
              <a:gd name="connsiteY1" fmla="*/ 1997254 h 3583957"/>
              <a:gd name="connsiteX2" fmla="*/ 3283164 w 4623992"/>
              <a:gd name="connsiteY2" fmla="*/ 1371414 h 3583957"/>
              <a:gd name="connsiteX3" fmla="*/ 4623992 w 4623992"/>
              <a:gd name="connsiteY3" fmla="*/ 0 h 3583957"/>
              <a:gd name="connsiteX0" fmla="*/ 0 w 4623992"/>
              <a:gd name="connsiteY0" fmla="*/ 3583957 h 3583957"/>
              <a:gd name="connsiteX1" fmla="*/ 2101753 w 4623992"/>
              <a:gd name="connsiteY1" fmla="*/ 1997254 h 3583957"/>
              <a:gd name="connsiteX2" fmla="*/ 3317670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17670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17670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17670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17670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17670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17670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317670 w 4623992"/>
              <a:gd name="connsiteY2" fmla="*/ 1345535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101753 w 4623992"/>
              <a:gd name="connsiteY1" fmla="*/ 1997254 h 3583957"/>
              <a:gd name="connsiteX2" fmla="*/ 3257285 w 4623992"/>
              <a:gd name="connsiteY2" fmla="*/ 1319656 h 3583957"/>
              <a:gd name="connsiteX3" fmla="*/ 4623992 w 4623992"/>
              <a:gd name="connsiteY3" fmla="*/ 0 h 3583957"/>
              <a:gd name="connsiteX0" fmla="*/ 0 w 4623992"/>
              <a:gd name="connsiteY0" fmla="*/ 3583957 h 3583957"/>
              <a:gd name="connsiteX1" fmla="*/ 2075874 w 4623992"/>
              <a:gd name="connsiteY1" fmla="*/ 1980001 h 3583957"/>
              <a:gd name="connsiteX2" fmla="*/ 3257285 w 4623992"/>
              <a:gd name="connsiteY2" fmla="*/ 1319656 h 3583957"/>
              <a:gd name="connsiteX3" fmla="*/ 4623992 w 4623992"/>
              <a:gd name="connsiteY3" fmla="*/ 0 h 3583957"/>
              <a:gd name="connsiteX0" fmla="*/ 0 w 4615366"/>
              <a:gd name="connsiteY0" fmla="*/ 3549451 h 3549451"/>
              <a:gd name="connsiteX1" fmla="*/ 2067248 w 4615366"/>
              <a:gd name="connsiteY1" fmla="*/ 1980001 h 3549451"/>
              <a:gd name="connsiteX2" fmla="*/ 3248659 w 4615366"/>
              <a:gd name="connsiteY2" fmla="*/ 1319656 h 3549451"/>
              <a:gd name="connsiteX3" fmla="*/ 4615366 w 4615366"/>
              <a:gd name="connsiteY3" fmla="*/ 0 h 3549451"/>
              <a:gd name="connsiteX0" fmla="*/ 0 w 4615366"/>
              <a:gd name="connsiteY0" fmla="*/ 3549451 h 3549451"/>
              <a:gd name="connsiteX1" fmla="*/ 2067248 w 4615366"/>
              <a:gd name="connsiteY1" fmla="*/ 1980001 h 3549451"/>
              <a:gd name="connsiteX2" fmla="*/ 3248659 w 4615366"/>
              <a:gd name="connsiteY2" fmla="*/ 1319656 h 3549451"/>
              <a:gd name="connsiteX3" fmla="*/ 4615366 w 4615366"/>
              <a:gd name="connsiteY3" fmla="*/ 0 h 3549451"/>
              <a:gd name="connsiteX0" fmla="*/ 0 w 4615366"/>
              <a:gd name="connsiteY0" fmla="*/ 3549451 h 3549451"/>
              <a:gd name="connsiteX1" fmla="*/ 2067248 w 4615366"/>
              <a:gd name="connsiteY1" fmla="*/ 1980001 h 3549451"/>
              <a:gd name="connsiteX2" fmla="*/ 3248659 w 4615366"/>
              <a:gd name="connsiteY2" fmla="*/ 1319656 h 3549451"/>
              <a:gd name="connsiteX3" fmla="*/ 4615366 w 4615366"/>
              <a:gd name="connsiteY3" fmla="*/ 0 h 3549451"/>
              <a:gd name="connsiteX0" fmla="*/ 0 w 4615366"/>
              <a:gd name="connsiteY0" fmla="*/ 3549451 h 3549451"/>
              <a:gd name="connsiteX1" fmla="*/ 2067248 w 4615366"/>
              <a:gd name="connsiteY1" fmla="*/ 1980001 h 3549451"/>
              <a:gd name="connsiteX2" fmla="*/ 3248659 w 4615366"/>
              <a:gd name="connsiteY2" fmla="*/ 1319656 h 3549451"/>
              <a:gd name="connsiteX3" fmla="*/ 4615366 w 4615366"/>
              <a:gd name="connsiteY3" fmla="*/ 0 h 3549451"/>
              <a:gd name="connsiteX0" fmla="*/ 0 w 4615366"/>
              <a:gd name="connsiteY0" fmla="*/ 3549451 h 3549451"/>
              <a:gd name="connsiteX1" fmla="*/ 2067248 w 4615366"/>
              <a:gd name="connsiteY1" fmla="*/ 1980001 h 3549451"/>
              <a:gd name="connsiteX2" fmla="*/ 3248659 w 4615366"/>
              <a:gd name="connsiteY2" fmla="*/ 1319656 h 3549451"/>
              <a:gd name="connsiteX3" fmla="*/ 4615366 w 4615366"/>
              <a:gd name="connsiteY3" fmla="*/ 0 h 3549451"/>
              <a:gd name="connsiteX0" fmla="*/ 0 w 4615366"/>
              <a:gd name="connsiteY0" fmla="*/ 3549451 h 3549451"/>
              <a:gd name="connsiteX1" fmla="*/ 2067248 w 4615366"/>
              <a:gd name="connsiteY1" fmla="*/ 1980001 h 3549451"/>
              <a:gd name="connsiteX2" fmla="*/ 3248659 w 4615366"/>
              <a:gd name="connsiteY2" fmla="*/ 1319656 h 3549451"/>
              <a:gd name="connsiteX3" fmla="*/ 4615366 w 4615366"/>
              <a:gd name="connsiteY3" fmla="*/ 0 h 3549451"/>
              <a:gd name="connsiteX0" fmla="*/ 0 w 4615366"/>
              <a:gd name="connsiteY0" fmla="*/ 3549451 h 3549451"/>
              <a:gd name="connsiteX1" fmla="*/ 2067248 w 4615366"/>
              <a:gd name="connsiteY1" fmla="*/ 1980001 h 3549451"/>
              <a:gd name="connsiteX2" fmla="*/ 3248659 w 4615366"/>
              <a:gd name="connsiteY2" fmla="*/ 1319656 h 3549451"/>
              <a:gd name="connsiteX3" fmla="*/ 4615366 w 4615366"/>
              <a:gd name="connsiteY3" fmla="*/ 0 h 3549451"/>
              <a:gd name="connsiteX0" fmla="*/ 0 w 4615366"/>
              <a:gd name="connsiteY0" fmla="*/ 3549451 h 3549451"/>
              <a:gd name="connsiteX1" fmla="*/ 2067248 w 4615366"/>
              <a:gd name="connsiteY1" fmla="*/ 1980001 h 3549451"/>
              <a:gd name="connsiteX2" fmla="*/ 3248659 w 4615366"/>
              <a:gd name="connsiteY2" fmla="*/ 1319656 h 3549451"/>
              <a:gd name="connsiteX3" fmla="*/ 4615366 w 4615366"/>
              <a:gd name="connsiteY3" fmla="*/ 0 h 3549451"/>
              <a:gd name="connsiteX0" fmla="*/ 0 w 4615366"/>
              <a:gd name="connsiteY0" fmla="*/ 3549451 h 3549451"/>
              <a:gd name="connsiteX1" fmla="*/ 2067248 w 4615366"/>
              <a:gd name="connsiteY1" fmla="*/ 1980001 h 3549451"/>
              <a:gd name="connsiteX2" fmla="*/ 3326297 w 4615366"/>
              <a:gd name="connsiteY2" fmla="*/ 1267897 h 3549451"/>
              <a:gd name="connsiteX3" fmla="*/ 4615366 w 4615366"/>
              <a:gd name="connsiteY3" fmla="*/ 0 h 3549451"/>
              <a:gd name="connsiteX0" fmla="*/ 0 w 4615366"/>
              <a:gd name="connsiteY0" fmla="*/ 3549451 h 3549451"/>
              <a:gd name="connsiteX1" fmla="*/ 2067248 w 4615366"/>
              <a:gd name="connsiteY1" fmla="*/ 1980001 h 3549451"/>
              <a:gd name="connsiteX2" fmla="*/ 3274538 w 4615366"/>
              <a:gd name="connsiteY2" fmla="*/ 1293776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8 w 4615366"/>
              <a:gd name="connsiteY2" fmla="*/ 1276523 h 3549451"/>
              <a:gd name="connsiteX3" fmla="*/ 4615366 w 4615366"/>
              <a:gd name="connsiteY3" fmla="*/ 0 h 3549451"/>
              <a:gd name="connsiteX0" fmla="*/ 0 w 4615366"/>
              <a:gd name="connsiteY0" fmla="*/ 3549451 h 3549451"/>
              <a:gd name="connsiteX1" fmla="*/ 2067248 w 4615366"/>
              <a:gd name="connsiteY1" fmla="*/ 1980001 h 3549451"/>
              <a:gd name="connsiteX2" fmla="*/ 3283166 w 4615366"/>
              <a:gd name="connsiteY2" fmla="*/ 1293776 h 3549451"/>
              <a:gd name="connsiteX3" fmla="*/ 4615366 w 4615366"/>
              <a:gd name="connsiteY3" fmla="*/ 0 h 3549451"/>
              <a:gd name="connsiteX0" fmla="*/ 0 w 4615366"/>
              <a:gd name="connsiteY0" fmla="*/ 3549451 h 3549451"/>
              <a:gd name="connsiteX1" fmla="*/ 2067248 w 4615366"/>
              <a:gd name="connsiteY1" fmla="*/ 1980001 h 3549451"/>
              <a:gd name="connsiteX2" fmla="*/ 3283166 w 4615366"/>
              <a:gd name="connsiteY2" fmla="*/ 1293776 h 3549451"/>
              <a:gd name="connsiteX3" fmla="*/ 4615366 w 4615366"/>
              <a:gd name="connsiteY3" fmla="*/ 0 h 3549451"/>
              <a:gd name="connsiteX0" fmla="*/ 0 w 4615366"/>
              <a:gd name="connsiteY0" fmla="*/ 3549451 h 3549451"/>
              <a:gd name="connsiteX1" fmla="*/ 2067248 w 4615366"/>
              <a:gd name="connsiteY1" fmla="*/ 1980001 h 3549451"/>
              <a:gd name="connsiteX2" fmla="*/ 3283166 w 4615366"/>
              <a:gd name="connsiteY2" fmla="*/ 1293776 h 3549451"/>
              <a:gd name="connsiteX3" fmla="*/ 4615366 w 4615366"/>
              <a:gd name="connsiteY3" fmla="*/ 0 h 3549451"/>
              <a:gd name="connsiteX0" fmla="*/ 0 w 4615366"/>
              <a:gd name="connsiteY0" fmla="*/ 3549451 h 3549451"/>
              <a:gd name="connsiteX1" fmla="*/ 2067248 w 4615366"/>
              <a:gd name="connsiteY1" fmla="*/ 1980001 h 3549451"/>
              <a:gd name="connsiteX2" fmla="*/ 3283166 w 4615366"/>
              <a:gd name="connsiteY2" fmla="*/ 1293776 h 3549451"/>
              <a:gd name="connsiteX3" fmla="*/ 4615366 w 4615366"/>
              <a:gd name="connsiteY3" fmla="*/ 0 h 3549451"/>
              <a:gd name="connsiteX0" fmla="*/ 0 w 4615366"/>
              <a:gd name="connsiteY0" fmla="*/ 3549451 h 3549451"/>
              <a:gd name="connsiteX1" fmla="*/ 2067248 w 4615366"/>
              <a:gd name="connsiteY1" fmla="*/ 1980001 h 3549451"/>
              <a:gd name="connsiteX2" fmla="*/ 3283166 w 4615366"/>
              <a:gd name="connsiteY2" fmla="*/ 1293776 h 3549451"/>
              <a:gd name="connsiteX3" fmla="*/ 4615366 w 4615366"/>
              <a:gd name="connsiteY3" fmla="*/ 0 h 3549451"/>
              <a:gd name="connsiteX0" fmla="*/ 0 w 4615366"/>
              <a:gd name="connsiteY0" fmla="*/ 3549451 h 3549451"/>
              <a:gd name="connsiteX1" fmla="*/ 2067248 w 4615366"/>
              <a:gd name="connsiteY1" fmla="*/ 1980001 h 3549451"/>
              <a:gd name="connsiteX2" fmla="*/ 3283166 w 4615366"/>
              <a:gd name="connsiteY2" fmla="*/ 1293776 h 3549451"/>
              <a:gd name="connsiteX3" fmla="*/ 4615366 w 4615366"/>
              <a:gd name="connsiteY3" fmla="*/ 0 h 3549451"/>
              <a:gd name="connsiteX0" fmla="*/ 0 w 4615366"/>
              <a:gd name="connsiteY0" fmla="*/ 3549451 h 3549451"/>
              <a:gd name="connsiteX1" fmla="*/ 2067248 w 4615366"/>
              <a:gd name="connsiteY1" fmla="*/ 1980001 h 3549451"/>
              <a:gd name="connsiteX2" fmla="*/ 3283166 w 4615366"/>
              <a:gd name="connsiteY2" fmla="*/ 1293776 h 3549451"/>
              <a:gd name="connsiteX3" fmla="*/ 4615366 w 4615366"/>
              <a:gd name="connsiteY3" fmla="*/ 0 h 3549451"/>
              <a:gd name="connsiteX0" fmla="*/ 0 w 4615366"/>
              <a:gd name="connsiteY0" fmla="*/ 3549451 h 3549451"/>
              <a:gd name="connsiteX1" fmla="*/ 2067248 w 4615366"/>
              <a:gd name="connsiteY1" fmla="*/ 1980001 h 3549451"/>
              <a:gd name="connsiteX2" fmla="*/ 3240034 w 4615366"/>
              <a:gd name="connsiteY2" fmla="*/ 1336909 h 3549451"/>
              <a:gd name="connsiteX3" fmla="*/ 4615366 w 4615366"/>
              <a:gd name="connsiteY3" fmla="*/ 0 h 3549451"/>
              <a:gd name="connsiteX0" fmla="*/ 0 w 4615366"/>
              <a:gd name="connsiteY0" fmla="*/ 3549451 h 3549451"/>
              <a:gd name="connsiteX1" fmla="*/ 2067248 w 4615366"/>
              <a:gd name="connsiteY1" fmla="*/ 1980001 h 3549451"/>
              <a:gd name="connsiteX2" fmla="*/ 3240034 w 4615366"/>
              <a:gd name="connsiteY2" fmla="*/ 1336909 h 3549451"/>
              <a:gd name="connsiteX3" fmla="*/ 4615366 w 4615366"/>
              <a:gd name="connsiteY3" fmla="*/ 0 h 3549451"/>
              <a:gd name="connsiteX0" fmla="*/ 0 w 4615366"/>
              <a:gd name="connsiteY0" fmla="*/ 3549451 h 3549451"/>
              <a:gd name="connsiteX1" fmla="*/ 2067248 w 4615366"/>
              <a:gd name="connsiteY1" fmla="*/ 1980001 h 3549451"/>
              <a:gd name="connsiteX2" fmla="*/ 3240034 w 4615366"/>
              <a:gd name="connsiteY2" fmla="*/ 1336909 h 3549451"/>
              <a:gd name="connsiteX3" fmla="*/ 4615366 w 4615366"/>
              <a:gd name="connsiteY3" fmla="*/ 0 h 3549451"/>
              <a:gd name="connsiteX0" fmla="*/ 0 w 4615366"/>
              <a:gd name="connsiteY0" fmla="*/ 3549451 h 3549451"/>
              <a:gd name="connsiteX1" fmla="*/ 2067248 w 4615366"/>
              <a:gd name="connsiteY1" fmla="*/ 1980001 h 3549451"/>
              <a:gd name="connsiteX2" fmla="*/ 3240034 w 4615366"/>
              <a:gd name="connsiteY2" fmla="*/ 1336909 h 3549451"/>
              <a:gd name="connsiteX3" fmla="*/ 4615366 w 4615366"/>
              <a:gd name="connsiteY3" fmla="*/ 0 h 3549451"/>
              <a:gd name="connsiteX0" fmla="*/ 0 w 4615366"/>
              <a:gd name="connsiteY0" fmla="*/ 3549451 h 3549451"/>
              <a:gd name="connsiteX1" fmla="*/ 2067248 w 4615366"/>
              <a:gd name="connsiteY1" fmla="*/ 1980001 h 3549451"/>
              <a:gd name="connsiteX2" fmla="*/ 3240034 w 4615366"/>
              <a:gd name="connsiteY2" fmla="*/ 1336909 h 3549451"/>
              <a:gd name="connsiteX3" fmla="*/ 4615366 w 4615366"/>
              <a:gd name="connsiteY3" fmla="*/ 0 h 3549451"/>
              <a:gd name="connsiteX0" fmla="*/ 0 w 4615366"/>
              <a:gd name="connsiteY0" fmla="*/ 3549451 h 3549451"/>
              <a:gd name="connsiteX1" fmla="*/ 2067248 w 4615366"/>
              <a:gd name="connsiteY1" fmla="*/ 1980001 h 3549451"/>
              <a:gd name="connsiteX2" fmla="*/ 3240034 w 4615366"/>
              <a:gd name="connsiteY2" fmla="*/ 1336909 h 3549451"/>
              <a:gd name="connsiteX3" fmla="*/ 4615366 w 4615366"/>
              <a:gd name="connsiteY3" fmla="*/ 0 h 3549451"/>
              <a:gd name="connsiteX0" fmla="*/ 0 w 4615366"/>
              <a:gd name="connsiteY0" fmla="*/ 3549451 h 3549451"/>
              <a:gd name="connsiteX1" fmla="*/ 2067248 w 4615366"/>
              <a:gd name="connsiteY1" fmla="*/ 1980001 h 3549451"/>
              <a:gd name="connsiteX2" fmla="*/ 3300419 w 4615366"/>
              <a:gd name="connsiteY2" fmla="*/ 1302404 h 3549451"/>
              <a:gd name="connsiteX3" fmla="*/ 4615366 w 4615366"/>
              <a:gd name="connsiteY3" fmla="*/ 0 h 3549451"/>
              <a:gd name="connsiteX0" fmla="*/ 0 w 4615366"/>
              <a:gd name="connsiteY0" fmla="*/ 3549451 h 3549451"/>
              <a:gd name="connsiteX1" fmla="*/ 2110380 w 4615366"/>
              <a:gd name="connsiteY1" fmla="*/ 1910990 h 3549451"/>
              <a:gd name="connsiteX2" fmla="*/ 3300419 w 4615366"/>
              <a:gd name="connsiteY2" fmla="*/ 1302404 h 3549451"/>
              <a:gd name="connsiteX3" fmla="*/ 4615366 w 4615366"/>
              <a:gd name="connsiteY3" fmla="*/ 0 h 3549451"/>
              <a:gd name="connsiteX0" fmla="*/ 0 w 4598113"/>
              <a:gd name="connsiteY0" fmla="*/ 3558077 h 3558077"/>
              <a:gd name="connsiteX1" fmla="*/ 2110380 w 4598113"/>
              <a:gd name="connsiteY1" fmla="*/ 1919616 h 3558077"/>
              <a:gd name="connsiteX2" fmla="*/ 3300419 w 4598113"/>
              <a:gd name="connsiteY2" fmla="*/ 1311030 h 3558077"/>
              <a:gd name="connsiteX3" fmla="*/ 4598113 w 4598113"/>
              <a:gd name="connsiteY3" fmla="*/ 0 h 3558077"/>
              <a:gd name="connsiteX0" fmla="*/ 0 w 4598113"/>
              <a:gd name="connsiteY0" fmla="*/ 3558077 h 3558077"/>
              <a:gd name="connsiteX1" fmla="*/ 2110380 w 4598113"/>
              <a:gd name="connsiteY1" fmla="*/ 1919616 h 3558077"/>
              <a:gd name="connsiteX2" fmla="*/ 3300419 w 4598113"/>
              <a:gd name="connsiteY2" fmla="*/ 1311030 h 3558077"/>
              <a:gd name="connsiteX3" fmla="*/ 4598113 w 4598113"/>
              <a:gd name="connsiteY3" fmla="*/ 0 h 3558077"/>
              <a:gd name="connsiteX0" fmla="*/ 0 w 4598113"/>
              <a:gd name="connsiteY0" fmla="*/ 3558077 h 3558077"/>
              <a:gd name="connsiteX1" fmla="*/ 2110380 w 4598113"/>
              <a:gd name="connsiteY1" fmla="*/ 1919616 h 3558077"/>
              <a:gd name="connsiteX2" fmla="*/ 3300419 w 4598113"/>
              <a:gd name="connsiteY2" fmla="*/ 1311030 h 3558077"/>
              <a:gd name="connsiteX3" fmla="*/ 4598113 w 4598113"/>
              <a:gd name="connsiteY3" fmla="*/ 0 h 3558077"/>
              <a:gd name="connsiteX0" fmla="*/ 0 w 4598113"/>
              <a:gd name="connsiteY0" fmla="*/ 3558077 h 3558077"/>
              <a:gd name="connsiteX1" fmla="*/ 2110380 w 4598113"/>
              <a:gd name="connsiteY1" fmla="*/ 1919616 h 3558077"/>
              <a:gd name="connsiteX2" fmla="*/ 3300419 w 4598113"/>
              <a:gd name="connsiteY2" fmla="*/ 1311030 h 3558077"/>
              <a:gd name="connsiteX3" fmla="*/ 4598113 w 4598113"/>
              <a:gd name="connsiteY3" fmla="*/ 0 h 3558077"/>
              <a:gd name="connsiteX0" fmla="*/ 0 w 4598113"/>
              <a:gd name="connsiteY0" fmla="*/ 3558077 h 3558077"/>
              <a:gd name="connsiteX1" fmla="*/ 2110380 w 4598113"/>
              <a:gd name="connsiteY1" fmla="*/ 1919616 h 3558077"/>
              <a:gd name="connsiteX2" fmla="*/ 3300419 w 4598113"/>
              <a:gd name="connsiteY2" fmla="*/ 1311030 h 3558077"/>
              <a:gd name="connsiteX3" fmla="*/ 4598113 w 4598113"/>
              <a:gd name="connsiteY3" fmla="*/ 0 h 3558077"/>
              <a:gd name="connsiteX0" fmla="*/ 0 w 4598113"/>
              <a:gd name="connsiteY0" fmla="*/ 3558077 h 3558077"/>
              <a:gd name="connsiteX1" fmla="*/ 2110380 w 4598113"/>
              <a:gd name="connsiteY1" fmla="*/ 1919616 h 3558077"/>
              <a:gd name="connsiteX2" fmla="*/ 3300419 w 4598113"/>
              <a:gd name="connsiteY2" fmla="*/ 1311030 h 3558077"/>
              <a:gd name="connsiteX3" fmla="*/ 4598113 w 4598113"/>
              <a:gd name="connsiteY3" fmla="*/ 0 h 3558077"/>
              <a:gd name="connsiteX0" fmla="*/ 0 w 4598113"/>
              <a:gd name="connsiteY0" fmla="*/ 3558077 h 3558077"/>
              <a:gd name="connsiteX1" fmla="*/ 2110380 w 4598113"/>
              <a:gd name="connsiteY1" fmla="*/ 1919616 h 3558077"/>
              <a:gd name="connsiteX2" fmla="*/ 3300419 w 4598113"/>
              <a:gd name="connsiteY2" fmla="*/ 1311030 h 3558077"/>
              <a:gd name="connsiteX3" fmla="*/ 4598113 w 4598113"/>
              <a:gd name="connsiteY3" fmla="*/ 0 h 3558077"/>
              <a:gd name="connsiteX0" fmla="*/ 0 w 4598113"/>
              <a:gd name="connsiteY0" fmla="*/ 3558077 h 3558077"/>
              <a:gd name="connsiteX1" fmla="*/ 2110380 w 4598113"/>
              <a:gd name="connsiteY1" fmla="*/ 1919616 h 3558077"/>
              <a:gd name="connsiteX2" fmla="*/ 3317672 w 4598113"/>
              <a:gd name="connsiteY2" fmla="*/ 1345536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83166 w 4598113"/>
              <a:gd name="connsiteY2" fmla="*/ 1311031 h 3558077"/>
              <a:gd name="connsiteX3" fmla="*/ 4598113 w 4598113"/>
              <a:gd name="connsiteY3" fmla="*/ 0 h 3558077"/>
              <a:gd name="connsiteX0" fmla="*/ 0 w 4598113"/>
              <a:gd name="connsiteY0" fmla="*/ 3558077 h 3558077"/>
              <a:gd name="connsiteX1" fmla="*/ 2110380 w 4598113"/>
              <a:gd name="connsiteY1" fmla="*/ 1919616 h 3558077"/>
              <a:gd name="connsiteX2" fmla="*/ 3257287 w 4598113"/>
              <a:gd name="connsiteY2" fmla="*/ 1267899 h 3558077"/>
              <a:gd name="connsiteX3" fmla="*/ 4598113 w 4598113"/>
              <a:gd name="connsiteY3" fmla="*/ 0 h 3558077"/>
              <a:gd name="connsiteX0" fmla="*/ 0 w 4598113"/>
              <a:gd name="connsiteY0" fmla="*/ 3558077 h 3558077"/>
              <a:gd name="connsiteX1" fmla="*/ 2110380 w 4598113"/>
              <a:gd name="connsiteY1" fmla="*/ 1919616 h 3558077"/>
              <a:gd name="connsiteX2" fmla="*/ 3257287 w 4598113"/>
              <a:gd name="connsiteY2" fmla="*/ 1267899 h 3558077"/>
              <a:gd name="connsiteX3" fmla="*/ 4598113 w 4598113"/>
              <a:gd name="connsiteY3" fmla="*/ 0 h 3558077"/>
              <a:gd name="connsiteX0" fmla="*/ 0 w 4598113"/>
              <a:gd name="connsiteY0" fmla="*/ 3558077 h 3558077"/>
              <a:gd name="connsiteX1" fmla="*/ 2110380 w 4598113"/>
              <a:gd name="connsiteY1" fmla="*/ 1919616 h 3558077"/>
              <a:gd name="connsiteX2" fmla="*/ 3257287 w 4598113"/>
              <a:gd name="connsiteY2" fmla="*/ 1267899 h 3558077"/>
              <a:gd name="connsiteX3" fmla="*/ 4598113 w 4598113"/>
              <a:gd name="connsiteY3" fmla="*/ 0 h 3558077"/>
              <a:gd name="connsiteX0" fmla="*/ 0 w 4598113"/>
              <a:gd name="connsiteY0" fmla="*/ 3558077 h 3558077"/>
              <a:gd name="connsiteX1" fmla="*/ 2110380 w 4598113"/>
              <a:gd name="connsiteY1" fmla="*/ 1919616 h 3558077"/>
              <a:gd name="connsiteX2" fmla="*/ 3257287 w 4598113"/>
              <a:gd name="connsiteY2" fmla="*/ 1267899 h 3558077"/>
              <a:gd name="connsiteX3" fmla="*/ 4598113 w 4598113"/>
              <a:gd name="connsiteY3" fmla="*/ 0 h 3558077"/>
              <a:gd name="connsiteX0" fmla="*/ 0 w 4598113"/>
              <a:gd name="connsiteY0" fmla="*/ 3558077 h 3558077"/>
              <a:gd name="connsiteX1" fmla="*/ 2110380 w 4598113"/>
              <a:gd name="connsiteY1" fmla="*/ 1919616 h 3558077"/>
              <a:gd name="connsiteX2" fmla="*/ 3257287 w 4598113"/>
              <a:gd name="connsiteY2" fmla="*/ 1267899 h 3558077"/>
              <a:gd name="connsiteX3" fmla="*/ 4598113 w 4598113"/>
              <a:gd name="connsiteY3" fmla="*/ 0 h 3558077"/>
              <a:gd name="connsiteX0" fmla="*/ 0 w 4598113"/>
              <a:gd name="connsiteY0" fmla="*/ 3558077 h 3558376"/>
              <a:gd name="connsiteX1" fmla="*/ 2110380 w 4598113"/>
              <a:gd name="connsiteY1" fmla="*/ 1919616 h 3558376"/>
              <a:gd name="connsiteX2" fmla="*/ 3257287 w 4598113"/>
              <a:gd name="connsiteY2" fmla="*/ 1267899 h 3558376"/>
              <a:gd name="connsiteX3" fmla="*/ 4598113 w 4598113"/>
              <a:gd name="connsiteY3" fmla="*/ 0 h 3558376"/>
              <a:gd name="connsiteX0" fmla="*/ 0 w 4598113"/>
              <a:gd name="connsiteY0" fmla="*/ 3558077 h 3558077"/>
              <a:gd name="connsiteX1" fmla="*/ 2110380 w 4598113"/>
              <a:gd name="connsiteY1" fmla="*/ 1919616 h 3558077"/>
              <a:gd name="connsiteX2" fmla="*/ 3257287 w 4598113"/>
              <a:gd name="connsiteY2" fmla="*/ 1267899 h 3558077"/>
              <a:gd name="connsiteX3" fmla="*/ 4598113 w 4598113"/>
              <a:gd name="connsiteY3" fmla="*/ 0 h 3558077"/>
              <a:gd name="connsiteX0" fmla="*/ 0 w 4598113"/>
              <a:gd name="connsiteY0" fmla="*/ 3558077 h 3558077"/>
              <a:gd name="connsiteX1" fmla="*/ 2110380 w 4598113"/>
              <a:gd name="connsiteY1" fmla="*/ 1919616 h 3558077"/>
              <a:gd name="connsiteX2" fmla="*/ 3257287 w 4598113"/>
              <a:gd name="connsiteY2" fmla="*/ 1267899 h 3558077"/>
              <a:gd name="connsiteX3" fmla="*/ 4598113 w 4598113"/>
              <a:gd name="connsiteY3" fmla="*/ 0 h 3558077"/>
              <a:gd name="connsiteX0" fmla="*/ 0 w 4598113"/>
              <a:gd name="connsiteY0" fmla="*/ 3558077 h 3558077"/>
              <a:gd name="connsiteX1" fmla="*/ 2110380 w 4598113"/>
              <a:gd name="connsiteY1" fmla="*/ 1919616 h 3558077"/>
              <a:gd name="connsiteX2" fmla="*/ 3257287 w 4598113"/>
              <a:gd name="connsiteY2" fmla="*/ 1267899 h 3558077"/>
              <a:gd name="connsiteX3" fmla="*/ 4598113 w 4598113"/>
              <a:gd name="connsiteY3" fmla="*/ 0 h 3558077"/>
              <a:gd name="connsiteX0" fmla="*/ 0 w 4598113"/>
              <a:gd name="connsiteY0" fmla="*/ 3558077 h 3558077"/>
              <a:gd name="connsiteX1" fmla="*/ 2110380 w 4598113"/>
              <a:gd name="connsiteY1" fmla="*/ 1919616 h 3558077"/>
              <a:gd name="connsiteX2" fmla="*/ 3257287 w 4598113"/>
              <a:gd name="connsiteY2" fmla="*/ 1267899 h 3558077"/>
              <a:gd name="connsiteX3" fmla="*/ 4598113 w 4598113"/>
              <a:gd name="connsiteY3" fmla="*/ 0 h 3558077"/>
              <a:gd name="connsiteX0" fmla="*/ 0 w 4598113"/>
              <a:gd name="connsiteY0" fmla="*/ 3558077 h 3558077"/>
              <a:gd name="connsiteX1" fmla="*/ 2110380 w 4598113"/>
              <a:gd name="connsiteY1" fmla="*/ 1919616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01753 w 4598113"/>
              <a:gd name="connsiteY1" fmla="*/ 1893737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598113"/>
              <a:gd name="connsiteY0" fmla="*/ 3558077 h 3558077"/>
              <a:gd name="connsiteX1" fmla="*/ 2136259 w 4598113"/>
              <a:gd name="connsiteY1" fmla="*/ 1910990 h 3558077"/>
              <a:gd name="connsiteX2" fmla="*/ 3257287 w 4598113"/>
              <a:gd name="connsiteY2" fmla="*/ 1267899 h 3558077"/>
              <a:gd name="connsiteX3" fmla="*/ 4598113 w 4598113"/>
              <a:gd name="connsiteY3" fmla="*/ 0 h 3558077"/>
              <a:gd name="connsiteX0" fmla="*/ 0 w 4615366"/>
              <a:gd name="connsiteY0" fmla="*/ 3601209 h 3601209"/>
              <a:gd name="connsiteX1" fmla="*/ 2136259 w 4615366"/>
              <a:gd name="connsiteY1" fmla="*/ 1954122 h 3601209"/>
              <a:gd name="connsiteX2" fmla="*/ 3257287 w 4615366"/>
              <a:gd name="connsiteY2" fmla="*/ 1311031 h 3601209"/>
              <a:gd name="connsiteX3" fmla="*/ 4615366 w 4615366"/>
              <a:gd name="connsiteY3" fmla="*/ 0 h 3601209"/>
              <a:gd name="connsiteX0" fmla="*/ 0 w 4615366"/>
              <a:gd name="connsiteY0" fmla="*/ 3601209 h 3601209"/>
              <a:gd name="connsiteX1" fmla="*/ 2136259 w 4615366"/>
              <a:gd name="connsiteY1" fmla="*/ 1954122 h 3601209"/>
              <a:gd name="connsiteX2" fmla="*/ 3257287 w 4615366"/>
              <a:gd name="connsiteY2" fmla="*/ 1311031 h 3601209"/>
              <a:gd name="connsiteX3" fmla="*/ 4615366 w 4615366"/>
              <a:gd name="connsiteY3" fmla="*/ 0 h 3601209"/>
              <a:gd name="connsiteX0" fmla="*/ 0 w 4615366"/>
              <a:gd name="connsiteY0" fmla="*/ 3601209 h 3601209"/>
              <a:gd name="connsiteX1" fmla="*/ 2136259 w 4615366"/>
              <a:gd name="connsiteY1" fmla="*/ 1954122 h 3601209"/>
              <a:gd name="connsiteX2" fmla="*/ 3257287 w 4615366"/>
              <a:gd name="connsiteY2" fmla="*/ 1311031 h 3601209"/>
              <a:gd name="connsiteX3" fmla="*/ 4615366 w 4615366"/>
              <a:gd name="connsiteY3" fmla="*/ 0 h 3601209"/>
              <a:gd name="connsiteX0" fmla="*/ 0 w 4615366"/>
              <a:gd name="connsiteY0" fmla="*/ 3601209 h 3601209"/>
              <a:gd name="connsiteX1" fmla="*/ 2136259 w 4615366"/>
              <a:gd name="connsiteY1" fmla="*/ 1954122 h 3601209"/>
              <a:gd name="connsiteX2" fmla="*/ 3257287 w 4615366"/>
              <a:gd name="connsiteY2" fmla="*/ 1311031 h 3601209"/>
              <a:gd name="connsiteX3" fmla="*/ 4615366 w 4615366"/>
              <a:gd name="connsiteY3" fmla="*/ 0 h 3601209"/>
              <a:gd name="connsiteX0" fmla="*/ 0 w 4615366"/>
              <a:gd name="connsiteY0" fmla="*/ 3601209 h 3601209"/>
              <a:gd name="connsiteX1" fmla="*/ 2136259 w 4615366"/>
              <a:gd name="connsiteY1" fmla="*/ 1954122 h 3601209"/>
              <a:gd name="connsiteX2" fmla="*/ 3257287 w 4615366"/>
              <a:gd name="connsiteY2" fmla="*/ 1311031 h 3601209"/>
              <a:gd name="connsiteX3" fmla="*/ 4615366 w 4615366"/>
              <a:gd name="connsiteY3" fmla="*/ 0 h 3601209"/>
              <a:gd name="connsiteX0" fmla="*/ 0 w 4615366"/>
              <a:gd name="connsiteY0" fmla="*/ 3601209 h 3601209"/>
              <a:gd name="connsiteX1" fmla="*/ 2136259 w 4615366"/>
              <a:gd name="connsiteY1" fmla="*/ 1954122 h 3601209"/>
              <a:gd name="connsiteX2" fmla="*/ 3257287 w 4615366"/>
              <a:gd name="connsiteY2" fmla="*/ 1311031 h 3601209"/>
              <a:gd name="connsiteX3" fmla="*/ 4615366 w 4615366"/>
              <a:gd name="connsiteY3" fmla="*/ 0 h 3601209"/>
              <a:gd name="connsiteX0" fmla="*/ 0 w 4615366"/>
              <a:gd name="connsiteY0" fmla="*/ 3601209 h 3601209"/>
              <a:gd name="connsiteX1" fmla="*/ 2136259 w 4615366"/>
              <a:gd name="connsiteY1" fmla="*/ 1954122 h 3601209"/>
              <a:gd name="connsiteX2" fmla="*/ 3257287 w 4615366"/>
              <a:gd name="connsiteY2" fmla="*/ 1311031 h 3601209"/>
              <a:gd name="connsiteX3" fmla="*/ 4615366 w 4615366"/>
              <a:gd name="connsiteY3" fmla="*/ 0 h 3601209"/>
              <a:gd name="connsiteX0" fmla="*/ 0 w 4615366"/>
              <a:gd name="connsiteY0" fmla="*/ 3601209 h 3601209"/>
              <a:gd name="connsiteX1" fmla="*/ 2136259 w 4615366"/>
              <a:gd name="connsiteY1" fmla="*/ 1954122 h 3601209"/>
              <a:gd name="connsiteX2" fmla="*/ 3257287 w 4615366"/>
              <a:gd name="connsiteY2" fmla="*/ 1311031 h 3601209"/>
              <a:gd name="connsiteX3" fmla="*/ 4615366 w 4615366"/>
              <a:gd name="connsiteY3" fmla="*/ 0 h 3601209"/>
              <a:gd name="connsiteX0" fmla="*/ 0 w 4598113"/>
              <a:gd name="connsiteY0" fmla="*/ 3558077 h 3558077"/>
              <a:gd name="connsiteX1" fmla="*/ 2119006 w 4598113"/>
              <a:gd name="connsiteY1" fmla="*/ 1954122 h 3558077"/>
              <a:gd name="connsiteX2" fmla="*/ 3240034 w 4598113"/>
              <a:gd name="connsiteY2" fmla="*/ 1311031 h 3558077"/>
              <a:gd name="connsiteX3" fmla="*/ 4598113 w 4598113"/>
              <a:gd name="connsiteY3" fmla="*/ 0 h 3558077"/>
              <a:gd name="connsiteX0" fmla="*/ 0 w 4598113"/>
              <a:gd name="connsiteY0" fmla="*/ 3583956 h 3583956"/>
              <a:gd name="connsiteX1" fmla="*/ 2119006 w 4598113"/>
              <a:gd name="connsiteY1" fmla="*/ 1954122 h 3583956"/>
              <a:gd name="connsiteX2" fmla="*/ 3240034 w 4598113"/>
              <a:gd name="connsiteY2" fmla="*/ 1311031 h 3583956"/>
              <a:gd name="connsiteX3" fmla="*/ 4598113 w 4598113"/>
              <a:gd name="connsiteY3" fmla="*/ 0 h 3583956"/>
              <a:gd name="connsiteX0" fmla="*/ 0 w 4621926"/>
              <a:gd name="connsiteY0" fmla="*/ 3567288 h 3567288"/>
              <a:gd name="connsiteX1" fmla="*/ 2142819 w 4621926"/>
              <a:gd name="connsiteY1" fmla="*/ 1954122 h 3567288"/>
              <a:gd name="connsiteX2" fmla="*/ 3263847 w 4621926"/>
              <a:gd name="connsiteY2" fmla="*/ 1311031 h 3567288"/>
              <a:gd name="connsiteX3" fmla="*/ 4621926 w 4621926"/>
              <a:gd name="connsiteY3" fmla="*/ 0 h 3567288"/>
              <a:gd name="connsiteX0" fmla="*/ 0 w 4621926"/>
              <a:gd name="connsiteY0" fmla="*/ 3567288 h 3567288"/>
              <a:gd name="connsiteX1" fmla="*/ 2142819 w 4621926"/>
              <a:gd name="connsiteY1" fmla="*/ 1954122 h 3567288"/>
              <a:gd name="connsiteX2" fmla="*/ 3263847 w 4621926"/>
              <a:gd name="connsiteY2" fmla="*/ 1311031 h 3567288"/>
              <a:gd name="connsiteX3" fmla="*/ 4621926 w 4621926"/>
              <a:gd name="connsiteY3" fmla="*/ 0 h 3567288"/>
            </a:gdLst>
            <a:ahLst/>
            <a:cxnLst>
              <a:cxn ang="0">
                <a:pos x="connsiteX0" y="connsiteY0"/>
              </a:cxn>
              <a:cxn ang="0">
                <a:pos x="connsiteX1" y="connsiteY1"/>
              </a:cxn>
              <a:cxn ang="0">
                <a:pos x="connsiteX2" y="connsiteY2"/>
              </a:cxn>
              <a:cxn ang="0">
                <a:pos x="connsiteX3" y="connsiteY3"/>
              </a:cxn>
            </a:cxnLst>
            <a:rect l="l" t="t" r="r" b="b"/>
            <a:pathLst>
              <a:path w="4621926" h="3567288">
                <a:moveTo>
                  <a:pt x="0" y="3567288"/>
                </a:moveTo>
                <a:cubicBezTo>
                  <a:pt x="1744256" y="3451906"/>
                  <a:pt x="1348305" y="2652677"/>
                  <a:pt x="2142819" y="1954122"/>
                </a:cubicBezTo>
                <a:cubicBezTo>
                  <a:pt x="2646797" y="1511013"/>
                  <a:pt x="2899545" y="1592149"/>
                  <a:pt x="3263847" y="1311031"/>
                </a:cubicBezTo>
                <a:cubicBezTo>
                  <a:pt x="3628149" y="1029913"/>
                  <a:pt x="3683901" y="278891"/>
                  <a:pt x="4621926" y="0"/>
                </a:cubicBezTo>
              </a:path>
            </a:pathLst>
          </a:custGeom>
          <a:noFill/>
          <a:ln w="31750" cap="rnd" cmpd="sng" algn="ctr">
            <a:solidFill>
              <a:srgbClr val="0043DA">
                <a:alpha val="88000"/>
              </a:srgbClr>
            </a:solidFill>
            <a:prstDash val="solid"/>
            <a:round/>
            <a:headEnd type="none" w="med" len="med"/>
            <a:tailEnd type="none" w="med" len="med"/>
          </a:ln>
          <a:effectLst>
            <a:glow rad="76200">
              <a:srgbClr val="0043DA">
                <a:alpha val="24000"/>
              </a:srgbClr>
            </a:glow>
          </a:effectLst>
        </p:spPr>
        <p:txBody>
          <a:bodyPr rtlCol="0" anchor="ctr"/>
          <a:lstStyle/>
          <a:p>
            <a:pPr marL="0" marR="0" lvl="0" indent="0" algn="ctr" defTabSz="844083" rtl="0" eaLnBrk="1" fontAlgn="base" latinLnBrk="0" hangingPunct="1">
              <a:lnSpc>
                <a:spcPct val="100000"/>
              </a:lnSpc>
              <a:spcBef>
                <a:spcPct val="0"/>
              </a:spcBef>
              <a:spcAft>
                <a:spcPct val="0"/>
              </a:spcAft>
              <a:buClrTx/>
              <a:buSzTx/>
              <a:buFontTx/>
              <a:buNone/>
              <a:tabLst/>
              <a:defRPr/>
            </a:pPr>
            <a:endParaRPr kumimoji="0" lang="de-DE" sz="1038" b="0" i="0" u="none" strike="noStrike" kern="1200" cap="none" spc="0" normalizeH="0" baseline="0" noProof="0" dirty="0">
              <a:ln>
                <a:noFill/>
              </a:ln>
              <a:solidFill>
                <a:srgbClr val="000000"/>
              </a:solidFill>
              <a:effectLst/>
              <a:uLnTx/>
              <a:uFillTx/>
              <a:latin typeface="Arial"/>
              <a:ea typeface="+mn-ea"/>
              <a:cs typeface="Arial" charset="0"/>
            </a:endParaRPr>
          </a:p>
        </p:txBody>
      </p:sp>
      <p:pic>
        <p:nvPicPr>
          <p:cNvPr id="30" name="Grafik 14"/>
          <p:cNvPicPr>
            <a:picLocks/>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a:xfrm>
            <a:off x="5743184" y="2182158"/>
            <a:ext cx="751391" cy="705912"/>
          </a:xfrm>
          <a:prstGeom prst="rect">
            <a:avLst/>
          </a:prstGeom>
        </p:spPr>
      </p:pic>
      <p:sp>
        <p:nvSpPr>
          <p:cNvPr id="40" name="Textfeld 54"/>
          <p:cNvSpPr txBox="1">
            <a:spLocks noChangeArrowheads="1"/>
          </p:cNvSpPr>
          <p:nvPr/>
        </p:nvSpPr>
        <p:spPr bwMode="auto">
          <a:xfrm>
            <a:off x="5787319" y="3511205"/>
            <a:ext cx="1538095" cy="383173"/>
          </a:xfrm>
          <a:prstGeom prst="rect">
            <a:avLst/>
          </a:prstGeom>
          <a:noFill/>
          <a:ln w="9525">
            <a:noFill/>
            <a:miter lim="800000"/>
            <a:headEnd/>
            <a:tailEnd/>
          </a:ln>
        </p:spPr>
        <p:txBody>
          <a:bodyPr wrap="none" lIns="63110" tIns="31555" rIns="63110" bIns="31555">
            <a:spAutoFit/>
          </a:bodyPr>
          <a:lstStyle>
            <a:defPPr>
              <a:defRPr lang="de-DE"/>
            </a:defPPr>
            <a:lvl1pPr>
              <a:spcAft>
                <a:spcPct val="0"/>
              </a:spcAft>
              <a:defRPr sz="1500">
                <a:solidFill>
                  <a:srgbClr val="E20000"/>
                </a:solidFill>
              </a:defRPr>
            </a:lvl1pP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0" lang="de-DE" sz="1038" b="0" i="0" u="none" strike="noStrike" kern="1200" cap="none" spc="0" normalizeH="0" baseline="0" noProof="0" dirty="0">
                <a:ln>
                  <a:noFill/>
                </a:ln>
                <a:solidFill>
                  <a:srgbClr val="E20000"/>
                </a:solidFill>
                <a:effectLst/>
                <a:uLnTx/>
                <a:uFillTx/>
                <a:latin typeface="Arial"/>
                <a:ea typeface="+mn-ea"/>
                <a:cs typeface="Arial" charset="0"/>
              </a:rPr>
              <a:t>Grundlagen der </a:t>
            </a:r>
          </a:p>
          <a:p>
            <a:pPr marL="0" marR="0" lvl="0" indent="0" algn="l" defTabSz="844083" rtl="0" eaLnBrk="1" fontAlgn="base" latinLnBrk="0" hangingPunct="1">
              <a:lnSpc>
                <a:spcPct val="100000"/>
              </a:lnSpc>
              <a:spcBef>
                <a:spcPct val="0"/>
              </a:spcBef>
              <a:spcAft>
                <a:spcPct val="0"/>
              </a:spcAft>
              <a:buClrTx/>
              <a:buSzTx/>
              <a:buFontTx/>
              <a:buNone/>
              <a:tabLst/>
              <a:defRPr/>
            </a:pPr>
            <a:r>
              <a:rPr kumimoji="0" lang="de-DE" sz="1038" b="0" i="0" u="none" strike="noStrike" kern="1200" cap="none" spc="0" normalizeH="0" baseline="0" noProof="0" dirty="0">
                <a:ln>
                  <a:noFill/>
                </a:ln>
                <a:solidFill>
                  <a:srgbClr val="E20000"/>
                </a:solidFill>
                <a:effectLst/>
                <a:uLnTx/>
                <a:uFillTx/>
                <a:latin typeface="Arial"/>
                <a:ea typeface="+mn-ea"/>
                <a:cs typeface="Arial" charset="0"/>
              </a:rPr>
              <a:t>gegenwärtigen Existenz</a:t>
            </a:r>
          </a:p>
        </p:txBody>
      </p:sp>
      <p:grpSp>
        <p:nvGrpSpPr>
          <p:cNvPr id="2" name="Gruppieren 1"/>
          <p:cNvGrpSpPr/>
          <p:nvPr/>
        </p:nvGrpSpPr>
        <p:grpSpPr>
          <a:xfrm>
            <a:off x="4291985" y="2295666"/>
            <a:ext cx="1678873" cy="1581924"/>
            <a:chOff x="4057310" y="1584371"/>
            <a:chExt cx="2425038" cy="2285001"/>
          </a:xfrm>
        </p:grpSpPr>
        <p:sp>
          <p:nvSpPr>
            <p:cNvPr id="41" name="Textfeld 53"/>
            <p:cNvSpPr txBox="1">
              <a:spLocks noChangeArrowheads="1"/>
            </p:cNvSpPr>
            <p:nvPr/>
          </p:nvSpPr>
          <p:spPr bwMode="auto">
            <a:xfrm rot="19481751">
              <a:off x="4057310" y="2601518"/>
              <a:ext cx="1126054" cy="639084"/>
            </a:xfrm>
            <a:prstGeom prst="rect">
              <a:avLst/>
            </a:prstGeom>
            <a:noFill/>
            <a:ln w="9525">
              <a:noFill/>
              <a:miter lim="800000"/>
              <a:headEnd/>
              <a:tailEnd/>
            </a:ln>
          </p:spPr>
          <p:txBody>
            <a:bodyPr spcFirstLastPara="1" wrap="square" lIns="63110" tIns="31555" rIns="63110" bIns="31555" numCol="1">
              <a:prstTxWarp prst="textArchDown">
                <a:avLst/>
              </a:prstTxWarp>
              <a:sp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0" lang="de-DE" sz="969" b="0" i="0" u="none" strike="noStrike" kern="1200" cap="none" spc="0" normalizeH="0" baseline="0" noProof="0" dirty="0">
                  <a:ln>
                    <a:noFill/>
                  </a:ln>
                  <a:solidFill>
                    <a:srgbClr val="0043DA"/>
                  </a:solidFill>
                  <a:effectLst/>
                  <a:uLnTx/>
                  <a:uFillTx/>
                  <a:latin typeface="Arial"/>
                  <a:ea typeface="+mn-ea"/>
                  <a:cs typeface="Arial" charset="0"/>
                </a:rPr>
                <a:t>Optimaler</a:t>
              </a:r>
            </a:p>
          </p:txBody>
        </p:sp>
        <p:sp>
          <p:nvSpPr>
            <p:cNvPr id="43" name="Textfeld 53"/>
            <p:cNvSpPr txBox="1">
              <a:spLocks noChangeArrowheads="1"/>
            </p:cNvSpPr>
            <p:nvPr/>
          </p:nvSpPr>
          <p:spPr bwMode="auto">
            <a:xfrm rot="18840000">
              <a:off x="4743781" y="2130806"/>
              <a:ext cx="2285001" cy="1192132"/>
            </a:xfrm>
            <a:prstGeom prst="rect">
              <a:avLst/>
            </a:prstGeom>
            <a:noFill/>
            <a:ln w="9525">
              <a:noFill/>
              <a:miter lim="800000"/>
              <a:headEnd/>
              <a:tailEnd/>
            </a:ln>
          </p:spPr>
          <p:txBody>
            <a:bodyPr spcFirstLastPara="1" wrap="square" lIns="63110" tIns="31555" rIns="63110" bIns="31555" numCol="1">
              <a:prstTxWarp prst="textArchUp">
                <a:avLst/>
              </a:prstTxWarp>
              <a:sp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0" lang="de-DE" sz="969" b="0" i="0" u="none" strike="noStrike" kern="1200" cap="none" spc="0" normalizeH="0" baseline="0" noProof="0" dirty="0">
                  <a:ln>
                    <a:noFill/>
                  </a:ln>
                  <a:solidFill>
                    <a:srgbClr val="0043DA"/>
                  </a:solidFill>
                  <a:effectLst/>
                  <a:uLnTx/>
                  <a:uFillTx/>
                  <a:latin typeface="Arial"/>
                  <a:ea typeface="+mn-ea"/>
                  <a:cs typeface="Arial" charset="0"/>
                </a:rPr>
                <a:t>Entwicklungspfad</a:t>
              </a:r>
            </a:p>
          </p:txBody>
        </p:sp>
      </p:grpSp>
      <p:sp>
        <p:nvSpPr>
          <p:cNvPr id="51" name="Kritische Entscheidungszone"/>
          <p:cNvSpPr txBox="1">
            <a:spLocks noChangeArrowheads="1"/>
          </p:cNvSpPr>
          <p:nvPr/>
        </p:nvSpPr>
        <p:spPr bwMode="auto">
          <a:xfrm>
            <a:off x="4628049" y="4313942"/>
            <a:ext cx="2523943" cy="575213"/>
          </a:xfrm>
          <a:prstGeom prst="rect">
            <a:avLst/>
          </a:prstGeom>
          <a:noFill/>
          <a:ln w="9525">
            <a:noFill/>
            <a:miter lim="800000"/>
            <a:headEnd/>
            <a:tailEnd/>
          </a:ln>
        </p:spPr>
        <p:txBody>
          <a:bodyPr wrap="none" lIns="63110" tIns="31555" rIns="63110" bIns="31555">
            <a:spAutoFit/>
          </a:bodyPr>
          <a:lstStyle>
            <a:defPPr>
              <a:defRPr lang="de-DE"/>
            </a:defPPr>
            <a:lvl1pPr>
              <a:spcAft>
                <a:spcPct val="0"/>
              </a:spcAft>
              <a:defRPr sz="1500">
                <a:solidFill>
                  <a:srgbClr val="E20000"/>
                </a:solidFill>
              </a:defRPr>
            </a:lvl1pP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0" lang="de-DE" sz="1108" b="1" i="0" u="none" strike="noStrike" kern="1200" cap="none" spc="0" normalizeH="0" baseline="0" noProof="0" dirty="0">
                <a:ln>
                  <a:noFill/>
                </a:ln>
                <a:solidFill>
                  <a:srgbClr val="E62614"/>
                </a:solidFill>
                <a:effectLst/>
                <a:uLnTx/>
                <a:uFillTx/>
                <a:latin typeface="Arial"/>
                <a:ea typeface="+mn-ea"/>
                <a:cs typeface="Arial" charset="0"/>
              </a:rPr>
              <a:t>Kritische</a:t>
            </a:r>
            <a:r>
              <a:rPr kumimoji="0" lang="de-DE" sz="1108" b="1" i="0" u="none" strike="noStrike" kern="1200" cap="none" spc="0" normalizeH="0" baseline="0" noProof="0" dirty="0">
                <a:ln>
                  <a:noFill/>
                </a:ln>
                <a:gradFill flip="none" rotWithShape="1">
                  <a:gsLst>
                    <a:gs pos="0">
                      <a:srgbClr val="4AD378"/>
                    </a:gs>
                    <a:gs pos="50000">
                      <a:srgbClr val="CED6BD"/>
                    </a:gs>
                    <a:gs pos="100000">
                      <a:srgbClr val="E62614"/>
                    </a:gs>
                  </a:gsLst>
                  <a:lin ang="2700000" scaled="1"/>
                  <a:tileRect/>
                </a:gradFill>
                <a:effectLst/>
                <a:uLnTx/>
                <a:uFillTx/>
                <a:latin typeface="Arial"/>
                <a:ea typeface="+mn-ea"/>
                <a:cs typeface="Arial" charset="0"/>
              </a:rPr>
              <a:t> </a:t>
            </a:r>
            <a:r>
              <a:rPr kumimoji="0" lang="de-DE" sz="1108" b="1" i="0" u="none" strike="noStrike" kern="1200" cap="none" spc="0" normalizeH="0" baseline="0" noProof="0" dirty="0">
                <a:ln>
                  <a:noFill/>
                </a:ln>
                <a:gradFill flip="none" rotWithShape="1">
                  <a:gsLst>
                    <a:gs pos="22574">
                      <a:srgbClr val="628157"/>
                    </a:gs>
                    <a:gs pos="5000">
                      <a:srgbClr val="00B050"/>
                    </a:gs>
                    <a:gs pos="34000">
                      <a:srgbClr val="A2625C"/>
                    </a:gs>
                    <a:gs pos="44000">
                      <a:srgbClr val="FF0000"/>
                    </a:gs>
                  </a:gsLst>
                  <a:lin ang="14400000" scaled="0"/>
                  <a:tileRect/>
                </a:gradFill>
                <a:effectLst/>
                <a:uLnTx/>
                <a:uFillTx/>
                <a:latin typeface="Arial"/>
                <a:ea typeface="+mn-ea"/>
                <a:cs typeface="Arial" charset="0"/>
              </a:rPr>
              <a:t>Entscheidungszone</a:t>
            </a:r>
            <a:r>
              <a:rPr kumimoji="0" lang="de-DE" sz="1108" b="1" i="0" u="none" strike="noStrike" kern="1200" cap="none" spc="0" normalizeH="0" baseline="0" noProof="0" dirty="0">
                <a:ln>
                  <a:noFill/>
                </a:ln>
                <a:gradFill flip="none" rotWithShape="1">
                  <a:gsLst>
                    <a:gs pos="0">
                      <a:srgbClr val="4AD378"/>
                    </a:gs>
                    <a:gs pos="50000">
                      <a:srgbClr val="CED6BD"/>
                    </a:gs>
                    <a:gs pos="100000">
                      <a:srgbClr val="E62614"/>
                    </a:gs>
                  </a:gsLst>
                  <a:lin ang="2700000" scaled="1"/>
                  <a:tileRect/>
                </a:gradFill>
                <a:effectLst/>
                <a:uLnTx/>
                <a:uFillTx/>
                <a:latin typeface="Arial"/>
                <a:ea typeface="+mn-ea"/>
                <a:cs typeface="Arial" charset="0"/>
              </a:rPr>
              <a:t/>
            </a:r>
            <a:br>
              <a:rPr kumimoji="0" lang="de-DE" sz="1108" b="1" i="0" u="none" strike="noStrike" kern="1200" cap="none" spc="0" normalizeH="0" baseline="0" noProof="0" dirty="0">
                <a:ln>
                  <a:noFill/>
                </a:ln>
                <a:gradFill flip="none" rotWithShape="1">
                  <a:gsLst>
                    <a:gs pos="0">
                      <a:srgbClr val="4AD378"/>
                    </a:gs>
                    <a:gs pos="50000">
                      <a:srgbClr val="CED6BD"/>
                    </a:gs>
                    <a:gs pos="100000">
                      <a:srgbClr val="E62614"/>
                    </a:gs>
                  </a:gsLst>
                  <a:lin ang="2700000" scaled="1"/>
                  <a:tileRect/>
                </a:gradFill>
                <a:effectLst/>
                <a:uLnTx/>
                <a:uFillTx/>
                <a:latin typeface="Arial"/>
                <a:ea typeface="+mn-ea"/>
                <a:cs typeface="Arial" charset="0"/>
              </a:rPr>
            </a:br>
            <a:r>
              <a:rPr kumimoji="0" lang="de-DE" sz="1108" b="1" i="0" u="none" strike="noStrike" kern="1200" cap="none" spc="0" normalizeH="0" baseline="0" noProof="0" dirty="0">
                <a:ln>
                  <a:noFill/>
                </a:ln>
                <a:gradFill flip="none" rotWithShape="1">
                  <a:gsLst>
                    <a:gs pos="45000">
                      <a:srgbClr val="15935A"/>
                    </a:gs>
                    <a:gs pos="58000">
                      <a:srgbClr val="A2625C"/>
                    </a:gs>
                    <a:gs pos="76000">
                      <a:srgbClr val="E62614"/>
                    </a:gs>
                  </a:gsLst>
                  <a:lin ang="14400000" scaled="0"/>
                  <a:tileRect/>
                </a:gradFill>
                <a:effectLst/>
                <a:uLnTx/>
                <a:uFillTx/>
                <a:latin typeface="Arial"/>
                <a:ea typeface="+mn-ea"/>
                <a:cs typeface="Arial" charset="0"/>
              </a:rPr>
              <a:t>Verlagerung</a:t>
            </a:r>
            <a:r>
              <a:rPr kumimoji="0" lang="de-DE" sz="1108" b="1" i="0" u="none" strike="noStrike" kern="1200" cap="none" spc="0" normalizeH="0" baseline="0" noProof="0" dirty="0">
                <a:ln>
                  <a:noFill/>
                </a:ln>
                <a:gradFill flip="none" rotWithShape="1">
                  <a:gsLst>
                    <a:gs pos="0">
                      <a:srgbClr val="4AD378"/>
                    </a:gs>
                    <a:gs pos="50000">
                      <a:srgbClr val="CED6BD"/>
                    </a:gs>
                    <a:gs pos="100000">
                      <a:srgbClr val="E62614"/>
                    </a:gs>
                  </a:gsLst>
                  <a:lin ang="2700000" scaled="1"/>
                  <a:tileRect/>
                </a:gradFill>
                <a:effectLst/>
                <a:uLnTx/>
                <a:uFillTx/>
                <a:latin typeface="Arial"/>
                <a:ea typeface="+mn-ea"/>
                <a:cs typeface="Arial" charset="0"/>
              </a:rPr>
              <a:t> </a:t>
            </a:r>
            <a:r>
              <a:rPr kumimoji="0" lang="de-DE" sz="1108" b="1" i="0" u="none" strike="noStrike" kern="1200" cap="none" spc="0" normalizeH="0" baseline="0" noProof="0" dirty="0">
                <a:ln>
                  <a:noFill/>
                </a:ln>
                <a:gradFill flip="none" rotWithShape="1">
                  <a:gsLst>
                    <a:gs pos="37000">
                      <a:srgbClr val="15935A"/>
                    </a:gs>
                    <a:gs pos="52000">
                      <a:srgbClr val="A2625C"/>
                    </a:gs>
                    <a:gs pos="59000">
                      <a:srgbClr val="E62614"/>
                    </a:gs>
                  </a:gsLst>
                  <a:lin ang="14400000" scaled="0"/>
                  <a:tileRect/>
                </a:gradFill>
                <a:effectLst/>
                <a:uLnTx/>
                <a:uFillTx/>
                <a:latin typeface="Arial"/>
                <a:ea typeface="+mn-ea"/>
                <a:cs typeface="Arial" charset="0"/>
              </a:rPr>
              <a:t>von</a:t>
            </a:r>
            <a:r>
              <a:rPr kumimoji="0" lang="de-DE" sz="1108" b="1" i="0" u="none" strike="noStrike" kern="1200" cap="none" spc="0" normalizeH="0" baseline="0" noProof="0" dirty="0">
                <a:ln>
                  <a:noFill/>
                </a:ln>
                <a:gradFill flip="none" rotWithShape="1">
                  <a:gsLst>
                    <a:gs pos="0">
                      <a:srgbClr val="4AD378"/>
                    </a:gs>
                    <a:gs pos="50000">
                      <a:srgbClr val="CED6BD"/>
                    </a:gs>
                    <a:gs pos="100000">
                      <a:srgbClr val="E62614"/>
                    </a:gs>
                  </a:gsLst>
                  <a:lin ang="2700000" scaled="1"/>
                  <a:tileRect/>
                </a:gradFill>
                <a:effectLst/>
                <a:uLnTx/>
                <a:uFillTx/>
                <a:latin typeface="Arial"/>
                <a:ea typeface="+mn-ea"/>
                <a:cs typeface="Arial" charset="0"/>
              </a:rPr>
              <a:t> </a:t>
            </a:r>
            <a:r>
              <a:rPr kumimoji="0" lang="de-DE" sz="1108" b="1" i="0" u="none" strike="noStrike" kern="1200" cap="none" spc="0" normalizeH="0" baseline="0" noProof="0" dirty="0">
                <a:ln>
                  <a:noFill/>
                </a:ln>
                <a:solidFill>
                  <a:srgbClr val="00B050"/>
                </a:solidFill>
                <a:effectLst/>
                <a:uLnTx/>
                <a:uFillTx/>
                <a:latin typeface="Arial"/>
                <a:ea typeface="+mn-ea"/>
                <a:cs typeface="Arial" charset="0"/>
              </a:rPr>
              <a:t>Ressourcen</a:t>
            </a:r>
            <a:br>
              <a:rPr kumimoji="0" lang="de-DE" sz="1108" b="1" i="0" u="none" strike="noStrike" kern="1200" cap="none" spc="0" normalizeH="0" baseline="0" noProof="0" dirty="0">
                <a:ln>
                  <a:noFill/>
                </a:ln>
                <a:solidFill>
                  <a:srgbClr val="00B050"/>
                </a:solidFill>
                <a:effectLst/>
                <a:uLnTx/>
                <a:uFillTx/>
                <a:latin typeface="Arial"/>
                <a:ea typeface="+mn-ea"/>
                <a:cs typeface="Arial" charset="0"/>
              </a:rPr>
            </a:br>
            <a:r>
              <a:rPr kumimoji="0" lang="de-DE" sz="1108" b="1" i="0" u="none" strike="noStrike" kern="1200" cap="none" spc="0" normalizeH="0" baseline="0" noProof="0" dirty="0">
                <a:ln>
                  <a:noFill/>
                </a:ln>
                <a:gradFill flip="none" rotWithShape="1">
                  <a:gsLst>
                    <a:gs pos="55000">
                      <a:srgbClr val="15935A"/>
                    </a:gs>
                    <a:gs pos="70000">
                      <a:srgbClr val="A2625C"/>
                    </a:gs>
                    <a:gs pos="88000">
                      <a:srgbClr val="E62614"/>
                    </a:gs>
                  </a:gsLst>
                  <a:lin ang="15600000" scaled="0"/>
                  <a:tileRect/>
                </a:gradFill>
                <a:effectLst/>
                <a:uLnTx/>
                <a:uFillTx/>
                <a:latin typeface="Arial"/>
                <a:ea typeface="+mn-ea"/>
                <a:cs typeface="Arial" charset="0"/>
              </a:rPr>
              <a:t>Revolutionäres</a:t>
            </a:r>
            <a:r>
              <a:rPr kumimoji="0" lang="de-DE" sz="1108" b="1" i="0" u="none" strike="noStrike" kern="1200" cap="none" spc="0" normalizeH="0" baseline="0" noProof="0" dirty="0">
                <a:ln>
                  <a:noFill/>
                </a:ln>
                <a:solidFill>
                  <a:srgbClr val="00B050"/>
                </a:solidFill>
                <a:effectLst/>
                <a:uLnTx/>
                <a:uFillTx/>
                <a:latin typeface="Arial"/>
                <a:ea typeface="+mn-ea"/>
                <a:cs typeface="Arial" charset="0"/>
              </a:rPr>
              <a:t> Neues Management</a:t>
            </a:r>
          </a:p>
        </p:txBody>
      </p:sp>
      <p:sp>
        <p:nvSpPr>
          <p:cNvPr id="52" name="Abgerundetes Rechteck 51"/>
          <p:cNvSpPr/>
          <p:nvPr/>
        </p:nvSpPr>
        <p:spPr bwMode="auto">
          <a:xfrm rot="21030533">
            <a:off x="3108186" y="2586029"/>
            <a:ext cx="599772" cy="260309"/>
          </a:xfrm>
          <a:prstGeom prst="roundRect">
            <a:avLst>
              <a:gd name="adj" fmla="val 50000"/>
            </a:avLst>
          </a:prstGeom>
          <a:solidFill>
            <a:srgbClr val="FFFF00"/>
          </a:solidFill>
          <a:ln w="9525" cap="flat" cmpd="sng" algn="ctr">
            <a:solidFill>
              <a:schemeClr val="accent4"/>
            </a:solidFill>
            <a:prstDash val="solid"/>
            <a:round/>
            <a:headEnd type="none" w="med" len="med"/>
            <a:tailEnd type="none" w="med" len="med"/>
          </a:ln>
          <a:effectLst/>
        </p:spPr>
        <p:txBody>
          <a:bodyPr vert="horz" wrap="square" lIns="33231" tIns="43200" rIns="33231" bIns="43200" numCol="1" rtlCol="0" anchor="ctr" anchorCtr="0" compatLnSpc="1">
            <a:prstTxWarp prst="textNoShape">
              <a:avLst/>
            </a:prstTxWarp>
          </a:bodyPr>
          <a:lstStyle/>
          <a:p>
            <a:pPr marL="0" marR="0" lvl="0" indent="0" algn="ctr" defTabSz="844083" rtl="0" eaLnBrk="0" fontAlgn="base" latinLnBrk="0" hangingPunct="0">
              <a:lnSpc>
                <a:spcPct val="100000"/>
              </a:lnSpc>
              <a:spcBef>
                <a:spcPts val="0"/>
              </a:spcBef>
              <a:spcAft>
                <a:spcPts val="0"/>
              </a:spcAft>
              <a:buClrTx/>
              <a:buSzTx/>
              <a:buFontTx/>
              <a:buNone/>
              <a:tabLst/>
              <a:defRPr/>
            </a:pPr>
            <a:r>
              <a:rPr kumimoji="0" lang="de-DE" sz="1108" b="0" i="0" u="none" strike="noStrike" kern="1200" cap="none" spc="0" normalizeH="0" baseline="0" noProof="0">
                <a:ln>
                  <a:noFill/>
                </a:ln>
                <a:solidFill>
                  <a:srgbClr val="000000"/>
                </a:solidFill>
                <a:effectLst/>
                <a:uLnTx/>
                <a:uFillTx/>
                <a:latin typeface="Arial"/>
                <a:ea typeface="+mn-ea"/>
                <a:cs typeface="+mn-cs"/>
              </a:rPr>
              <a:t>click </a:t>
            </a:r>
            <a:endParaRPr kumimoji="0" lang="de-CH" sz="1108" b="0" i="0" u="none" strike="noStrike" kern="1200" cap="none" spc="0" normalizeH="0" baseline="0" noProof="0" dirty="0" err="1">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82353383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wipe(left)">
                                      <p:cBhvr>
                                        <p:cTn id="7" dur="2000"/>
                                        <p:tgtEl>
                                          <p:spTgt spid="10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1400"/>
                                        <p:tgtEl>
                                          <p:spTgt spid="4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wipe(down)">
                                      <p:cBhvr>
                                        <p:cTn id="15" dur="1500"/>
                                        <p:tgtEl>
                                          <p:spTgt spid="42"/>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47"/>
                                        </p:tgtEl>
                                        <p:attrNameLst>
                                          <p:attrName>style.visibility</p:attrName>
                                        </p:attrNameLst>
                                      </p:cBhvr>
                                      <p:to>
                                        <p:strVal val="visible"/>
                                      </p:to>
                                    </p:set>
                                  </p:childTnLst>
                                </p:cTn>
                              </p:par>
                            </p:childTnLst>
                          </p:cTn>
                        </p:par>
                        <p:par>
                          <p:cTn id="20" fill="hold">
                            <p:stCondLst>
                              <p:cond delay="0"/>
                            </p:stCondLst>
                            <p:childTnLst>
                              <p:par>
                                <p:cTn id="21" presetID="27" presetClass="emph" presetSubtype="0" repeatCount="5000" fill="remove" grpId="1" nodeType="afterEffect">
                                  <p:stCondLst>
                                    <p:cond delay="0"/>
                                  </p:stCondLst>
                                  <p:childTnLst>
                                    <p:animClr clrSpc="rgb" dir="cw">
                                      <p:cBhvr override="childStyle">
                                        <p:cTn id="22" dur="250" autoRev="1" fill="remove"/>
                                        <p:tgtEl>
                                          <p:spTgt spid="47"/>
                                        </p:tgtEl>
                                        <p:attrNameLst>
                                          <p:attrName>style.color</p:attrName>
                                        </p:attrNameLst>
                                      </p:cBhvr>
                                      <p:to>
                                        <a:schemeClr val="bg1"/>
                                      </p:to>
                                    </p:animClr>
                                    <p:animClr clrSpc="rgb" dir="cw">
                                      <p:cBhvr>
                                        <p:cTn id="23" dur="250" autoRev="1" fill="remove"/>
                                        <p:tgtEl>
                                          <p:spTgt spid="47"/>
                                        </p:tgtEl>
                                        <p:attrNameLst>
                                          <p:attrName>fillcolor</p:attrName>
                                        </p:attrNameLst>
                                      </p:cBhvr>
                                      <p:to>
                                        <a:schemeClr val="bg1"/>
                                      </p:to>
                                    </p:animClr>
                                    <p:set>
                                      <p:cBhvr>
                                        <p:cTn id="24" dur="250" autoRev="1" fill="remove"/>
                                        <p:tgtEl>
                                          <p:spTgt spid="47"/>
                                        </p:tgtEl>
                                        <p:attrNameLst>
                                          <p:attrName>fill.type</p:attrName>
                                        </p:attrNameLst>
                                      </p:cBhvr>
                                      <p:to>
                                        <p:strVal val="solid"/>
                                      </p:to>
                                    </p:set>
                                    <p:set>
                                      <p:cBhvr>
                                        <p:cTn id="25" dur="250" autoRev="1" fill="remove"/>
                                        <p:tgtEl>
                                          <p:spTgt spid="47"/>
                                        </p:tgtEl>
                                        <p:attrNameLst>
                                          <p:attrName>fill.on</p:attrName>
                                        </p:attrNameLst>
                                      </p:cBhvr>
                                      <p:to>
                                        <p:strVal val="true"/>
                                      </p:to>
                                    </p:set>
                                  </p:childTnLst>
                                </p:cTn>
                              </p:par>
                            </p:childTnLst>
                          </p:cTn>
                        </p:par>
                      </p:childTnLst>
                    </p:cTn>
                  </p:par>
                  <p:par>
                    <p:cTn id="26" fill="hold">
                      <p:stCondLst>
                        <p:cond delay="indefinite"/>
                      </p:stCondLst>
                      <p:childTnLst>
                        <p:par>
                          <p:cTn id="27" fill="hold">
                            <p:stCondLst>
                              <p:cond delay="0"/>
                            </p:stCondLst>
                            <p:childTnLst>
                              <p:par>
                                <p:cTn id="28" presetID="22" presetClass="entr" presetSubtype="4" fill="hold" grpId="0" nodeType="clickEffect">
                                  <p:stCondLst>
                                    <p:cond delay="0"/>
                                  </p:stCondLst>
                                  <p:childTnLst>
                                    <p:set>
                                      <p:cBhvr>
                                        <p:cTn id="29" dur="1" fill="hold">
                                          <p:stCondLst>
                                            <p:cond delay="0"/>
                                          </p:stCondLst>
                                        </p:cTn>
                                        <p:tgtEl>
                                          <p:spTgt spid="44"/>
                                        </p:tgtEl>
                                        <p:attrNameLst>
                                          <p:attrName>style.visibility</p:attrName>
                                        </p:attrNameLst>
                                      </p:cBhvr>
                                      <p:to>
                                        <p:strVal val="visible"/>
                                      </p:to>
                                    </p:set>
                                    <p:animEffect transition="in" filter="wipe(down)">
                                      <p:cBhvr>
                                        <p:cTn id="30" dur="1250"/>
                                        <p:tgtEl>
                                          <p:spTgt spid="44"/>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0"/>
                                        </p:tgtEl>
                                        <p:attrNameLst>
                                          <p:attrName>style.visibility</p:attrName>
                                        </p:attrNameLst>
                                      </p:cBhvr>
                                      <p:to>
                                        <p:strVal val="visible"/>
                                      </p:to>
                                    </p:set>
                                  </p:childTnLst>
                                </p:cTn>
                              </p:par>
                            </p:childTnLst>
                          </p:cTn>
                        </p:par>
                        <p:par>
                          <p:cTn id="35" fill="hold">
                            <p:stCondLst>
                              <p:cond delay="0"/>
                            </p:stCondLst>
                            <p:childTnLst>
                              <p:par>
                                <p:cTn id="36" presetID="27" presetClass="emph" presetSubtype="0" repeatCount="5000" fill="remove" grpId="1" nodeType="afterEffect">
                                  <p:stCondLst>
                                    <p:cond delay="0"/>
                                  </p:stCondLst>
                                  <p:childTnLst>
                                    <p:animClr clrSpc="rgb" dir="cw">
                                      <p:cBhvr override="childStyle">
                                        <p:cTn id="37" dur="250" autoRev="1" fill="remove"/>
                                        <p:tgtEl>
                                          <p:spTgt spid="50"/>
                                        </p:tgtEl>
                                        <p:attrNameLst>
                                          <p:attrName>style.color</p:attrName>
                                        </p:attrNameLst>
                                      </p:cBhvr>
                                      <p:to>
                                        <a:schemeClr val="bg1"/>
                                      </p:to>
                                    </p:animClr>
                                    <p:animClr clrSpc="rgb" dir="cw">
                                      <p:cBhvr>
                                        <p:cTn id="38" dur="250" autoRev="1" fill="remove"/>
                                        <p:tgtEl>
                                          <p:spTgt spid="50"/>
                                        </p:tgtEl>
                                        <p:attrNameLst>
                                          <p:attrName>fillcolor</p:attrName>
                                        </p:attrNameLst>
                                      </p:cBhvr>
                                      <p:to>
                                        <a:schemeClr val="bg1"/>
                                      </p:to>
                                    </p:animClr>
                                    <p:set>
                                      <p:cBhvr>
                                        <p:cTn id="39" dur="250" autoRev="1" fill="remove"/>
                                        <p:tgtEl>
                                          <p:spTgt spid="50"/>
                                        </p:tgtEl>
                                        <p:attrNameLst>
                                          <p:attrName>fill.type</p:attrName>
                                        </p:attrNameLst>
                                      </p:cBhvr>
                                      <p:to>
                                        <p:strVal val="solid"/>
                                      </p:to>
                                    </p:set>
                                    <p:set>
                                      <p:cBhvr>
                                        <p:cTn id="40" dur="250" autoRev="1" fill="remove"/>
                                        <p:tgtEl>
                                          <p:spTgt spid="50"/>
                                        </p:tgtEl>
                                        <p:attrNameLst>
                                          <p:attrName>fill.on</p:attrName>
                                        </p:attrNameLst>
                                      </p:cBhvr>
                                      <p:to>
                                        <p:strVal val="true"/>
                                      </p:to>
                                    </p:se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grpId="0" nodeType="clickEffect">
                                  <p:stCondLst>
                                    <p:cond delay="0"/>
                                  </p:stCondLst>
                                  <p:childTnLst>
                                    <p:set>
                                      <p:cBhvr>
                                        <p:cTn id="44" dur="1" fill="hold">
                                          <p:stCondLst>
                                            <p:cond delay="0"/>
                                          </p:stCondLst>
                                        </p:cTn>
                                        <p:tgtEl>
                                          <p:spTgt spid="46"/>
                                        </p:tgtEl>
                                        <p:attrNameLst>
                                          <p:attrName>style.visibility</p:attrName>
                                        </p:attrNameLst>
                                      </p:cBhvr>
                                      <p:to>
                                        <p:strVal val="visible"/>
                                      </p:to>
                                    </p:set>
                                    <p:animEffect transition="in" filter="wipe(down)">
                                      <p:cBhvr>
                                        <p:cTn id="45" dur="1000"/>
                                        <p:tgtEl>
                                          <p:spTgt spid="46"/>
                                        </p:tgtEl>
                                      </p:cBhvr>
                                    </p:animEffec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49"/>
                                        </p:tgtEl>
                                        <p:attrNameLst>
                                          <p:attrName>style.visibility</p:attrName>
                                        </p:attrNameLst>
                                      </p:cBhvr>
                                      <p:to>
                                        <p:strVal val="visible"/>
                                      </p:to>
                                    </p:set>
                                  </p:childTnLst>
                                </p:cTn>
                              </p:par>
                            </p:childTnLst>
                          </p:cTn>
                        </p:par>
                        <p:par>
                          <p:cTn id="50" fill="hold">
                            <p:stCondLst>
                              <p:cond delay="0"/>
                            </p:stCondLst>
                            <p:childTnLst>
                              <p:par>
                                <p:cTn id="51" presetID="27" presetClass="emph" presetSubtype="0" repeatCount="5000" fill="remove" grpId="1" nodeType="afterEffect">
                                  <p:stCondLst>
                                    <p:cond delay="0"/>
                                  </p:stCondLst>
                                  <p:childTnLst>
                                    <p:animClr clrSpc="rgb" dir="cw">
                                      <p:cBhvr override="childStyle">
                                        <p:cTn id="52" dur="250" autoRev="1" fill="remove"/>
                                        <p:tgtEl>
                                          <p:spTgt spid="49"/>
                                        </p:tgtEl>
                                        <p:attrNameLst>
                                          <p:attrName>style.color</p:attrName>
                                        </p:attrNameLst>
                                      </p:cBhvr>
                                      <p:to>
                                        <a:schemeClr val="bg1"/>
                                      </p:to>
                                    </p:animClr>
                                    <p:animClr clrSpc="rgb" dir="cw">
                                      <p:cBhvr>
                                        <p:cTn id="53" dur="250" autoRev="1" fill="remove"/>
                                        <p:tgtEl>
                                          <p:spTgt spid="49"/>
                                        </p:tgtEl>
                                        <p:attrNameLst>
                                          <p:attrName>fillcolor</p:attrName>
                                        </p:attrNameLst>
                                      </p:cBhvr>
                                      <p:to>
                                        <a:schemeClr val="bg1"/>
                                      </p:to>
                                    </p:animClr>
                                    <p:set>
                                      <p:cBhvr>
                                        <p:cTn id="54" dur="250" autoRev="1" fill="remove"/>
                                        <p:tgtEl>
                                          <p:spTgt spid="49"/>
                                        </p:tgtEl>
                                        <p:attrNameLst>
                                          <p:attrName>fill.type</p:attrName>
                                        </p:attrNameLst>
                                      </p:cBhvr>
                                      <p:to>
                                        <p:strVal val="solid"/>
                                      </p:to>
                                    </p:set>
                                    <p:set>
                                      <p:cBhvr>
                                        <p:cTn id="55" dur="250" autoRev="1" fill="remove"/>
                                        <p:tgtEl>
                                          <p:spTgt spid="49"/>
                                        </p:tgtEl>
                                        <p:attrNameLst>
                                          <p:attrName>fill.on</p:attrName>
                                        </p:attrNameLst>
                                      </p:cBhvr>
                                      <p:to>
                                        <p:strVal val="true"/>
                                      </p:to>
                                    </p:set>
                                  </p:childTnLst>
                                </p:cTn>
                              </p:par>
                            </p:childTnLst>
                          </p:cTn>
                        </p:par>
                      </p:childTnLst>
                    </p:cTn>
                  </p:par>
                  <p:par>
                    <p:cTn id="56" fill="hold">
                      <p:stCondLst>
                        <p:cond delay="indefinite"/>
                      </p:stCondLst>
                      <p:childTnLst>
                        <p:par>
                          <p:cTn id="57" fill="hold">
                            <p:stCondLst>
                              <p:cond delay="0"/>
                            </p:stCondLst>
                            <p:childTnLst>
                              <p:par>
                                <p:cTn id="58" presetID="22" presetClass="entr" presetSubtype="1" fill="hold" grpId="0" nodeType="clickEffect">
                                  <p:stCondLst>
                                    <p:cond delay="0"/>
                                  </p:stCondLst>
                                  <p:childTnLst>
                                    <p:set>
                                      <p:cBhvr>
                                        <p:cTn id="59" dur="1" fill="hold">
                                          <p:stCondLst>
                                            <p:cond delay="0"/>
                                          </p:stCondLst>
                                        </p:cTn>
                                        <p:tgtEl>
                                          <p:spTgt spid="48"/>
                                        </p:tgtEl>
                                        <p:attrNameLst>
                                          <p:attrName>style.visibility</p:attrName>
                                        </p:attrNameLst>
                                      </p:cBhvr>
                                      <p:to>
                                        <p:strVal val="visible"/>
                                      </p:to>
                                    </p:set>
                                    <p:animEffect transition="in" filter="wipe(up)">
                                      <p:cBhvr>
                                        <p:cTn id="60" dur="500"/>
                                        <p:tgtEl>
                                          <p:spTgt spid="48"/>
                                        </p:tgtEl>
                                      </p:cBhvr>
                                    </p:animEffect>
                                  </p:childTnLst>
                                </p:cTn>
                              </p:par>
                              <p:par>
                                <p:cTn id="61" presetID="1" presetClass="entr" presetSubtype="0" fill="hold" grpId="0" nodeType="withEffect">
                                  <p:stCondLst>
                                    <p:cond delay="250"/>
                                  </p:stCondLst>
                                  <p:childTnLst>
                                    <p:set>
                                      <p:cBhvr>
                                        <p:cTn id="62" dur="1" fill="hold">
                                          <p:stCondLst>
                                            <p:cond delay="0"/>
                                          </p:stCondLst>
                                        </p:cTn>
                                        <p:tgtEl>
                                          <p:spTgt spid="45"/>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11"/>
                                        </p:tgtEl>
                                        <p:attrNameLst>
                                          <p:attrName>style.visibility</p:attrName>
                                        </p:attrNameLst>
                                      </p:cBhvr>
                                      <p:to>
                                        <p:strVal val="visible"/>
                                      </p:to>
                                    </p:set>
                                    <p:animEffect transition="in" filter="wipe(left)">
                                      <p:cBhvr>
                                        <p:cTn id="67" dur="1500"/>
                                        <p:tgtEl>
                                          <p:spTgt spid="111"/>
                                        </p:tgtEl>
                                      </p:cBhvr>
                                    </p:animEffect>
                                  </p:childTnLst>
                                </p:cTn>
                              </p:par>
                            </p:childTnLst>
                          </p:cTn>
                        </p:par>
                        <p:par>
                          <p:cTn id="68" fill="hold">
                            <p:stCondLst>
                              <p:cond delay="1500"/>
                            </p:stCondLst>
                            <p:childTnLst>
                              <p:par>
                                <p:cTn id="69" presetID="22" presetClass="entr" presetSubtype="8" fill="hold" grpId="0" nodeType="afterEffect">
                                  <p:stCondLst>
                                    <p:cond delay="0"/>
                                  </p:stCondLst>
                                  <p:childTnLst>
                                    <p:set>
                                      <p:cBhvr>
                                        <p:cTn id="70" dur="1" fill="hold">
                                          <p:stCondLst>
                                            <p:cond delay="0"/>
                                          </p:stCondLst>
                                        </p:cTn>
                                        <p:tgtEl>
                                          <p:spTgt spid="110"/>
                                        </p:tgtEl>
                                        <p:attrNameLst>
                                          <p:attrName>style.visibility</p:attrName>
                                        </p:attrNameLst>
                                      </p:cBhvr>
                                      <p:to>
                                        <p:strVal val="visible"/>
                                      </p:to>
                                    </p:set>
                                    <p:animEffect transition="in" filter="wipe(left)">
                                      <p:cBhvr>
                                        <p:cTn id="71" dur="2000"/>
                                        <p:tgtEl>
                                          <p:spTgt spid="110"/>
                                        </p:tgtEl>
                                      </p:cBhvr>
                                    </p:animEffect>
                                  </p:childTnLst>
                                </p:cTn>
                              </p:par>
                              <p:par>
                                <p:cTn id="72" presetID="10" presetClass="entr" presetSubtype="0" fill="hold" grpId="0" nodeType="withEffect">
                                  <p:stCondLst>
                                    <p:cond delay="1500"/>
                                  </p:stCondLst>
                                  <p:childTnLst>
                                    <p:set>
                                      <p:cBhvr>
                                        <p:cTn id="73" dur="1" fill="hold">
                                          <p:stCondLst>
                                            <p:cond delay="0"/>
                                          </p:stCondLst>
                                        </p:cTn>
                                        <p:tgtEl>
                                          <p:spTgt spid="93"/>
                                        </p:tgtEl>
                                        <p:attrNameLst>
                                          <p:attrName>style.visibility</p:attrName>
                                        </p:attrNameLst>
                                      </p:cBhvr>
                                      <p:to>
                                        <p:strVal val="visible"/>
                                      </p:to>
                                    </p:set>
                                    <p:animEffect transition="in" filter="fade">
                                      <p:cBhvr>
                                        <p:cTn id="74" dur="1400"/>
                                        <p:tgtEl>
                                          <p:spTgt spid="93"/>
                                        </p:tgtEl>
                                      </p:cBhvr>
                                    </p:animEffect>
                                  </p:childTnLst>
                                </p:cTn>
                              </p:par>
                              <p:par>
                                <p:cTn id="75" presetID="10" presetClass="entr" presetSubtype="0" fill="hold" nodeType="withEffect">
                                  <p:stCondLst>
                                    <p:cond delay="0"/>
                                  </p:stCondLst>
                                  <p:childTnLst>
                                    <p:set>
                                      <p:cBhvr>
                                        <p:cTn id="76" dur="1" fill="hold">
                                          <p:stCondLst>
                                            <p:cond delay="0"/>
                                          </p:stCondLst>
                                        </p:cTn>
                                        <p:tgtEl>
                                          <p:spTgt spid="30"/>
                                        </p:tgtEl>
                                        <p:attrNameLst>
                                          <p:attrName>style.visibility</p:attrName>
                                        </p:attrNameLst>
                                      </p:cBhvr>
                                      <p:to>
                                        <p:strVal val="visible"/>
                                      </p:to>
                                    </p:set>
                                    <p:animEffect transition="in" filter="fade">
                                      <p:cBhvr>
                                        <p:cTn id="77" dur="1300"/>
                                        <p:tgtEl>
                                          <p:spTgt spid="30"/>
                                        </p:tgtEl>
                                      </p:cBhvr>
                                    </p:animEffect>
                                  </p:childTnLst>
                                </p:cTn>
                              </p:par>
                              <p:par>
                                <p:cTn id="78" presetID="37" presetClass="path" presetSubtype="0" accel="50000" decel="50000" fill="hold" nodeType="withEffect">
                                  <p:stCondLst>
                                    <p:cond delay="0"/>
                                  </p:stCondLst>
                                  <p:childTnLst>
                                    <p:animMotion origin="layout" path="M -2.05128E-6 4.44444E-6 C -0.0915 0.03217 -0.12484 0.18217 -0.13862 0.2199 C -0.1524 0.25763 -0.19615 0.41643 -0.39182 0.43217 " pathEditMode="relative" rAng="0" ptsTypes="AAA">
                                      <p:cBhvr>
                                        <p:cTn id="79" dur="2000" spd="-100000" fill="hold"/>
                                        <p:tgtEl>
                                          <p:spTgt spid="30"/>
                                        </p:tgtEl>
                                        <p:attrNameLst>
                                          <p:attrName>ppt_x</p:attrName>
                                          <p:attrName>ppt_y</p:attrName>
                                        </p:attrNameLst>
                                      </p:cBhvr>
                                      <p:rCtr x="-19599" y="21597"/>
                                    </p:animMotion>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101"/>
                                        </p:tgtEl>
                                        <p:attrNameLst>
                                          <p:attrName>style.visibility</p:attrName>
                                        </p:attrNameLst>
                                      </p:cBhvr>
                                      <p:to>
                                        <p:strVal val="visible"/>
                                      </p:to>
                                    </p:set>
                                    <p:animEffect transition="in" filter="fade">
                                      <p:cBhvr>
                                        <p:cTn id="84" dur="2000"/>
                                        <p:tgtEl>
                                          <p:spTgt spid="101"/>
                                        </p:tgtEl>
                                      </p:cBhvr>
                                    </p:animEffect>
                                  </p:childTnLst>
                                </p:cTn>
                              </p:par>
                              <p:par>
                                <p:cTn id="85" presetID="10" presetClass="entr" presetSubtype="0" fill="hold" grpId="0" nodeType="withEffect">
                                  <p:stCondLst>
                                    <p:cond delay="900"/>
                                  </p:stCondLst>
                                  <p:childTnLst>
                                    <p:set>
                                      <p:cBhvr>
                                        <p:cTn id="86" dur="1" fill="hold">
                                          <p:stCondLst>
                                            <p:cond delay="0"/>
                                          </p:stCondLst>
                                        </p:cTn>
                                        <p:tgtEl>
                                          <p:spTgt spid="51"/>
                                        </p:tgtEl>
                                        <p:attrNameLst>
                                          <p:attrName>style.visibility</p:attrName>
                                        </p:attrNameLst>
                                      </p:cBhvr>
                                      <p:to>
                                        <p:strVal val="visible"/>
                                      </p:to>
                                    </p:set>
                                    <p:animEffect transition="in" filter="fade">
                                      <p:cBhvr>
                                        <p:cTn id="87" dur="1100"/>
                                        <p:tgtEl>
                                          <p:spTgt spid="51"/>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97"/>
                                        </p:tgtEl>
                                        <p:attrNameLst>
                                          <p:attrName>style.visibility</p:attrName>
                                        </p:attrNameLst>
                                      </p:cBhvr>
                                      <p:to>
                                        <p:strVal val="visible"/>
                                      </p:to>
                                    </p:set>
                                    <p:animEffect transition="in" filter="fade">
                                      <p:cBhvr>
                                        <p:cTn id="90" dur="500"/>
                                        <p:tgtEl>
                                          <p:spTgt spid="97"/>
                                        </p:tgtEl>
                                      </p:cBhvr>
                                    </p:animEffect>
                                  </p:childTnLst>
                                </p:cTn>
                              </p:par>
                              <p:par>
                                <p:cTn id="91" presetID="22" presetClass="entr" presetSubtype="2" fill="hold" nodeType="withEffect">
                                  <p:stCondLst>
                                    <p:cond delay="100"/>
                                  </p:stCondLst>
                                  <p:childTnLst>
                                    <p:set>
                                      <p:cBhvr>
                                        <p:cTn id="92" dur="1" fill="hold">
                                          <p:stCondLst>
                                            <p:cond delay="0"/>
                                          </p:stCondLst>
                                        </p:cTn>
                                        <p:tgtEl>
                                          <p:spTgt spid="100"/>
                                        </p:tgtEl>
                                        <p:attrNameLst>
                                          <p:attrName>style.visibility</p:attrName>
                                        </p:attrNameLst>
                                      </p:cBhvr>
                                      <p:to>
                                        <p:strVal val="visible"/>
                                      </p:to>
                                    </p:set>
                                    <p:animEffect transition="in" filter="wipe(right)">
                                      <p:cBhvr>
                                        <p:cTn id="93" dur="500"/>
                                        <p:tgtEl>
                                          <p:spTgt spid="100"/>
                                        </p:tgtEl>
                                      </p:cBhvr>
                                    </p:animEffect>
                                  </p:childTnLst>
                                </p:cTn>
                              </p:par>
                              <p:par>
                                <p:cTn id="94" presetID="10" presetClass="entr" presetSubtype="0" fill="hold" grpId="0" nodeType="withEffect">
                                  <p:stCondLst>
                                    <p:cond delay="200"/>
                                  </p:stCondLst>
                                  <p:childTnLst>
                                    <p:set>
                                      <p:cBhvr>
                                        <p:cTn id="95" dur="1" fill="hold">
                                          <p:stCondLst>
                                            <p:cond delay="0"/>
                                          </p:stCondLst>
                                        </p:cTn>
                                        <p:tgtEl>
                                          <p:spTgt spid="96"/>
                                        </p:tgtEl>
                                        <p:attrNameLst>
                                          <p:attrName>style.visibility</p:attrName>
                                        </p:attrNameLst>
                                      </p:cBhvr>
                                      <p:to>
                                        <p:strVal val="visible"/>
                                      </p:to>
                                    </p:set>
                                    <p:animEffect transition="in" filter="fade">
                                      <p:cBhvr>
                                        <p:cTn id="96" dur="500"/>
                                        <p:tgtEl>
                                          <p:spTgt spid="96"/>
                                        </p:tgtEl>
                                      </p:cBhvr>
                                    </p:animEffect>
                                  </p:childTnLst>
                                </p:cTn>
                              </p:par>
                              <p:par>
                                <p:cTn id="97" presetID="22" presetClass="entr" presetSubtype="8" fill="hold" nodeType="withEffect">
                                  <p:stCondLst>
                                    <p:cond delay="100"/>
                                  </p:stCondLst>
                                  <p:childTnLst>
                                    <p:set>
                                      <p:cBhvr>
                                        <p:cTn id="98" dur="1" fill="hold">
                                          <p:stCondLst>
                                            <p:cond delay="0"/>
                                          </p:stCondLst>
                                        </p:cTn>
                                        <p:tgtEl>
                                          <p:spTgt spid="99"/>
                                        </p:tgtEl>
                                        <p:attrNameLst>
                                          <p:attrName>style.visibility</p:attrName>
                                        </p:attrNameLst>
                                      </p:cBhvr>
                                      <p:to>
                                        <p:strVal val="visible"/>
                                      </p:to>
                                    </p:set>
                                    <p:animEffect transition="in" filter="wipe(left)">
                                      <p:cBhvr>
                                        <p:cTn id="99" dur="500"/>
                                        <p:tgtEl>
                                          <p:spTgt spid="99"/>
                                        </p:tgtEl>
                                      </p:cBhvr>
                                    </p:animEffect>
                                  </p:childTnLst>
                                </p:cTn>
                              </p:par>
                              <p:par>
                                <p:cTn id="100" presetID="10" presetClass="entr" presetSubtype="0" fill="hold" grpId="0" nodeType="withEffect">
                                  <p:stCondLst>
                                    <p:cond delay="200"/>
                                  </p:stCondLst>
                                  <p:childTnLst>
                                    <p:set>
                                      <p:cBhvr>
                                        <p:cTn id="101" dur="1" fill="hold">
                                          <p:stCondLst>
                                            <p:cond delay="0"/>
                                          </p:stCondLst>
                                        </p:cTn>
                                        <p:tgtEl>
                                          <p:spTgt spid="98"/>
                                        </p:tgtEl>
                                        <p:attrNameLst>
                                          <p:attrName>style.visibility</p:attrName>
                                        </p:attrNameLst>
                                      </p:cBhvr>
                                      <p:to>
                                        <p:strVal val="visible"/>
                                      </p:to>
                                    </p:set>
                                    <p:animEffect transition="in" filter="fade">
                                      <p:cBhvr>
                                        <p:cTn id="102" dur="500"/>
                                        <p:tgtEl>
                                          <p:spTgt spid="98"/>
                                        </p:tgtEl>
                                      </p:cBhvr>
                                    </p:animEffect>
                                  </p:childTnLst>
                                </p:cTn>
                              </p:par>
                            </p:childTnLst>
                          </p:cTn>
                        </p:par>
                      </p:childTnLst>
                    </p:cTn>
                  </p:par>
                  <p:par>
                    <p:cTn id="103" fill="hold">
                      <p:stCondLst>
                        <p:cond delay="indefinite"/>
                      </p:stCondLst>
                      <p:childTnLst>
                        <p:par>
                          <p:cTn id="104" fill="hold">
                            <p:stCondLst>
                              <p:cond delay="0"/>
                            </p:stCondLst>
                            <p:childTnLst>
                              <p:par>
                                <p:cTn id="105" presetID="22" presetClass="entr" presetSubtype="8" fill="hold" grpId="0" nodeType="clickEffect">
                                  <p:stCondLst>
                                    <p:cond delay="0"/>
                                  </p:stCondLst>
                                  <p:childTnLst>
                                    <p:set>
                                      <p:cBhvr>
                                        <p:cTn id="106" dur="1" fill="hold">
                                          <p:stCondLst>
                                            <p:cond delay="0"/>
                                          </p:stCondLst>
                                        </p:cTn>
                                        <p:tgtEl>
                                          <p:spTgt spid="35"/>
                                        </p:tgtEl>
                                        <p:attrNameLst>
                                          <p:attrName>style.visibility</p:attrName>
                                        </p:attrNameLst>
                                      </p:cBhvr>
                                      <p:to>
                                        <p:strVal val="visible"/>
                                      </p:to>
                                    </p:set>
                                    <p:animEffect transition="in" filter="wipe(left)">
                                      <p:cBhvr>
                                        <p:cTn id="107" dur="4500"/>
                                        <p:tgtEl>
                                          <p:spTgt spid="35"/>
                                        </p:tgtEl>
                                      </p:cBhvr>
                                    </p:animEffect>
                                  </p:childTnLst>
                                </p:cTn>
                              </p:par>
                              <p:par>
                                <p:cTn id="108" presetID="10" presetClass="entr" presetSubtype="0" fill="hold" nodeType="withEffect">
                                  <p:stCondLst>
                                    <p:cond delay="2750"/>
                                  </p:stCondLst>
                                  <p:childTnLst>
                                    <p:set>
                                      <p:cBhvr>
                                        <p:cTn id="109" dur="1" fill="hold">
                                          <p:stCondLst>
                                            <p:cond delay="0"/>
                                          </p:stCondLst>
                                        </p:cTn>
                                        <p:tgtEl>
                                          <p:spTgt spid="2"/>
                                        </p:tgtEl>
                                        <p:attrNameLst>
                                          <p:attrName>style.visibility</p:attrName>
                                        </p:attrNameLst>
                                      </p:cBhvr>
                                      <p:to>
                                        <p:strVal val="visible"/>
                                      </p:to>
                                    </p:set>
                                    <p:animEffect transition="in" filter="fade">
                                      <p:cBhvr>
                                        <p:cTn id="110" dur="1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p:bldP spid="96" grpId="0"/>
      <p:bldP spid="97" grpId="0"/>
      <p:bldP spid="98" grpId="0"/>
      <p:bldP spid="101" grpId="0" animBg="1"/>
      <p:bldP spid="110" grpId="0" animBg="1"/>
      <p:bldP spid="42" grpId="0" animBg="1"/>
      <p:bldP spid="44" grpId="0" animBg="1"/>
      <p:bldP spid="45" grpId="0" animBg="1"/>
      <p:bldP spid="46" grpId="0" animBg="1"/>
      <p:bldP spid="47" grpId="0" animBg="1"/>
      <p:bldP spid="47" grpId="1" animBg="1"/>
      <p:bldP spid="48" grpId="0" animBg="1"/>
      <p:bldP spid="49" grpId="0" animBg="1"/>
      <p:bldP spid="49" grpId="1" animBg="1"/>
      <p:bldP spid="50" grpId="0" animBg="1"/>
      <p:bldP spid="50" grpId="1" animBg="1"/>
      <p:bldP spid="35" grpId="0" animBg="1"/>
      <p:bldP spid="40" grpId="0"/>
      <p:bldP spid="51"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560772" y="2459979"/>
            <a:ext cx="8640000" cy="3317735"/>
          </a:xfrm>
        </p:spPr>
        <p:txBody>
          <a:bodyPr/>
          <a:lstStyle/>
          <a:p>
            <a:r>
              <a:rPr lang="de-DE" sz="2215" dirty="0"/>
              <a:t>Kommunikation</a:t>
            </a:r>
            <a:br>
              <a:rPr lang="de-DE" sz="2215" dirty="0"/>
            </a:br>
            <a:r>
              <a:rPr lang="de-DE" sz="2215" dirty="0"/>
              <a:t>Richtig, verständlich, zuverlässig und </a:t>
            </a:r>
            <a:r>
              <a:rPr lang="de-DE" sz="2215" dirty="0" smtClean="0"/>
              <a:t>wirksam</a:t>
            </a:r>
            <a:br>
              <a:rPr lang="de-DE" sz="2215" dirty="0" smtClean="0"/>
            </a:br>
            <a:r>
              <a:rPr lang="de-DE" sz="2215" dirty="0"/>
              <a:t/>
            </a:r>
            <a:br>
              <a:rPr lang="de-DE" sz="2215" dirty="0"/>
            </a:br>
            <a:r>
              <a:rPr lang="de-DE" sz="2215" dirty="0" smtClean="0"/>
              <a:t> </a:t>
            </a:r>
            <a:br>
              <a:rPr lang="de-DE" sz="2215" dirty="0" smtClean="0"/>
            </a:br>
            <a:r>
              <a:rPr lang="de-DE" sz="2215" dirty="0" smtClean="0"/>
              <a:t>Kurze Anmerkungen zur </a:t>
            </a:r>
            <a:r>
              <a:rPr lang="de-DE" sz="2215" dirty="0" err="1" smtClean="0"/>
              <a:t>Syntegrations</a:t>
            </a:r>
            <a:r>
              <a:rPr lang="de-DE" sz="2215" dirty="0" smtClean="0"/>
              <a:t>-Methode</a:t>
            </a:r>
            <a:br>
              <a:rPr lang="de-DE" sz="2215" dirty="0" smtClean="0"/>
            </a:br>
            <a:r>
              <a:rPr lang="de-DE" sz="2215" dirty="0" err="1" smtClean="0"/>
              <a:t>Syntegration</a:t>
            </a:r>
            <a:r>
              <a:rPr lang="de-DE" sz="2215" dirty="0" smtClean="0"/>
              <a:t> = </a:t>
            </a:r>
            <a:r>
              <a:rPr lang="de-DE" sz="2215" u="sng" dirty="0" err="1" smtClean="0"/>
              <a:t>Syn-</a:t>
            </a:r>
            <a:r>
              <a:rPr lang="de-DE" sz="2215" dirty="0" err="1" smtClean="0"/>
              <a:t>ergie</a:t>
            </a:r>
            <a:r>
              <a:rPr lang="de-DE" sz="2215" dirty="0" smtClean="0"/>
              <a:t> + In-</a:t>
            </a:r>
            <a:r>
              <a:rPr lang="de-DE" sz="2215" u="sng" dirty="0" err="1" smtClean="0"/>
              <a:t>tegration</a:t>
            </a:r>
            <a:r>
              <a:rPr lang="de-DE" sz="2215" dirty="0" smtClean="0"/>
              <a:t> </a:t>
            </a:r>
            <a:br>
              <a:rPr lang="de-DE" sz="2215" dirty="0" smtClean="0"/>
            </a:br>
            <a:r>
              <a:rPr lang="de-DE" sz="2215" dirty="0" smtClean="0"/>
              <a:t>Die beste und schnellste Methode </a:t>
            </a:r>
            <a:br>
              <a:rPr lang="de-DE" sz="2215" dirty="0" smtClean="0"/>
            </a:br>
            <a:r>
              <a:rPr lang="de-DE" sz="2215" dirty="0" smtClean="0"/>
              <a:t>für die </a:t>
            </a:r>
            <a:r>
              <a:rPr lang="de-DE" sz="2215" dirty="0" err="1" smtClean="0"/>
              <a:t>grossen</a:t>
            </a:r>
            <a:r>
              <a:rPr lang="de-DE" sz="2215" dirty="0" smtClean="0"/>
              <a:t> Herausforderungen</a:t>
            </a:r>
            <a:br>
              <a:rPr lang="de-DE" sz="2215" dirty="0" smtClean="0"/>
            </a:br>
            <a:r>
              <a:rPr lang="de-DE" sz="2215" dirty="0" smtClean="0"/>
              <a:t/>
            </a:r>
            <a:br>
              <a:rPr lang="de-DE" sz="2215" dirty="0" smtClean="0"/>
            </a:br>
            <a:endParaRPr lang="de-DE" sz="2215" dirty="0"/>
          </a:p>
        </p:txBody>
      </p:sp>
    </p:spTree>
    <p:extLst>
      <p:ext uri="{BB962C8B-B14F-4D97-AF65-F5344CB8AC3E}">
        <p14:creationId xmlns:p14="http://schemas.microsoft.com/office/powerpoint/2010/main" val="2760627530"/>
      </p:ext>
    </p:extLst>
  </p:cSld>
  <p:clrMapOvr>
    <a:masterClrMapping/>
  </p:clrMapOvr>
  <p:transition spd="slow"/>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9" name="Objekt 8" hidden="1"/>
          <p:cNvGraphicFramePr>
            <a:graphicFrameLocks/>
          </p:cNvGraphicFramePr>
          <p:nvPr>
            <p:custDataLst>
              <p:tags r:id="rId2"/>
            </p:custDataLst>
          </p:nvPr>
        </p:nvGraphicFramePr>
        <p:xfrm>
          <a:off x="381000" y="263769"/>
          <a:ext cx="146538" cy="146538"/>
        </p:xfrm>
        <a:graphic>
          <a:graphicData uri="http://schemas.openxmlformats.org/presentationml/2006/ole">
            <mc:AlternateContent xmlns:mc="http://schemas.openxmlformats.org/markup-compatibility/2006">
              <mc:Choice xmlns:v="urn:schemas-microsoft-com:vml" Requires="v">
                <p:oleObj spid="_x0000_s1051" name="think-cell Slide" r:id="rId5" imgW="0" imgH="0" progId="">
                  <p:embed/>
                </p:oleObj>
              </mc:Choice>
              <mc:Fallback>
                <p:oleObj name="think-cell Slide" r:id="rId5" imgW="0" imgH="0" progId="">
                  <p:embed/>
                  <p:pic>
                    <p:nvPicPr>
                      <p:cNvPr id="9" name="Objekt 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81000" y="263769"/>
                        <a:ext cx="146538" cy="14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5" name="Rechteck 120"/>
          <p:cNvSpPr/>
          <p:nvPr/>
        </p:nvSpPr>
        <p:spPr>
          <a:xfrm>
            <a:off x="1116594" y="4307081"/>
            <a:ext cx="1821646" cy="688843"/>
          </a:xfrm>
          <a:prstGeom prst="rect">
            <a:avLst/>
          </a:prstGeom>
        </p:spPr>
        <p:txBody>
          <a:bodyPr wrap="square">
            <a:sp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0" lang="de-CH" sz="1292" b="1" i="0" u="none" strike="noStrike" kern="1200" cap="none" spc="0" normalizeH="0" baseline="0" noProof="0" dirty="0">
                <a:ln>
                  <a:noFill/>
                </a:ln>
                <a:solidFill>
                  <a:srgbClr val="000000"/>
                </a:solidFill>
                <a:effectLst/>
                <a:uLnTx/>
                <a:uFillTx/>
                <a:latin typeface="Calibri"/>
                <a:ea typeface="+mn-ea"/>
                <a:cs typeface="Arial" charset="0"/>
                <a:sym typeface="Wingdings" pitchFamily="2" charset="2"/>
              </a:rPr>
              <a:t>Lineare Vernetzung,</a:t>
            </a:r>
            <a:br>
              <a:rPr kumimoji="0" lang="de-CH" sz="1292" b="1" i="0" u="none" strike="noStrike" kern="1200" cap="none" spc="0" normalizeH="0" baseline="0" noProof="0" dirty="0">
                <a:ln>
                  <a:noFill/>
                </a:ln>
                <a:solidFill>
                  <a:srgbClr val="000000"/>
                </a:solidFill>
                <a:effectLst/>
                <a:uLnTx/>
                <a:uFillTx/>
                <a:latin typeface="Calibri"/>
                <a:ea typeface="+mn-ea"/>
                <a:cs typeface="Arial" charset="0"/>
                <a:sym typeface="Wingdings" pitchFamily="2" charset="2"/>
              </a:rPr>
            </a:br>
            <a:r>
              <a:rPr kumimoji="0" lang="de-CH" sz="1292" b="1" i="0" u="none" strike="noStrike" kern="1200" cap="none" spc="0" normalizeH="0" baseline="0" noProof="0" dirty="0">
                <a:ln>
                  <a:noFill/>
                </a:ln>
                <a:solidFill>
                  <a:srgbClr val="000000"/>
                </a:solidFill>
                <a:effectLst/>
                <a:uLnTx/>
                <a:uFillTx/>
                <a:latin typeface="Calibri"/>
                <a:ea typeface="+mn-ea"/>
                <a:cs typeface="Arial" charset="0"/>
                <a:sym typeface="Wingdings" pitchFamily="2" charset="2"/>
              </a:rPr>
              <a:t>zerstört Information, produziert „Unsinn“.</a:t>
            </a:r>
          </a:p>
        </p:txBody>
      </p:sp>
      <p:sp>
        <p:nvSpPr>
          <p:cNvPr id="66" name="Textfeld 134"/>
          <p:cNvSpPr txBox="1"/>
          <p:nvPr/>
        </p:nvSpPr>
        <p:spPr>
          <a:xfrm>
            <a:off x="6903444" y="4301416"/>
            <a:ext cx="1993179" cy="1285352"/>
          </a:xfrm>
          <a:prstGeom prst="rect">
            <a:avLst/>
          </a:prstGeom>
          <a:noFill/>
        </p:spPr>
        <p:txBody>
          <a:bodyPr wrap="square" rtlCol="0">
            <a:spAutoFit/>
          </a:bodyPr>
          <a:lstStyle/>
          <a:p>
            <a:pPr marL="0" marR="0" lvl="0" indent="0" algn="ctr" defTabSz="844083" rtl="0" eaLnBrk="1" fontAlgn="base" latinLnBrk="0" hangingPunct="1">
              <a:lnSpc>
                <a:spcPct val="100000"/>
              </a:lnSpc>
              <a:spcBef>
                <a:spcPct val="0"/>
              </a:spcBef>
              <a:spcAft>
                <a:spcPct val="20000"/>
              </a:spcAft>
              <a:buClrTx/>
              <a:buSzTx/>
              <a:buFontTx/>
              <a:buNone/>
              <a:tabLst/>
              <a:defRPr/>
            </a:pPr>
            <a:r>
              <a:rPr kumimoji="0" lang="de-CH" sz="1292" b="1" i="0" u="none" strike="noStrike" kern="1200" cap="none" spc="0" normalizeH="0" baseline="0" noProof="0" dirty="0">
                <a:ln>
                  <a:noFill/>
                </a:ln>
                <a:solidFill>
                  <a:srgbClr val="000000"/>
                </a:solidFill>
                <a:effectLst/>
                <a:uLnTx/>
                <a:uFillTx/>
                <a:latin typeface="Calibri"/>
                <a:ea typeface="+mn-ea"/>
                <a:cs typeface="Arial" charset="0"/>
              </a:rPr>
              <a:t>Die neue kybernetische Logik für die optimale kommunikative Vernetzung von grossen Personen-zahlen oberhalb der Teamgrösse</a:t>
            </a:r>
          </a:p>
        </p:txBody>
      </p:sp>
      <p:sp>
        <p:nvSpPr>
          <p:cNvPr id="68" name="Rechteck 133"/>
          <p:cNvSpPr/>
          <p:nvPr/>
        </p:nvSpPr>
        <p:spPr>
          <a:xfrm>
            <a:off x="3130792" y="4305811"/>
            <a:ext cx="1758455" cy="1285352"/>
          </a:xfrm>
          <a:prstGeom prst="rect">
            <a:avLst/>
          </a:prstGeom>
        </p:spPr>
        <p:txBody>
          <a:bodyPr wrap="square">
            <a:sp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0" lang="de-CH" sz="1292" b="1" i="0" u="none" strike="noStrike" kern="1200" cap="none" spc="0" normalizeH="0" baseline="0" noProof="0" dirty="0">
                <a:ln>
                  <a:noFill/>
                </a:ln>
                <a:solidFill>
                  <a:srgbClr val="000000"/>
                </a:solidFill>
                <a:effectLst/>
                <a:uLnTx/>
                <a:uFillTx/>
                <a:latin typeface="Calibri"/>
                <a:ea typeface="+mn-ea"/>
                <a:cs typeface="Arial" charset="0"/>
                <a:sym typeface="Wingdings" pitchFamily="2" charset="2"/>
              </a:rPr>
              <a:t>Diese (hierarchische) Vernetzung führt zu maximaler Macht, nutzt aber das vorhandene Wissen nicht.</a:t>
            </a:r>
          </a:p>
        </p:txBody>
      </p:sp>
      <p:sp>
        <p:nvSpPr>
          <p:cNvPr id="87" name="Rechteck 119"/>
          <p:cNvSpPr/>
          <p:nvPr/>
        </p:nvSpPr>
        <p:spPr>
          <a:xfrm>
            <a:off x="5081795" y="4301417"/>
            <a:ext cx="1758455" cy="1683025"/>
          </a:xfrm>
          <a:prstGeom prst="rect">
            <a:avLst/>
          </a:prstGeom>
        </p:spPr>
        <p:txBody>
          <a:bodyPr wrap="square">
            <a:sp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0" lang="de-CH" sz="1292" b="1" i="0" u="none" strike="noStrike" kern="1200" cap="none" spc="0" normalizeH="0" baseline="0" noProof="0" dirty="0">
                <a:ln>
                  <a:noFill/>
                </a:ln>
                <a:solidFill>
                  <a:srgbClr val="000000"/>
                </a:solidFill>
                <a:effectLst/>
                <a:uLnTx/>
                <a:uFillTx/>
                <a:latin typeface="Calibri"/>
                <a:ea typeface="+mn-ea"/>
                <a:cs typeface="Arial" charset="0"/>
                <a:sym typeface="Wingdings" pitchFamily="2" charset="2"/>
              </a:rPr>
              <a:t>Die Teamvernetzung ist optimal für 5-7 Personen.</a:t>
            </a:r>
            <a:br>
              <a:rPr kumimoji="0" lang="de-CH" sz="1292" b="1" i="0" u="none" strike="noStrike" kern="1200" cap="none" spc="0" normalizeH="0" baseline="0" noProof="0" dirty="0">
                <a:ln>
                  <a:noFill/>
                </a:ln>
                <a:solidFill>
                  <a:srgbClr val="000000"/>
                </a:solidFill>
                <a:effectLst/>
                <a:uLnTx/>
                <a:uFillTx/>
                <a:latin typeface="Calibri"/>
                <a:ea typeface="+mn-ea"/>
                <a:cs typeface="Arial" charset="0"/>
                <a:sym typeface="Wingdings" pitchFamily="2" charset="2"/>
              </a:rPr>
            </a:br>
            <a:r>
              <a:rPr kumimoji="0" lang="de-CH" sz="1292" b="1" i="0" u="none" strike="noStrike" kern="1200" cap="none" spc="0" normalizeH="0" baseline="0" noProof="0" dirty="0">
                <a:ln>
                  <a:noFill/>
                </a:ln>
                <a:solidFill>
                  <a:srgbClr val="000000"/>
                </a:solidFill>
                <a:effectLst/>
                <a:uLnTx/>
                <a:uFillTx/>
                <a:latin typeface="Calibri"/>
                <a:ea typeface="+mn-ea"/>
                <a:cs typeface="Arial" charset="0"/>
                <a:sym typeface="Wingdings" pitchFamily="2" charset="2"/>
              </a:rPr>
              <a:t>Was aber wenn man 30, 50 oder 100 Personen für die Lösung des Problems braucht?</a:t>
            </a:r>
          </a:p>
        </p:txBody>
      </p:sp>
      <p:sp>
        <p:nvSpPr>
          <p:cNvPr id="46" name="Titel 1"/>
          <p:cNvSpPr txBox="1">
            <a:spLocks/>
          </p:cNvSpPr>
          <p:nvPr/>
        </p:nvSpPr>
        <p:spPr bwMode="auto">
          <a:xfrm>
            <a:off x="1116594" y="410307"/>
            <a:ext cx="7267615" cy="1697573"/>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algn="ctr" rtl="0" eaLnBrk="1" fontAlgn="base" hangingPunct="1">
              <a:lnSpc>
                <a:spcPct val="95000"/>
              </a:lnSpc>
              <a:spcBef>
                <a:spcPct val="0"/>
              </a:spcBef>
              <a:spcAft>
                <a:spcPct val="0"/>
              </a:spcAft>
              <a:defRPr sz="2200" b="1" baseline="0">
                <a:solidFill>
                  <a:schemeClr val="tx1"/>
                </a:solidFill>
                <a:latin typeface="+mj-lt"/>
                <a:ea typeface="+mj-ea"/>
                <a:cs typeface="+mj-cs"/>
              </a:defRPr>
            </a:lvl1pPr>
            <a:lvl2pPr algn="l" rtl="0" eaLnBrk="1" fontAlgn="base" hangingPunct="1">
              <a:spcBef>
                <a:spcPct val="0"/>
              </a:spcBef>
              <a:spcAft>
                <a:spcPct val="0"/>
              </a:spcAft>
              <a:defRPr sz="2000" b="1">
                <a:solidFill>
                  <a:schemeClr val="tx1"/>
                </a:solidFill>
                <a:latin typeface="Arial" charset="0"/>
              </a:defRPr>
            </a:lvl2pPr>
            <a:lvl3pPr algn="l" rtl="0" eaLnBrk="1" fontAlgn="base" hangingPunct="1">
              <a:spcBef>
                <a:spcPct val="0"/>
              </a:spcBef>
              <a:spcAft>
                <a:spcPct val="0"/>
              </a:spcAft>
              <a:defRPr sz="2000" b="1">
                <a:solidFill>
                  <a:schemeClr val="tx1"/>
                </a:solidFill>
                <a:latin typeface="Arial" charset="0"/>
              </a:defRPr>
            </a:lvl3pPr>
            <a:lvl4pPr algn="l" rtl="0" eaLnBrk="1" fontAlgn="base" hangingPunct="1">
              <a:spcBef>
                <a:spcPct val="0"/>
              </a:spcBef>
              <a:spcAft>
                <a:spcPct val="0"/>
              </a:spcAft>
              <a:defRPr sz="2000" b="1">
                <a:solidFill>
                  <a:schemeClr val="tx1"/>
                </a:solidFill>
                <a:latin typeface="Arial" charset="0"/>
              </a:defRPr>
            </a:lvl4pPr>
            <a:lvl5pPr algn="l" rtl="0" eaLnBrk="1" fontAlgn="base" hangingPunct="1">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000" b="1">
                <a:solidFill>
                  <a:schemeClr val="tx1"/>
                </a:solidFill>
                <a:latin typeface="Arial" charset="0"/>
              </a:defRPr>
            </a:lvl6pPr>
            <a:lvl7pPr marL="914400" algn="l" rtl="0" eaLnBrk="1" fontAlgn="base" hangingPunct="1">
              <a:spcBef>
                <a:spcPct val="0"/>
              </a:spcBef>
              <a:spcAft>
                <a:spcPct val="0"/>
              </a:spcAft>
              <a:defRPr sz="2000" b="1">
                <a:solidFill>
                  <a:schemeClr val="tx1"/>
                </a:solidFill>
                <a:latin typeface="Arial" charset="0"/>
              </a:defRPr>
            </a:lvl7pPr>
            <a:lvl8pPr marL="1371600" algn="l" rtl="0" eaLnBrk="1" fontAlgn="base" hangingPunct="1">
              <a:spcBef>
                <a:spcPct val="0"/>
              </a:spcBef>
              <a:spcAft>
                <a:spcPct val="0"/>
              </a:spcAft>
              <a:defRPr sz="2000" b="1">
                <a:solidFill>
                  <a:schemeClr val="tx1"/>
                </a:solidFill>
                <a:latin typeface="Arial" charset="0"/>
              </a:defRPr>
            </a:lvl8pPr>
            <a:lvl9pPr marL="1828800" algn="l" rtl="0" eaLnBrk="1" fontAlgn="base" hangingPunct="1">
              <a:spcBef>
                <a:spcPct val="0"/>
              </a:spcBef>
              <a:spcAft>
                <a:spcPct val="0"/>
              </a:spcAft>
              <a:defRPr sz="2000" b="1">
                <a:solidFill>
                  <a:schemeClr val="tx1"/>
                </a:solidFill>
                <a:latin typeface="Arial" charset="0"/>
              </a:defRPr>
            </a:lvl9pPr>
          </a:lstStyle>
          <a:p>
            <a:pPr marL="0" marR="0" lvl="0" indent="0" algn="ctr" defTabSz="844083" rtl="0" eaLnBrk="1" fontAlgn="base" latinLnBrk="0" hangingPunct="1">
              <a:lnSpc>
                <a:spcPct val="95000"/>
              </a:lnSpc>
              <a:spcBef>
                <a:spcPct val="0"/>
              </a:spcBef>
              <a:spcAft>
                <a:spcPct val="0"/>
              </a:spcAft>
              <a:buClrTx/>
              <a:buSzTx/>
              <a:buFontTx/>
              <a:buNone/>
              <a:tabLst/>
              <a:defRPr/>
            </a:pPr>
            <a:endParaRPr kumimoji="0" lang="de-DE" sz="1800" b="1" i="0" u="none" strike="noStrike" kern="120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0" marR="0" lvl="0" indent="0" algn="ctr" defTabSz="844083" rtl="0" eaLnBrk="1" fontAlgn="base" latinLnBrk="0" hangingPunct="1">
              <a:lnSpc>
                <a:spcPct val="95000"/>
              </a:lnSpc>
              <a:spcBef>
                <a:spcPct val="0"/>
              </a:spcBef>
              <a:spcAft>
                <a:spcPct val="0"/>
              </a:spcAft>
              <a:buClrTx/>
              <a:buSzTx/>
              <a:buFontTx/>
              <a:buNone/>
              <a:tabLst/>
              <a:defRPr/>
            </a:pPr>
            <a:r>
              <a:rPr lang="de-DE" sz="1800" dirty="0" smtClean="0">
                <a:solidFill>
                  <a:srgbClr val="000000"/>
                </a:solidFill>
                <a:latin typeface="Arial" panose="020B0604020202020204" pitchFamily="34" charset="0"/>
                <a:cs typeface="Arial" panose="020B0604020202020204" pitchFamily="34" charset="0"/>
              </a:rPr>
              <a:t>Ein </a:t>
            </a:r>
            <a:r>
              <a:rPr lang="de-DE" sz="1800" dirty="0" err="1" smtClean="0">
                <a:solidFill>
                  <a:srgbClr val="000000"/>
                </a:solidFill>
                <a:latin typeface="Arial" panose="020B0604020202020204" pitchFamily="34" charset="0"/>
                <a:cs typeface="Arial" panose="020B0604020202020204" pitchFamily="34" charset="0"/>
              </a:rPr>
              <a:t>bisschen</a:t>
            </a:r>
            <a:r>
              <a:rPr lang="de-DE" sz="1800" dirty="0" smtClean="0">
                <a:solidFill>
                  <a:srgbClr val="000000"/>
                </a:solidFill>
                <a:latin typeface="Arial" panose="020B0604020202020204" pitchFamily="34" charset="0"/>
                <a:cs typeface="Arial" panose="020B0604020202020204" pitchFamily="34" charset="0"/>
              </a:rPr>
              <a:t> Einblick in die Kommunikation ... </a:t>
            </a:r>
            <a:endParaRPr lang="de-DE" sz="1800" dirty="0">
              <a:solidFill>
                <a:srgbClr val="000000"/>
              </a:solidFill>
              <a:latin typeface="Arial" panose="020B0604020202020204" pitchFamily="34" charset="0"/>
              <a:cs typeface="Arial" panose="020B0604020202020204" pitchFamily="34" charset="0"/>
            </a:endParaRPr>
          </a:p>
          <a:p>
            <a:pPr marL="0" marR="0" lvl="0" indent="0" algn="ctr" defTabSz="844083" rtl="0" eaLnBrk="1" fontAlgn="base" latinLnBrk="0" hangingPunct="1">
              <a:lnSpc>
                <a:spcPct val="95000"/>
              </a:lnSpc>
              <a:spcBef>
                <a:spcPct val="0"/>
              </a:spcBef>
              <a:spcAft>
                <a:spcPct val="0"/>
              </a:spcAft>
              <a:buClrTx/>
              <a:buSzTx/>
              <a:buFontTx/>
              <a:buNone/>
              <a:tabLst/>
              <a:defRPr/>
            </a:pPr>
            <a:r>
              <a:rPr kumimoji="0" lang="de-DE" sz="1800" b="1" i="0" u="none" strike="noStrike" kern="120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Es </a:t>
            </a:r>
            <a:r>
              <a:rPr kumimoji="0" lang="de-DE" sz="18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kommt auf die Menschen an! </a:t>
            </a:r>
            <a:br>
              <a:rPr kumimoji="0" lang="de-DE" sz="18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de-DE" sz="18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timmt das</a:t>
            </a:r>
            <a:r>
              <a:rPr kumimoji="0" lang="de-DE" sz="1800" b="1" i="0" u="none" strike="noStrike" kern="120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a:t>
            </a:r>
          </a:p>
          <a:p>
            <a:pPr marL="0" marR="0" lvl="0" indent="0" algn="ctr" defTabSz="844083" rtl="0" eaLnBrk="1" fontAlgn="base" latinLnBrk="0" hangingPunct="1">
              <a:lnSpc>
                <a:spcPct val="95000"/>
              </a:lnSpc>
              <a:spcBef>
                <a:spcPct val="0"/>
              </a:spcBef>
              <a:spcAft>
                <a:spcPct val="0"/>
              </a:spcAft>
              <a:buClrTx/>
              <a:buSzTx/>
              <a:buFontTx/>
              <a:buNone/>
              <a:tabLst/>
              <a:defRPr/>
            </a:pPr>
            <a:r>
              <a:rPr lang="de-DE" sz="1800" dirty="0" smtClean="0">
                <a:solidFill>
                  <a:srgbClr val="000000"/>
                </a:solidFill>
                <a:latin typeface="Arial" panose="020B0604020202020204" pitchFamily="34" charset="0"/>
                <a:cs typeface="Arial" panose="020B0604020202020204" pitchFamily="34" charset="0"/>
              </a:rPr>
              <a:t>Nur zum Teil, denn es kommt noch mehr auf die Beziehungen zwischen den Menschen an ... </a:t>
            </a:r>
            <a:endParaRPr kumimoji="0" lang="de-DE" sz="1800" b="1" i="0" u="none" strike="noStrike" kern="120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a:p>
            <a:pPr marL="0" marR="0" lvl="0" indent="0" algn="ctr" defTabSz="844083" rtl="0" eaLnBrk="1" fontAlgn="base" latinLnBrk="0" hangingPunct="1">
              <a:lnSpc>
                <a:spcPct val="95000"/>
              </a:lnSpc>
              <a:spcBef>
                <a:spcPct val="0"/>
              </a:spcBef>
              <a:spcAft>
                <a:spcPct val="0"/>
              </a:spcAft>
              <a:buClrTx/>
              <a:buSzTx/>
              <a:buFontTx/>
              <a:buNone/>
              <a:tabLst/>
              <a:defRPr/>
            </a:pPr>
            <a:r>
              <a:rPr kumimoji="0" lang="de-DE" sz="2215"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
            </a:r>
            <a:br>
              <a:rPr kumimoji="0" lang="de-DE" sz="2215"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br>
            <a:endParaRPr kumimoji="0" lang="de-DE" sz="2215" b="1" i="0" u="none" strike="noStrike" kern="0" cap="none" spc="0" normalizeH="0" baseline="3000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pic>
        <p:nvPicPr>
          <p:cNvPr id="47" name="Grafik 4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90255" y="2257348"/>
            <a:ext cx="1675126" cy="1193659"/>
          </a:xfrm>
          <a:prstGeom prst="rect">
            <a:avLst/>
          </a:prstGeom>
        </p:spPr>
      </p:pic>
      <p:pic>
        <p:nvPicPr>
          <p:cNvPr id="48" name="Grafik 4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24047" y="2001829"/>
            <a:ext cx="1414388" cy="1433247"/>
          </a:xfrm>
          <a:prstGeom prst="rect">
            <a:avLst/>
          </a:prstGeom>
        </p:spPr>
      </p:pic>
      <p:pic>
        <p:nvPicPr>
          <p:cNvPr id="49" name="Grafik 48"/>
          <p:cNvPicPr>
            <a:picLocks noChangeAspect="1"/>
          </p:cNvPicPr>
          <p:nvPr/>
        </p:nvPicPr>
        <p:blipFill rotWithShape="1">
          <a:blip r:embed="rId8" cstate="print">
            <a:extLst>
              <a:ext uri="{28A0092B-C50C-407E-A947-70E740481C1C}">
                <a14:useLocalDpi xmlns:a14="http://schemas.microsoft.com/office/drawing/2010/main" val="0"/>
              </a:ext>
            </a:extLst>
          </a:blip>
          <a:srcRect l="75030"/>
          <a:stretch/>
        </p:blipFill>
        <p:spPr>
          <a:xfrm>
            <a:off x="7053865" y="1937947"/>
            <a:ext cx="1805768" cy="1627912"/>
          </a:xfrm>
          <a:prstGeom prst="rect">
            <a:avLst/>
          </a:prstGeom>
        </p:spPr>
      </p:pic>
      <p:grpSp>
        <p:nvGrpSpPr>
          <p:cNvPr id="50" name="Gruppieren 49"/>
          <p:cNvGrpSpPr/>
          <p:nvPr/>
        </p:nvGrpSpPr>
        <p:grpSpPr>
          <a:xfrm>
            <a:off x="1247334" y="3200711"/>
            <a:ext cx="1623356" cy="166154"/>
            <a:chOff x="938528" y="2617083"/>
            <a:chExt cx="1758636" cy="180000"/>
          </a:xfrm>
        </p:grpSpPr>
        <p:sp>
          <p:nvSpPr>
            <p:cNvPr id="51" name="Ellipse 50"/>
            <p:cNvSpPr/>
            <p:nvPr/>
          </p:nvSpPr>
          <p:spPr bwMode="auto">
            <a:xfrm>
              <a:off x="938528" y="2617083"/>
              <a:ext cx="180000" cy="180000"/>
            </a:xfrm>
            <a:prstGeom prst="ellipse">
              <a:avLst/>
            </a:prstGeom>
            <a:solidFill>
              <a:srgbClr val="8C5B9D"/>
            </a:solidFill>
            <a:ln w="9525" cap="flat" cmpd="sng" algn="ctr">
              <a:noFill/>
              <a:prstDash val="solid"/>
              <a:round/>
              <a:headEnd type="none" w="med" len="med"/>
              <a:tailEnd type="none" w="med" len="med"/>
            </a:ln>
            <a:effectLst/>
            <a:scene3d>
              <a:camera prst="orthographicFront"/>
              <a:lightRig rig="soft" dir="t"/>
            </a:scene3d>
            <a:sp3d>
              <a:bevelT w="88900" h="88900"/>
            </a:sp3d>
          </p:spPr>
          <p:txBody>
            <a:bodyPr vert="horz" wrap="square" lIns="33231" tIns="43200" rIns="33231" bIns="43200" numCol="1" rtlCol="0" anchor="ctr" anchorCtr="0" compatLnSpc="1">
              <a:prstTxWarp prst="textNoShape">
                <a:avLst/>
              </a:prstTxWarp>
            </a:bodyPr>
            <a:lstStyle/>
            <a:p>
              <a:pPr marL="0" marR="0" lvl="0" indent="0" algn="ctr" defTabSz="844083" rtl="0" eaLnBrk="1" fontAlgn="base" latinLnBrk="0" hangingPunct="1">
                <a:lnSpc>
                  <a:spcPct val="100000"/>
                </a:lnSpc>
                <a:spcBef>
                  <a:spcPts val="0"/>
                </a:spcBef>
                <a:spcAft>
                  <a:spcPts val="0"/>
                </a:spcAft>
                <a:buClrTx/>
                <a:buSzTx/>
                <a:buFontTx/>
                <a:buNone/>
                <a:tabLst/>
                <a:defRPr/>
              </a:pPr>
              <a:endParaRPr kumimoji="0" lang="de-DE" sz="1108" b="1" i="0" u="none" strike="noStrike" kern="1200" cap="none" spc="0" normalizeH="0" baseline="0" noProof="0" dirty="0">
                <a:ln>
                  <a:noFill/>
                </a:ln>
                <a:solidFill>
                  <a:srgbClr val="FFFFFF"/>
                </a:solidFill>
                <a:effectLst/>
                <a:uLnTx/>
                <a:uFillTx/>
                <a:latin typeface="Calibri"/>
                <a:ea typeface="+mn-ea"/>
                <a:cs typeface="Arial" charset="0"/>
              </a:endParaRPr>
            </a:p>
          </p:txBody>
        </p:sp>
        <p:sp>
          <p:nvSpPr>
            <p:cNvPr id="52" name="Ellipse 51"/>
            <p:cNvSpPr/>
            <p:nvPr/>
          </p:nvSpPr>
          <p:spPr bwMode="auto">
            <a:xfrm>
              <a:off x="1333187" y="2617083"/>
              <a:ext cx="180000" cy="180000"/>
            </a:xfrm>
            <a:prstGeom prst="ellipse">
              <a:avLst/>
            </a:prstGeom>
            <a:solidFill>
              <a:srgbClr val="65B8DC"/>
            </a:solidFill>
            <a:ln w="9525" cap="flat" cmpd="sng" algn="ctr">
              <a:noFill/>
              <a:prstDash val="solid"/>
              <a:round/>
              <a:headEnd type="none" w="med" len="med"/>
              <a:tailEnd type="none" w="med" len="med"/>
            </a:ln>
            <a:effectLst/>
            <a:scene3d>
              <a:camera prst="orthographicFront"/>
              <a:lightRig rig="soft" dir="t"/>
            </a:scene3d>
            <a:sp3d>
              <a:bevelT w="88900" h="88900"/>
            </a:sp3d>
          </p:spPr>
          <p:txBody>
            <a:bodyPr vert="horz" wrap="square" lIns="33231" tIns="43200" rIns="33231" bIns="43200" numCol="1" rtlCol="0" anchor="ctr" anchorCtr="0" compatLnSpc="1">
              <a:prstTxWarp prst="textNoShape">
                <a:avLst/>
              </a:prstTxWarp>
            </a:bodyPr>
            <a:lstStyle/>
            <a:p>
              <a:pPr marL="0" marR="0" lvl="0" indent="0" algn="ctr" defTabSz="844083" rtl="0" eaLnBrk="1" fontAlgn="base" latinLnBrk="0" hangingPunct="1">
                <a:lnSpc>
                  <a:spcPct val="100000"/>
                </a:lnSpc>
                <a:spcBef>
                  <a:spcPts val="0"/>
                </a:spcBef>
                <a:spcAft>
                  <a:spcPts val="0"/>
                </a:spcAft>
                <a:buClrTx/>
                <a:buSzTx/>
                <a:buFontTx/>
                <a:buNone/>
                <a:tabLst/>
                <a:defRPr/>
              </a:pPr>
              <a:endParaRPr kumimoji="0" lang="de-DE" sz="1108" b="1" i="0" u="none" strike="noStrike" kern="1200" cap="none" spc="0" normalizeH="0" baseline="0" noProof="0" dirty="0">
                <a:ln>
                  <a:noFill/>
                </a:ln>
                <a:solidFill>
                  <a:srgbClr val="FFFFFF"/>
                </a:solidFill>
                <a:effectLst/>
                <a:uLnTx/>
                <a:uFillTx/>
                <a:latin typeface="Calibri"/>
                <a:ea typeface="+mn-ea"/>
                <a:cs typeface="Arial" charset="0"/>
              </a:endParaRPr>
            </a:p>
          </p:txBody>
        </p:sp>
        <p:sp>
          <p:nvSpPr>
            <p:cNvPr id="53" name="Ellipse 52"/>
            <p:cNvSpPr/>
            <p:nvPr/>
          </p:nvSpPr>
          <p:spPr bwMode="auto">
            <a:xfrm>
              <a:off x="1727846" y="2617083"/>
              <a:ext cx="180000" cy="180000"/>
            </a:xfrm>
            <a:prstGeom prst="ellipse">
              <a:avLst/>
            </a:prstGeom>
            <a:solidFill>
              <a:srgbClr val="E64546"/>
            </a:solidFill>
            <a:ln w="9525" cap="flat" cmpd="sng" algn="ctr">
              <a:noFill/>
              <a:prstDash val="solid"/>
              <a:round/>
              <a:headEnd type="none" w="med" len="med"/>
              <a:tailEnd type="none" w="med" len="med"/>
            </a:ln>
            <a:effectLst/>
            <a:scene3d>
              <a:camera prst="orthographicFront"/>
              <a:lightRig rig="soft" dir="t"/>
            </a:scene3d>
            <a:sp3d>
              <a:bevelT w="88900" h="88900"/>
            </a:sp3d>
          </p:spPr>
          <p:txBody>
            <a:bodyPr vert="horz" wrap="square" lIns="33231" tIns="43200" rIns="33231" bIns="43200" numCol="1" rtlCol="0" anchor="ctr" anchorCtr="0" compatLnSpc="1">
              <a:prstTxWarp prst="textNoShape">
                <a:avLst/>
              </a:prstTxWarp>
            </a:bodyPr>
            <a:lstStyle/>
            <a:p>
              <a:pPr marL="0" marR="0" lvl="0" indent="0" algn="ctr" defTabSz="844083" rtl="0" eaLnBrk="1" fontAlgn="base" latinLnBrk="0" hangingPunct="1">
                <a:lnSpc>
                  <a:spcPct val="100000"/>
                </a:lnSpc>
                <a:spcBef>
                  <a:spcPts val="0"/>
                </a:spcBef>
                <a:spcAft>
                  <a:spcPts val="0"/>
                </a:spcAft>
                <a:buClrTx/>
                <a:buSzTx/>
                <a:buFontTx/>
                <a:buNone/>
                <a:tabLst/>
                <a:defRPr/>
              </a:pPr>
              <a:endParaRPr kumimoji="0" lang="de-DE" sz="1108" b="1" i="0" u="none" strike="noStrike" kern="1200" cap="none" spc="0" normalizeH="0" baseline="0" noProof="0" dirty="0">
                <a:ln>
                  <a:noFill/>
                </a:ln>
                <a:solidFill>
                  <a:srgbClr val="FFFFFF"/>
                </a:solidFill>
                <a:effectLst/>
                <a:uLnTx/>
                <a:uFillTx/>
                <a:latin typeface="Calibri"/>
                <a:ea typeface="+mn-ea"/>
                <a:cs typeface="Arial" charset="0"/>
              </a:endParaRPr>
            </a:p>
          </p:txBody>
        </p:sp>
        <p:sp>
          <p:nvSpPr>
            <p:cNvPr id="54" name="Ellipse 53"/>
            <p:cNvSpPr/>
            <p:nvPr/>
          </p:nvSpPr>
          <p:spPr bwMode="auto">
            <a:xfrm>
              <a:off x="2122505" y="2617083"/>
              <a:ext cx="180000" cy="180000"/>
            </a:xfrm>
            <a:prstGeom prst="ellipse">
              <a:avLst/>
            </a:prstGeom>
            <a:solidFill>
              <a:srgbClr val="FFFF00"/>
            </a:solidFill>
            <a:ln w="9525" cap="flat" cmpd="sng" algn="ctr">
              <a:noFill/>
              <a:prstDash val="solid"/>
              <a:round/>
              <a:headEnd type="none" w="med" len="med"/>
              <a:tailEnd type="none" w="med" len="med"/>
            </a:ln>
            <a:effectLst/>
            <a:scene3d>
              <a:camera prst="orthographicFront"/>
              <a:lightRig rig="soft" dir="t"/>
            </a:scene3d>
            <a:sp3d>
              <a:bevelT w="88900" h="88900"/>
            </a:sp3d>
          </p:spPr>
          <p:txBody>
            <a:bodyPr vert="horz" wrap="square" lIns="33231" tIns="43200" rIns="33231" bIns="43200" numCol="1" rtlCol="0" anchor="ctr" anchorCtr="0" compatLnSpc="1">
              <a:prstTxWarp prst="textNoShape">
                <a:avLst/>
              </a:prstTxWarp>
            </a:bodyPr>
            <a:lstStyle/>
            <a:p>
              <a:pPr marL="0" marR="0" lvl="0" indent="0" algn="ctr" defTabSz="844083" rtl="0" eaLnBrk="1" fontAlgn="base" latinLnBrk="0" hangingPunct="1">
                <a:lnSpc>
                  <a:spcPct val="100000"/>
                </a:lnSpc>
                <a:spcBef>
                  <a:spcPts val="0"/>
                </a:spcBef>
                <a:spcAft>
                  <a:spcPts val="0"/>
                </a:spcAft>
                <a:buClrTx/>
                <a:buSzTx/>
                <a:buFontTx/>
                <a:buNone/>
                <a:tabLst/>
                <a:defRPr/>
              </a:pPr>
              <a:endParaRPr kumimoji="0" lang="de-DE" sz="1108" b="1" i="0" u="none" strike="noStrike" kern="1200" cap="none" spc="0" normalizeH="0" baseline="0" noProof="0" dirty="0">
                <a:ln>
                  <a:noFill/>
                </a:ln>
                <a:solidFill>
                  <a:srgbClr val="FFFFFF"/>
                </a:solidFill>
                <a:effectLst/>
                <a:uLnTx/>
                <a:uFillTx/>
                <a:latin typeface="Calibri"/>
                <a:ea typeface="+mn-ea"/>
                <a:cs typeface="Arial" charset="0"/>
              </a:endParaRPr>
            </a:p>
          </p:txBody>
        </p:sp>
        <p:sp>
          <p:nvSpPr>
            <p:cNvPr id="73" name="Ellipse 72"/>
            <p:cNvSpPr/>
            <p:nvPr/>
          </p:nvSpPr>
          <p:spPr bwMode="auto">
            <a:xfrm>
              <a:off x="2517164" y="2617083"/>
              <a:ext cx="180000" cy="180000"/>
            </a:xfrm>
            <a:prstGeom prst="ellipse">
              <a:avLst/>
            </a:prstGeom>
            <a:solidFill>
              <a:srgbClr val="8C4D0E"/>
            </a:solidFill>
            <a:ln w="9525" cap="flat" cmpd="sng" algn="ctr">
              <a:noFill/>
              <a:prstDash val="solid"/>
              <a:round/>
              <a:headEnd type="none" w="med" len="med"/>
              <a:tailEnd type="none" w="med" len="med"/>
            </a:ln>
            <a:effectLst/>
            <a:scene3d>
              <a:camera prst="orthographicFront"/>
              <a:lightRig rig="soft" dir="t"/>
            </a:scene3d>
            <a:sp3d>
              <a:bevelT w="88900" h="88900"/>
            </a:sp3d>
          </p:spPr>
          <p:txBody>
            <a:bodyPr vert="horz" wrap="square" lIns="33231" tIns="43200" rIns="33231" bIns="43200" numCol="1" rtlCol="0" anchor="ctr" anchorCtr="0" compatLnSpc="1">
              <a:prstTxWarp prst="textNoShape">
                <a:avLst/>
              </a:prstTxWarp>
            </a:bodyPr>
            <a:lstStyle/>
            <a:p>
              <a:pPr marL="0" marR="0" lvl="0" indent="0" algn="ctr" defTabSz="844083" rtl="0" eaLnBrk="1" fontAlgn="base" latinLnBrk="0" hangingPunct="1">
                <a:lnSpc>
                  <a:spcPct val="100000"/>
                </a:lnSpc>
                <a:spcBef>
                  <a:spcPts val="0"/>
                </a:spcBef>
                <a:spcAft>
                  <a:spcPts val="0"/>
                </a:spcAft>
                <a:buClrTx/>
                <a:buSzTx/>
                <a:buFontTx/>
                <a:buNone/>
                <a:tabLst/>
                <a:defRPr/>
              </a:pPr>
              <a:endParaRPr kumimoji="0" lang="de-DE" sz="1108" b="1" i="0" u="none" strike="noStrike" kern="1200" cap="none" spc="0" normalizeH="0" baseline="0" noProof="0" dirty="0">
                <a:ln>
                  <a:noFill/>
                </a:ln>
                <a:solidFill>
                  <a:srgbClr val="FFFFFF"/>
                </a:solidFill>
                <a:effectLst/>
                <a:uLnTx/>
                <a:uFillTx/>
                <a:latin typeface="Calibri"/>
                <a:ea typeface="+mn-ea"/>
                <a:cs typeface="Arial" charset="0"/>
              </a:endParaRPr>
            </a:p>
          </p:txBody>
        </p:sp>
        <p:cxnSp>
          <p:nvCxnSpPr>
            <p:cNvPr id="74" name="Gerade Verbindung mit Pfeil 118"/>
            <p:cNvCxnSpPr>
              <a:stCxn id="52" idx="2"/>
              <a:endCxn id="51" idx="6"/>
            </p:cNvCxnSpPr>
            <p:nvPr/>
          </p:nvCxnSpPr>
          <p:spPr bwMode="auto">
            <a:xfrm flipH="1">
              <a:off x="1118528" y="2707083"/>
              <a:ext cx="214659" cy="0"/>
            </a:xfrm>
            <a:prstGeom prst="straightConnector1">
              <a:avLst/>
            </a:prstGeom>
            <a:solidFill>
              <a:schemeClr val="accent1"/>
            </a:solidFill>
            <a:ln w="9525" cap="flat" cmpd="sng" algn="ctr">
              <a:solidFill>
                <a:schemeClr val="accent4"/>
              </a:solidFill>
              <a:prstDash val="solid"/>
              <a:round/>
              <a:headEnd type="triangle" w="sm" len="lg"/>
              <a:tailEnd type="none" w="sm" len="lg"/>
            </a:ln>
            <a:effectLst/>
          </p:spPr>
        </p:cxnSp>
        <p:cxnSp>
          <p:nvCxnSpPr>
            <p:cNvPr id="75" name="Gerade Verbindung mit Pfeil 118"/>
            <p:cNvCxnSpPr>
              <a:stCxn id="53" idx="2"/>
              <a:endCxn id="52" idx="6"/>
            </p:cNvCxnSpPr>
            <p:nvPr/>
          </p:nvCxnSpPr>
          <p:spPr bwMode="auto">
            <a:xfrm flipH="1">
              <a:off x="1513187" y="2707083"/>
              <a:ext cx="214659" cy="0"/>
            </a:xfrm>
            <a:prstGeom prst="straightConnector1">
              <a:avLst/>
            </a:prstGeom>
            <a:solidFill>
              <a:schemeClr val="accent1"/>
            </a:solidFill>
            <a:ln w="9525" cap="flat" cmpd="sng" algn="ctr">
              <a:solidFill>
                <a:schemeClr val="accent4"/>
              </a:solidFill>
              <a:prstDash val="solid"/>
              <a:round/>
              <a:headEnd type="triangle" w="sm" len="lg"/>
              <a:tailEnd type="none" w="sm" len="lg"/>
            </a:ln>
            <a:effectLst/>
          </p:spPr>
        </p:cxnSp>
        <p:cxnSp>
          <p:nvCxnSpPr>
            <p:cNvPr id="76" name="Gerade Verbindung mit Pfeil 118"/>
            <p:cNvCxnSpPr>
              <a:stCxn id="54" idx="2"/>
              <a:endCxn id="53" idx="6"/>
            </p:cNvCxnSpPr>
            <p:nvPr/>
          </p:nvCxnSpPr>
          <p:spPr bwMode="auto">
            <a:xfrm flipH="1">
              <a:off x="1907846" y="2707083"/>
              <a:ext cx="214659" cy="0"/>
            </a:xfrm>
            <a:prstGeom prst="straightConnector1">
              <a:avLst/>
            </a:prstGeom>
            <a:solidFill>
              <a:schemeClr val="accent1"/>
            </a:solidFill>
            <a:ln w="9525" cap="flat" cmpd="sng" algn="ctr">
              <a:solidFill>
                <a:schemeClr val="accent4"/>
              </a:solidFill>
              <a:prstDash val="solid"/>
              <a:round/>
              <a:headEnd type="triangle" w="sm" len="lg"/>
              <a:tailEnd type="none" w="sm" len="lg"/>
            </a:ln>
            <a:effectLst/>
          </p:spPr>
        </p:cxnSp>
        <p:cxnSp>
          <p:nvCxnSpPr>
            <p:cNvPr id="77" name="Gerade Verbindung mit Pfeil 118"/>
            <p:cNvCxnSpPr>
              <a:stCxn id="73" idx="2"/>
              <a:endCxn id="54" idx="6"/>
            </p:cNvCxnSpPr>
            <p:nvPr/>
          </p:nvCxnSpPr>
          <p:spPr bwMode="auto">
            <a:xfrm flipH="1">
              <a:off x="2302505" y="2707083"/>
              <a:ext cx="214659" cy="0"/>
            </a:xfrm>
            <a:prstGeom prst="straightConnector1">
              <a:avLst/>
            </a:prstGeom>
            <a:solidFill>
              <a:schemeClr val="accent1"/>
            </a:solidFill>
            <a:ln w="9525" cap="flat" cmpd="sng" algn="ctr">
              <a:solidFill>
                <a:schemeClr val="accent4"/>
              </a:solidFill>
              <a:prstDash val="solid"/>
              <a:round/>
              <a:headEnd type="triangle" w="sm" len="lg"/>
              <a:tailEnd type="none" w="sm" len="lg"/>
            </a:ln>
            <a:effectLst/>
          </p:spPr>
        </p:cxnSp>
      </p:grpSp>
      <p:grpSp>
        <p:nvGrpSpPr>
          <p:cNvPr id="24" name="Gruppieren 23"/>
          <p:cNvGrpSpPr/>
          <p:nvPr/>
        </p:nvGrpSpPr>
        <p:grpSpPr>
          <a:xfrm>
            <a:off x="189734" y="510488"/>
            <a:ext cx="1504978" cy="940955"/>
            <a:chOff x="174051" y="735480"/>
            <a:chExt cx="1630393" cy="1019368"/>
          </a:xfrm>
        </p:grpSpPr>
        <p:sp>
          <p:nvSpPr>
            <p:cNvPr id="25" name="Abgerundetes Rechteck 24"/>
            <p:cNvSpPr/>
            <p:nvPr/>
          </p:nvSpPr>
          <p:spPr bwMode="auto">
            <a:xfrm>
              <a:off x="174051" y="735480"/>
              <a:ext cx="1630393" cy="1019368"/>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33231" tIns="43200" rIns="33231" bIns="43200" numCol="1" rtlCol="0" anchor="ctr" anchorCtr="0" compatLnSpc="1">
              <a:prstTxWarp prst="textNoShape">
                <a:avLst/>
              </a:prstTxWarp>
            </a:bodyPr>
            <a:lstStyle/>
            <a:p>
              <a:pPr marL="0" marR="0" lvl="0" indent="0" algn="ctr" defTabSz="844083" rtl="0" eaLnBrk="0" fontAlgn="base" latinLnBrk="0" hangingPunct="0">
                <a:lnSpc>
                  <a:spcPct val="100000"/>
                </a:lnSpc>
                <a:spcBef>
                  <a:spcPts val="0"/>
                </a:spcBef>
                <a:spcAft>
                  <a:spcPts val="0"/>
                </a:spcAft>
                <a:buClrTx/>
                <a:buSzTx/>
                <a:buFontTx/>
                <a:buNone/>
                <a:tabLst/>
                <a:defRPr/>
              </a:pPr>
              <a:endParaRPr kumimoji="0" lang="en-GB" sz="1108" b="1" i="0" u="none" strike="noStrike" kern="1200" cap="none" spc="0" normalizeH="0" baseline="0" noProof="0" dirty="0" err="1">
                <a:ln>
                  <a:noFill/>
                </a:ln>
                <a:solidFill>
                  <a:srgbClr val="000000"/>
                </a:solidFill>
                <a:effectLst/>
                <a:uLnTx/>
                <a:uFillTx/>
                <a:latin typeface="Calibri"/>
                <a:ea typeface="+mn-ea"/>
                <a:cs typeface="+mn-cs"/>
              </a:endParaRPr>
            </a:p>
          </p:txBody>
        </p:sp>
        <p:pic>
          <p:nvPicPr>
            <p:cNvPr id="26" name="Grafik 25"/>
            <p:cNvPicPr>
              <a:picLocks noChangeAspect="1"/>
            </p:cNvPicPr>
            <p:nvPr/>
          </p:nvPicPr>
          <p:blipFill>
            <a:blip r:embed="rId9"/>
            <a:stretch>
              <a:fillRect/>
            </a:stretch>
          </p:blipFill>
          <p:spPr>
            <a:xfrm>
              <a:off x="281782" y="797762"/>
              <a:ext cx="1414929" cy="957086"/>
            </a:xfrm>
            <a:prstGeom prst="rect">
              <a:avLst/>
            </a:prstGeom>
          </p:spPr>
        </p:pic>
      </p:grpSp>
    </p:spTree>
    <p:extLst>
      <p:ext uri="{BB962C8B-B14F-4D97-AF65-F5344CB8AC3E}">
        <p14:creationId xmlns:p14="http://schemas.microsoft.com/office/powerpoint/2010/main" val="5952860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fade">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8" presetClass="emph" presetSubtype="0" fill="hold" nodeType="clickEffect">
                                  <p:stCondLst>
                                    <p:cond delay="0"/>
                                  </p:stCondLst>
                                  <p:childTnLst>
                                    <p:animRot by="5400000">
                                      <p:cBhvr>
                                        <p:cTn id="16" dur="2000" fill="hold"/>
                                        <p:tgtEl>
                                          <p:spTgt spid="50"/>
                                        </p:tgtEl>
                                        <p:attrNameLst>
                                          <p:attrName>r</p:attrName>
                                        </p:attrNameLst>
                                      </p:cBhvr>
                                    </p:animRot>
                                  </p:childTnLst>
                                </p:cTn>
                              </p:par>
                              <p:par>
                                <p:cTn id="17" presetID="42" presetClass="path" presetSubtype="0" fill="hold" nodeType="withEffect">
                                  <p:stCondLst>
                                    <p:cond delay="0"/>
                                  </p:stCondLst>
                                  <p:childTnLst>
                                    <p:animMotion origin="layout" path="M -3.58974E-6 -3.33333E-6 L -0.00176 0.02061 " pathEditMode="relative" rAng="0" ptsTypes="AA">
                                      <p:cBhvr>
                                        <p:cTn id="18" dur="2000" fill="hold"/>
                                        <p:tgtEl>
                                          <p:spTgt spid="50"/>
                                        </p:tgtEl>
                                        <p:attrNameLst>
                                          <p:attrName>ppt_x</p:attrName>
                                          <p:attrName>ppt_y</p:attrName>
                                        </p:attrNameLst>
                                      </p:cBhvr>
                                      <p:rCtr x="-96" y="1019"/>
                                    </p:animMotion>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fade">
                                      <p:cBhvr>
                                        <p:cTn id="23" dur="500"/>
                                        <p:tgtEl>
                                          <p:spTgt spid="47"/>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68"/>
                                        </p:tgtEl>
                                        <p:attrNameLst>
                                          <p:attrName>style.visibility</p:attrName>
                                        </p:attrNameLst>
                                      </p:cBhvr>
                                      <p:to>
                                        <p:strVal val="visible"/>
                                      </p:to>
                                    </p:set>
                                    <p:animEffect transition="in" filter="fade">
                                      <p:cBhvr>
                                        <p:cTn id="28" dur="500"/>
                                        <p:tgtEl>
                                          <p:spTgt spid="6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8"/>
                                        </p:tgtEl>
                                        <p:attrNameLst>
                                          <p:attrName>style.visibility</p:attrName>
                                        </p:attrNameLst>
                                      </p:cBhvr>
                                      <p:to>
                                        <p:strVal val="visible"/>
                                      </p:to>
                                    </p:set>
                                    <p:animEffect transition="in" filter="fade">
                                      <p:cBhvr>
                                        <p:cTn id="33" dur="500"/>
                                        <p:tgtEl>
                                          <p:spTgt spid="48"/>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87"/>
                                        </p:tgtEl>
                                        <p:attrNameLst>
                                          <p:attrName>style.visibility</p:attrName>
                                        </p:attrNameLst>
                                      </p:cBhvr>
                                      <p:to>
                                        <p:strVal val="visible"/>
                                      </p:to>
                                    </p:set>
                                    <p:animEffect transition="in" filter="fade">
                                      <p:cBhvr>
                                        <p:cTn id="38" dur="500"/>
                                        <p:tgtEl>
                                          <p:spTgt spid="87"/>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49"/>
                                        </p:tgtEl>
                                        <p:attrNameLst>
                                          <p:attrName>style.visibility</p:attrName>
                                        </p:attrNameLst>
                                      </p:cBhvr>
                                      <p:to>
                                        <p:strVal val="visible"/>
                                      </p:to>
                                    </p:set>
                                    <p:animEffect transition="in" filter="fade">
                                      <p:cBhvr>
                                        <p:cTn id="43" dur="500"/>
                                        <p:tgtEl>
                                          <p:spTgt spid="49"/>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66"/>
                                        </p:tgtEl>
                                        <p:attrNameLst>
                                          <p:attrName>style.visibility</p:attrName>
                                        </p:attrNameLst>
                                      </p:cBhvr>
                                      <p:to>
                                        <p:strVal val="visible"/>
                                      </p:to>
                                    </p:set>
                                    <p:animEffect transition="in" filter="fade">
                                      <p:cBhvr>
                                        <p:cTn id="48"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66" grpId="0"/>
      <p:bldP spid="68" grpId="0"/>
      <p:bldP spid="87"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ihandform 16"/>
          <p:cNvSpPr/>
          <p:nvPr/>
        </p:nvSpPr>
        <p:spPr bwMode="auto">
          <a:xfrm rot="616634">
            <a:off x="2128327" y="3561347"/>
            <a:ext cx="1333361" cy="442894"/>
          </a:xfrm>
          <a:custGeom>
            <a:avLst/>
            <a:gdLst>
              <a:gd name="connsiteX0" fmla="*/ 0 w 2969537"/>
              <a:gd name="connsiteY0" fmla="*/ 54321 h 290184"/>
              <a:gd name="connsiteX1" fmla="*/ 1466662 w 2969537"/>
              <a:gd name="connsiteY1" fmla="*/ 289711 h 290184"/>
              <a:gd name="connsiteX2" fmla="*/ 2969537 w 2969537"/>
              <a:gd name="connsiteY2" fmla="*/ 0 h 290184"/>
              <a:gd name="connsiteX0" fmla="*/ 0 w 2969537"/>
              <a:gd name="connsiteY0" fmla="*/ 54321 h 290184"/>
              <a:gd name="connsiteX1" fmla="*/ 1466662 w 2969537"/>
              <a:gd name="connsiteY1" fmla="*/ 289711 h 290184"/>
              <a:gd name="connsiteX2" fmla="*/ 2969537 w 2969537"/>
              <a:gd name="connsiteY2" fmla="*/ 0 h 290184"/>
              <a:gd name="connsiteX0" fmla="*/ 0 w 2969537"/>
              <a:gd name="connsiteY0" fmla="*/ 54321 h 290259"/>
              <a:gd name="connsiteX1" fmla="*/ 1466662 w 2969537"/>
              <a:gd name="connsiteY1" fmla="*/ 289711 h 290259"/>
              <a:gd name="connsiteX2" fmla="*/ 2969537 w 2969537"/>
              <a:gd name="connsiteY2" fmla="*/ 0 h 290259"/>
              <a:gd name="connsiteX0" fmla="*/ 0 w 3064235"/>
              <a:gd name="connsiteY0" fmla="*/ 164146 h 293691"/>
              <a:gd name="connsiteX1" fmla="*/ 1561360 w 3064235"/>
              <a:gd name="connsiteY1" fmla="*/ 289711 h 293691"/>
              <a:gd name="connsiteX2" fmla="*/ 3064235 w 3064235"/>
              <a:gd name="connsiteY2" fmla="*/ 0 h 293691"/>
              <a:gd name="connsiteX0" fmla="*/ 0 w 3060447"/>
              <a:gd name="connsiteY0" fmla="*/ 148457 h 292139"/>
              <a:gd name="connsiteX1" fmla="*/ 1557572 w 3060447"/>
              <a:gd name="connsiteY1" fmla="*/ 289711 h 292139"/>
              <a:gd name="connsiteX2" fmla="*/ 3060447 w 3060447"/>
              <a:gd name="connsiteY2" fmla="*/ 0 h 292139"/>
              <a:gd name="connsiteX0" fmla="*/ 0 w 3060447"/>
              <a:gd name="connsiteY0" fmla="*/ 148457 h 291360"/>
              <a:gd name="connsiteX1" fmla="*/ 1557572 w 3060447"/>
              <a:gd name="connsiteY1" fmla="*/ 289711 h 291360"/>
              <a:gd name="connsiteX2" fmla="*/ 3060447 w 3060447"/>
              <a:gd name="connsiteY2" fmla="*/ 0 h 291360"/>
              <a:gd name="connsiteX0" fmla="*/ 0 w 3060447"/>
              <a:gd name="connsiteY0" fmla="*/ 148457 h 291360"/>
              <a:gd name="connsiteX1" fmla="*/ 1557572 w 3060447"/>
              <a:gd name="connsiteY1" fmla="*/ 289711 h 291360"/>
              <a:gd name="connsiteX2" fmla="*/ 3060447 w 3060447"/>
              <a:gd name="connsiteY2" fmla="*/ 0 h 291360"/>
              <a:gd name="connsiteX0" fmla="*/ 0 w 3060447"/>
              <a:gd name="connsiteY0" fmla="*/ 148457 h 279438"/>
              <a:gd name="connsiteX1" fmla="*/ 1515904 w 3060447"/>
              <a:gd name="connsiteY1" fmla="*/ 277159 h 279438"/>
              <a:gd name="connsiteX2" fmla="*/ 3060447 w 3060447"/>
              <a:gd name="connsiteY2" fmla="*/ 0 h 279438"/>
              <a:gd name="connsiteX0" fmla="*/ 0 w 3068023"/>
              <a:gd name="connsiteY0" fmla="*/ 148457 h 279438"/>
              <a:gd name="connsiteX1" fmla="*/ 1515904 w 3068023"/>
              <a:gd name="connsiteY1" fmla="*/ 277159 h 279438"/>
              <a:gd name="connsiteX2" fmla="*/ 3068023 w 3068023"/>
              <a:gd name="connsiteY2" fmla="*/ 0 h 279438"/>
              <a:gd name="connsiteX0" fmla="*/ 0 w 3056660"/>
              <a:gd name="connsiteY0" fmla="*/ 156301 h 280048"/>
              <a:gd name="connsiteX1" fmla="*/ 1504541 w 3056660"/>
              <a:gd name="connsiteY1" fmla="*/ 277159 h 280048"/>
              <a:gd name="connsiteX2" fmla="*/ 3056660 w 3056660"/>
              <a:gd name="connsiteY2" fmla="*/ 0 h 280048"/>
            </a:gdLst>
            <a:ahLst/>
            <a:cxnLst>
              <a:cxn ang="0">
                <a:pos x="connsiteX0" y="connsiteY0"/>
              </a:cxn>
              <a:cxn ang="0">
                <a:pos x="connsiteX1" y="connsiteY1"/>
              </a:cxn>
              <a:cxn ang="0">
                <a:pos x="connsiteX2" y="connsiteY2"/>
              </a:cxn>
            </a:cxnLst>
            <a:rect l="l" t="t" r="r" b="b"/>
            <a:pathLst>
              <a:path w="3056660" h="280048">
                <a:moveTo>
                  <a:pt x="0" y="156301"/>
                </a:moveTo>
                <a:cubicBezTo>
                  <a:pt x="592119" y="280941"/>
                  <a:pt x="1009618" y="286213"/>
                  <a:pt x="1504541" y="277159"/>
                </a:cubicBezTo>
                <a:cubicBezTo>
                  <a:pt x="1999464" y="268106"/>
                  <a:pt x="2765440" y="114677"/>
                  <a:pt x="3056660" y="0"/>
                </a:cubicBezTo>
              </a:path>
            </a:pathLst>
          </a:custGeom>
          <a:noFill/>
          <a:ln w="19050" cap="rnd" cmpd="sng" algn="ctr">
            <a:solidFill>
              <a:schemeClr val="bg2"/>
            </a:solidFill>
            <a:prstDash val="solid"/>
            <a:round/>
            <a:headEnd type="triangle" w="med" len="med"/>
            <a:tailEnd type="none" w="med" len="med"/>
          </a:ln>
          <a:effectLst/>
        </p:spPr>
        <p:txBody>
          <a:bodyPr rtlCol="0" anchor="ctr">
            <a:noAutofit/>
          </a:bodyPr>
          <a:lstStyle/>
          <a:p>
            <a:pPr marL="0" marR="0" lvl="0" indent="0" algn="ctr" defTabSz="844083" rtl="0" eaLnBrk="0" fontAlgn="base" latinLnBrk="0" hangingPunct="0">
              <a:lnSpc>
                <a:spcPct val="100000"/>
              </a:lnSpc>
              <a:spcBef>
                <a:spcPct val="0"/>
              </a:spcBef>
              <a:spcAft>
                <a:spcPct val="20000"/>
              </a:spcAft>
              <a:buClrTx/>
              <a:buSzTx/>
              <a:buFontTx/>
              <a:buNone/>
              <a:tabLst/>
              <a:defRPr/>
            </a:pPr>
            <a:endParaRPr kumimoji="0" lang="de-CH" sz="1477" b="0" i="0" u="none" strike="noStrike" kern="1200" cap="none" spc="0" normalizeH="0" baseline="0" noProof="0" dirty="0">
              <a:ln>
                <a:noFill/>
              </a:ln>
              <a:solidFill>
                <a:srgbClr val="0E3666"/>
              </a:solidFill>
              <a:effectLst/>
              <a:uLnTx/>
              <a:uFillTx/>
              <a:latin typeface="Arial" charset="0"/>
              <a:ea typeface="+mn-ea"/>
              <a:cs typeface="+mn-cs"/>
            </a:endParaRPr>
          </a:p>
        </p:txBody>
      </p:sp>
      <p:sp>
        <p:nvSpPr>
          <p:cNvPr id="5" name="Titel 4"/>
          <p:cNvSpPr>
            <a:spLocks noGrp="1"/>
          </p:cNvSpPr>
          <p:nvPr>
            <p:ph type="title"/>
          </p:nvPr>
        </p:nvSpPr>
        <p:spPr/>
        <p:txBody>
          <a:bodyPr/>
          <a:lstStyle/>
          <a:p>
            <a:r>
              <a:rPr lang="de-CH" sz="2215" dirty="0"/>
              <a:t>Kommunikation</a:t>
            </a:r>
            <a:br>
              <a:rPr lang="de-CH" sz="2215" dirty="0"/>
            </a:br>
            <a:r>
              <a:rPr lang="de-CH" sz="2215" dirty="0"/>
              <a:t>Kommunikationsdurchlauf Version 2 </a:t>
            </a:r>
          </a:p>
        </p:txBody>
      </p:sp>
      <p:sp>
        <p:nvSpPr>
          <p:cNvPr id="15" name="Textplatzhalter 14"/>
          <p:cNvSpPr>
            <a:spLocks noGrp="1"/>
          </p:cNvSpPr>
          <p:nvPr>
            <p:ph type="body" sz="quarter" idx="10"/>
          </p:nvPr>
        </p:nvSpPr>
        <p:spPr/>
        <p:txBody>
          <a:bodyPr/>
          <a:lstStyle/>
          <a:p>
            <a:endParaRPr lang="de-CH"/>
          </a:p>
        </p:txBody>
      </p:sp>
      <p:sp>
        <p:nvSpPr>
          <p:cNvPr id="6" name="Ellipse 5"/>
          <p:cNvSpPr/>
          <p:nvPr/>
        </p:nvSpPr>
        <p:spPr bwMode="auto">
          <a:xfrm>
            <a:off x="2044496" y="3517687"/>
            <a:ext cx="166154" cy="166154"/>
          </a:xfrm>
          <a:prstGeom prst="ellipse">
            <a:avLst/>
          </a:prstGeom>
          <a:solidFill>
            <a:srgbClr val="8C5B9D"/>
          </a:solidFill>
          <a:ln w="9525" cap="flat" cmpd="sng" algn="ctr">
            <a:noFill/>
            <a:prstDash val="solid"/>
            <a:round/>
            <a:headEnd type="none" w="med" len="med"/>
            <a:tailEnd type="none" w="med" len="med"/>
          </a:ln>
          <a:effectLst/>
          <a:scene3d>
            <a:camera prst="orthographicFront"/>
            <a:lightRig rig="soft" dir="t"/>
          </a:scene3d>
          <a:sp3d>
            <a:bevelT w="88900" h="88900"/>
          </a:sp3d>
        </p:spPr>
        <p:txBody>
          <a:bodyPr vert="horz" wrap="square" lIns="33231" tIns="43200" rIns="33231" bIns="43200" numCol="1" rtlCol="0" anchor="ctr" anchorCtr="0" compatLnSpc="1">
            <a:prstTxWarp prst="textNoShape">
              <a:avLst/>
            </a:prstTxWarp>
          </a:bodyPr>
          <a:lstStyle/>
          <a:p>
            <a:pPr marL="0" marR="0" lvl="0" indent="0" algn="ctr" defTabSz="844083" rtl="0" eaLnBrk="0" fontAlgn="base" latinLnBrk="0" hangingPunct="0">
              <a:lnSpc>
                <a:spcPct val="100000"/>
              </a:lnSpc>
              <a:spcBef>
                <a:spcPts val="0"/>
              </a:spcBef>
              <a:spcAft>
                <a:spcPts val="0"/>
              </a:spcAft>
              <a:buClrTx/>
              <a:buSzTx/>
              <a:buFontTx/>
              <a:buNone/>
              <a:tabLst/>
              <a:defRPr/>
            </a:pPr>
            <a:endParaRPr kumimoji="0" lang="de-DE" sz="1108" b="1"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8" name="Ellipse 7"/>
          <p:cNvSpPr/>
          <p:nvPr/>
        </p:nvSpPr>
        <p:spPr bwMode="auto">
          <a:xfrm>
            <a:off x="4859813" y="3517687"/>
            <a:ext cx="166154" cy="166154"/>
          </a:xfrm>
          <a:prstGeom prst="ellipse">
            <a:avLst/>
          </a:prstGeom>
          <a:solidFill>
            <a:srgbClr val="E64546"/>
          </a:solidFill>
          <a:ln w="9525" cap="flat" cmpd="sng" algn="ctr">
            <a:noFill/>
            <a:prstDash val="solid"/>
            <a:round/>
            <a:headEnd type="none" w="med" len="med"/>
            <a:tailEnd type="none" w="med" len="med"/>
          </a:ln>
          <a:effectLst/>
          <a:scene3d>
            <a:camera prst="orthographicFront"/>
            <a:lightRig rig="soft" dir="t"/>
          </a:scene3d>
          <a:sp3d>
            <a:bevelT w="88900" h="88900"/>
          </a:sp3d>
        </p:spPr>
        <p:txBody>
          <a:bodyPr vert="horz" wrap="square" lIns="33231" tIns="43200" rIns="33231" bIns="43200" numCol="1" rtlCol="0" anchor="ctr" anchorCtr="0" compatLnSpc="1">
            <a:prstTxWarp prst="textNoShape">
              <a:avLst/>
            </a:prstTxWarp>
          </a:bodyPr>
          <a:lstStyle/>
          <a:p>
            <a:pPr marL="0" marR="0" lvl="0" indent="0" algn="ctr" defTabSz="844083" rtl="0" eaLnBrk="0" fontAlgn="base" latinLnBrk="0" hangingPunct="0">
              <a:lnSpc>
                <a:spcPct val="100000"/>
              </a:lnSpc>
              <a:spcBef>
                <a:spcPts val="0"/>
              </a:spcBef>
              <a:spcAft>
                <a:spcPts val="0"/>
              </a:spcAft>
              <a:buClrTx/>
              <a:buSzTx/>
              <a:buFontTx/>
              <a:buNone/>
              <a:tabLst/>
              <a:defRPr/>
            </a:pPr>
            <a:endParaRPr kumimoji="0" lang="de-DE" sz="1108" b="1" i="0" u="none" strike="noStrike" kern="1200" cap="none" spc="0" normalizeH="0" baseline="0" noProof="0" dirty="0">
              <a:ln>
                <a:noFill/>
              </a:ln>
              <a:solidFill>
                <a:srgbClr val="FFFFFF"/>
              </a:solidFill>
              <a:effectLst/>
              <a:uLnTx/>
              <a:uFillTx/>
              <a:latin typeface="Arial" charset="0"/>
              <a:ea typeface="+mn-ea"/>
              <a:cs typeface="+mn-cs"/>
            </a:endParaRPr>
          </a:p>
        </p:txBody>
      </p:sp>
      <p:cxnSp>
        <p:nvCxnSpPr>
          <p:cNvPr id="11" name="Gerade Verbindung mit Pfeil 118"/>
          <p:cNvCxnSpPr>
            <a:stCxn id="7" idx="2"/>
            <a:endCxn id="6" idx="6"/>
          </p:cNvCxnSpPr>
          <p:nvPr/>
        </p:nvCxnSpPr>
        <p:spPr bwMode="auto">
          <a:xfrm flipH="1">
            <a:off x="2210652" y="3600764"/>
            <a:ext cx="1190709" cy="0"/>
          </a:xfrm>
          <a:prstGeom prst="straightConnector1">
            <a:avLst/>
          </a:prstGeom>
          <a:solidFill>
            <a:schemeClr val="accent1"/>
          </a:solidFill>
          <a:ln w="34925" cap="flat" cmpd="sng" algn="ctr">
            <a:solidFill>
              <a:schemeClr val="accent1">
                <a:lumMod val="75000"/>
              </a:schemeClr>
            </a:solidFill>
            <a:prstDash val="solid"/>
            <a:round/>
            <a:headEnd type="triangle" w="sm" len="lg"/>
            <a:tailEnd type="none" w="sm" len="lg"/>
          </a:ln>
          <a:effectLst/>
        </p:spPr>
      </p:cxnSp>
      <p:cxnSp>
        <p:nvCxnSpPr>
          <p:cNvPr id="12" name="Gerade Verbindung mit Pfeil 118"/>
          <p:cNvCxnSpPr>
            <a:stCxn id="8" idx="2"/>
            <a:endCxn id="7" idx="6"/>
          </p:cNvCxnSpPr>
          <p:nvPr/>
        </p:nvCxnSpPr>
        <p:spPr bwMode="auto">
          <a:xfrm flipH="1">
            <a:off x="3567513" y="3600764"/>
            <a:ext cx="1292300" cy="0"/>
          </a:xfrm>
          <a:prstGeom prst="straightConnector1">
            <a:avLst/>
          </a:prstGeom>
          <a:solidFill>
            <a:schemeClr val="accent1"/>
          </a:solidFill>
          <a:ln w="34925" cap="flat" cmpd="sng" algn="ctr">
            <a:solidFill>
              <a:schemeClr val="accent1">
                <a:lumMod val="75000"/>
              </a:schemeClr>
            </a:solidFill>
            <a:prstDash val="solid"/>
            <a:round/>
            <a:headEnd type="triangle" w="sm" len="lg"/>
            <a:tailEnd type="none" w="sm" len="lg"/>
          </a:ln>
          <a:effectLst/>
        </p:spPr>
      </p:cxnSp>
      <p:cxnSp>
        <p:nvCxnSpPr>
          <p:cNvPr id="13" name="Gerade Verbindung mit Pfeil 118"/>
          <p:cNvCxnSpPr>
            <a:stCxn id="9" idx="2"/>
            <a:endCxn id="8" idx="6"/>
          </p:cNvCxnSpPr>
          <p:nvPr/>
        </p:nvCxnSpPr>
        <p:spPr bwMode="auto">
          <a:xfrm flipH="1">
            <a:off x="5025968" y="3600764"/>
            <a:ext cx="1292300" cy="0"/>
          </a:xfrm>
          <a:prstGeom prst="straightConnector1">
            <a:avLst/>
          </a:prstGeom>
          <a:solidFill>
            <a:schemeClr val="accent1"/>
          </a:solidFill>
          <a:ln w="34925" cap="flat" cmpd="sng" algn="ctr">
            <a:solidFill>
              <a:schemeClr val="accent1">
                <a:lumMod val="75000"/>
              </a:schemeClr>
            </a:solidFill>
            <a:prstDash val="solid"/>
            <a:round/>
            <a:headEnd type="triangle" w="sm" len="lg"/>
            <a:tailEnd type="none" w="sm" len="lg"/>
          </a:ln>
          <a:effectLst/>
        </p:spPr>
      </p:cxnSp>
      <p:cxnSp>
        <p:nvCxnSpPr>
          <p:cNvPr id="14" name="Gerade Verbindung mit Pfeil 118"/>
          <p:cNvCxnSpPr>
            <a:stCxn id="10" idx="2"/>
            <a:endCxn id="9" idx="6"/>
          </p:cNvCxnSpPr>
          <p:nvPr/>
        </p:nvCxnSpPr>
        <p:spPr bwMode="auto">
          <a:xfrm flipH="1">
            <a:off x="6484422" y="3600764"/>
            <a:ext cx="1182886" cy="0"/>
          </a:xfrm>
          <a:prstGeom prst="straightConnector1">
            <a:avLst/>
          </a:prstGeom>
          <a:solidFill>
            <a:schemeClr val="accent1"/>
          </a:solidFill>
          <a:ln w="34925" cap="flat" cmpd="sng" algn="ctr">
            <a:solidFill>
              <a:schemeClr val="accent1">
                <a:lumMod val="75000"/>
              </a:schemeClr>
            </a:solidFill>
            <a:prstDash val="solid"/>
            <a:round/>
            <a:headEnd type="triangle" w="sm" len="lg"/>
            <a:tailEnd type="none" w="sm" len="lg"/>
          </a:ln>
          <a:effectLst/>
        </p:spPr>
      </p:cxnSp>
      <p:sp>
        <p:nvSpPr>
          <p:cNvPr id="18" name="Freihandform 17"/>
          <p:cNvSpPr/>
          <p:nvPr/>
        </p:nvSpPr>
        <p:spPr bwMode="auto">
          <a:xfrm rot="616634">
            <a:off x="3484992" y="3557230"/>
            <a:ext cx="1431497" cy="442720"/>
          </a:xfrm>
          <a:custGeom>
            <a:avLst/>
            <a:gdLst>
              <a:gd name="connsiteX0" fmla="*/ 0 w 2969537"/>
              <a:gd name="connsiteY0" fmla="*/ 54321 h 290184"/>
              <a:gd name="connsiteX1" fmla="*/ 1466662 w 2969537"/>
              <a:gd name="connsiteY1" fmla="*/ 289711 h 290184"/>
              <a:gd name="connsiteX2" fmla="*/ 2969537 w 2969537"/>
              <a:gd name="connsiteY2" fmla="*/ 0 h 290184"/>
              <a:gd name="connsiteX0" fmla="*/ 0 w 2969537"/>
              <a:gd name="connsiteY0" fmla="*/ 54321 h 290184"/>
              <a:gd name="connsiteX1" fmla="*/ 1466662 w 2969537"/>
              <a:gd name="connsiteY1" fmla="*/ 289711 h 290184"/>
              <a:gd name="connsiteX2" fmla="*/ 2969537 w 2969537"/>
              <a:gd name="connsiteY2" fmla="*/ 0 h 290184"/>
              <a:gd name="connsiteX0" fmla="*/ 0 w 2969537"/>
              <a:gd name="connsiteY0" fmla="*/ 54321 h 290259"/>
              <a:gd name="connsiteX1" fmla="*/ 1466662 w 2969537"/>
              <a:gd name="connsiteY1" fmla="*/ 289711 h 290259"/>
              <a:gd name="connsiteX2" fmla="*/ 2969537 w 2969537"/>
              <a:gd name="connsiteY2" fmla="*/ 0 h 290259"/>
              <a:gd name="connsiteX0" fmla="*/ 0 w 3064235"/>
              <a:gd name="connsiteY0" fmla="*/ 164146 h 293691"/>
              <a:gd name="connsiteX1" fmla="*/ 1561360 w 3064235"/>
              <a:gd name="connsiteY1" fmla="*/ 289711 h 293691"/>
              <a:gd name="connsiteX2" fmla="*/ 3064235 w 3064235"/>
              <a:gd name="connsiteY2" fmla="*/ 0 h 293691"/>
              <a:gd name="connsiteX0" fmla="*/ 0 w 3060447"/>
              <a:gd name="connsiteY0" fmla="*/ 148457 h 292139"/>
              <a:gd name="connsiteX1" fmla="*/ 1557572 w 3060447"/>
              <a:gd name="connsiteY1" fmla="*/ 289711 h 292139"/>
              <a:gd name="connsiteX2" fmla="*/ 3060447 w 3060447"/>
              <a:gd name="connsiteY2" fmla="*/ 0 h 292139"/>
              <a:gd name="connsiteX0" fmla="*/ 0 w 3060447"/>
              <a:gd name="connsiteY0" fmla="*/ 148457 h 291360"/>
              <a:gd name="connsiteX1" fmla="*/ 1557572 w 3060447"/>
              <a:gd name="connsiteY1" fmla="*/ 289711 h 291360"/>
              <a:gd name="connsiteX2" fmla="*/ 3060447 w 3060447"/>
              <a:gd name="connsiteY2" fmla="*/ 0 h 291360"/>
              <a:gd name="connsiteX0" fmla="*/ 0 w 3060447"/>
              <a:gd name="connsiteY0" fmla="*/ 148457 h 291360"/>
              <a:gd name="connsiteX1" fmla="*/ 1557572 w 3060447"/>
              <a:gd name="connsiteY1" fmla="*/ 289711 h 291360"/>
              <a:gd name="connsiteX2" fmla="*/ 3060447 w 3060447"/>
              <a:gd name="connsiteY2" fmla="*/ 0 h 291360"/>
              <a:gd name="connsiteX0" fmla="*/ 0 w 3060447"/>
              <a:gd name="connsiteY0" fmla="*/ 148457 h 279438"/>
              <a:gd name="connsiteX1" fmla="*/ 1515904 w 3060447"/>
              <a:gd name="connsiteY1" fmla="*/ 277159 h 279438"/>
              <a:gd name="connsiteX2" fmla="*/ 3060447 w 3060447"/>
              <a:gd name="connsiteY2" fmla="*/ 0 h 279438"/>
              <a:gd name="connsiteX0" fmla="*/ 0 w 3068023"/>
              <a:gd name="connsiteY0" fmla="*/ 148457 h 279438"/>
              <a:gd name="connsiteX1" fmla="*/ 1515904 w 3068023"/>
              <a:gd name="connsiteY1" fmla="*/ 277159 h 279438"/>
              <a:gd name="connsiteX2" fmla="*/ 3068023 w 3068023"/>
              <a:gd name="connsiteY2" fmla="*/ 0 h 279438"/>
              <a:gd name="connsiteX0" fmla="*/ 0 w 3056660"/>
              <a:gd name="connsiteY0" fmla="*/ 156301 h 280048"/>
              <a:gd name="connsiteX1" fmla="*/ 1504541 w 3056660"/>
              <a:gd name="connsiteY1" fmla="*/ 277159 h 280048"/>
              <a:gd name="connsiteX2" fmla="*/ 3056660 w 3056660"/>
              <a:gd name="connsiteY2" fmla="*/ 0 h 280048"/>
            </a:gdLst>
            <a:ahLst/>
            <a:cxnLst>
              <a:cxn ang="0">
                <a:pos x="connsiteX0" y="connsiteY0"/>
              </a:cxn>
              <a:cxn ang="0">
                <a:pos x="connsiteX1" y="connsiteY1"/>
              </a:cxn>
              <a:cxn ang="0">
                <a:pos x="connsiteX2" y="connsiteY2"/>
              </a:cxn>
            </a:cxnLst>
            <a:rect l="l" t="t" r="r" b="b"/>
            <a:pathLst>
              <a:path w="3056660" h="280048">
                <a:moveTo>
                  <a:pt x="0" y="156301"/>
                </a:moveTo>
                <a:cubicBezTo>
                  <a:pt x="592119" y="280941"/>
                  <a:pt x="1009618" y="286213"/>
                  <a:pt x="1504541" y="277159"/>
                </a:cubicBezTo>
                <a:cubicBezTo>
                  <a:pt x="1999464" y="268106"/>
                  <a:pt x="2765440" y="114677"/>
                  <a:pt x="3056660" y="0"/>
                </a:cubicBezTo>
              </a:path>
            </a:pathLst>
          </a:custGeom>
          <a:noFill/>
          <a:ln w="19050" cap="rnd" cmpd="sng" algn="ctr">
            <a:solidFill>
              <a:schemeClr val="bg2"/>
            </a:solidFill>
            <a:prstDash val="solid"/>
            <a:round/>
            <a:headEnd type="triangle" w="med" len="med"/>
            <a:tailEnd type="none" w="med" len="med"/>
          </a:ln>
          <a:effectLst/>
        </p:spPr>
        <p:txBody>
          <a:bodyPr rtlCol="0" anchor="ctr">
            <a:noAutofit/>
          </a:bodyPr>
          <a:lstStyle/>
          <a:p>
            <a:pPr marL="0" marR="0" lvl="0" indent="0" algn="ctr" defTabSz="844083" rtl="0" eaLnBrk="0" fontAlgn="base" latinLnBrk="0" hangingPunct="0">
              <a:lnSpc>
                <a:spcPct val="100000"/>
              </a:lnSpc>
              <a:spcBef>
                <a:spcPct val="0"/>
              </a:spcBef>
              <a:spcAft>
                <a:spcPct val="20000"/>
              </a:spcAft>
              <a:buClrTx/>
              <a:buSzTx/>
              <a:buFontTx/>
              <a:buNone/>
              <a:tabLst/>
              <a:defRPr/>
            </a:pPr>
            <a:endParaRPr kumimoji="0" lang="de-CH" sz="1477" b="0" i="0" u="none" strike="noStrike" kern="1200" cap="none" spc="0" normalizeH="0" baseline="0" noProof="0" dirty="0">
              <a:ln>
                <a:noFill/>
              </a:ln>
              <a:solidFill>
                <a:srgbClr val="0E3666"/>
              </a:solidFill>
              <a:effectLst/>
              <a:uLnTx/>
              <a:uFillTx/>
              <a:latin typeface="Arial" charset="0"/>
              <a:ea typeface="+mn-ea"/>
              <a:cs typeface="+mn-cs"/>
            </a:endParaRPr>
          </a:p>
        </p:txBody>
      </p:sp>
      <p:sp>
        <p:nvSpPr>
          <p:cNvPr id="22" name="Freihandform 21"/>
          <p:cNvSpPr/>
          <p:nvPr/>
        </p:nvSpPr>
        <p:spPr bwMode="auto">
          <a:xfrm rot="616634">
            <a:off x="4939338" y="3552367"/>
            <a:ext cx="1433474" cy="448764"/>
          </a:xfrm>
          <a:custGeom>
            <a:avLst/>
            <a:gdLst>
              <a:gd name="connsiteX0" fmla="*/ 0 w 2969537"/>
              <a:gd name="connsiteY0" fmla="*/ 54321 h 290184"/>
              <a:gd name="connsiteX1" fmla="*/ 1466662 w 2969537"/>
              <a:gd name="connsiteY1" fmla="*/ 289711 h 290184"/>
              <a:gd name="connsiteX2" fmla="*/ 2969537 w 2969537"/>
              <a:gd name="connsiteY2" fmla="*/ 0 h 290184"/>
              <a:gd name="connsiteX0" fmla="*/ 0 w 2969537"/>
              <a:gd name="connsiteY0" fmla="*/ 54321 h 290184"/>
              <a:gd name="connsiteX1" fmla="*/ 1466662 w 2969537"/>
              <a:gd name="connsiteY1" fmla="*/ 289711 h 290184"/>
              <a:gd name="connsiteX2" fmla="*/ 2969537 w 2969537"/>
              <a:gd name="connsiteY2" fmla="*/ 0 h 290184"/>
              <a:gd name="connsiteX0" fmla="*/ 0 w 2969537"/>
              <a:gd name="connsiteY0" fmla="*/ 54321 h 290259"/>
              <a:gd name="connsiteX1" fmla="*/ 1466662 w 2969537"/>
              <a:gd name="connsiteY1" fmla="*/ 289711 h 290259"/>
              <a:gd name="connsiteX2" fmla="*/ 2969537 w 2969537"/>
              <a:gd name="connsiteY2" fmla="*/ 0 h 290259"/>
              <a:gd name="connsiteX0" fmla="*/ 0 w 3064235"/>
              <a:gd name="connsiteY0" fmla="*/ 164146 h 293691"/>
              <a:gd name="connsiteX1" fmla="*/ 1561360 w 3064235"/>
              <a:gd name="connsiteY1" fmla="*/ 289711 h 293691"/>
              <a:gd name="connsiteX2" fmla="*/ 3064235 w 3064235"/>
              <a:gd name="connsiteY2" fmla="*/ 0 h 293691"/>
              <a:gd name="connsiteX0" fmla="*/ 0 w 3060447"/>
              <a:gd name="connsiteY0" fmla="*/ 148457 h 292139"/>
              <a:gd name="connsiteX1" fmla="*/ 1557572 w 3060447"/>
              <a:gd name="connsiteY1" fmla="*/ 289711 h 292139"/>
              <a:gd name="connsiteX2" fmla="*/ 3060447 w 3060447"/>
              <a:gd name="connsiteY2" fmla="*/ 0 h 292139"/>
              <a:gd name="connsiteX0" fmla="*/ 0 w 3060447"/>
              <a:gd name="connsiteY0" fmla="*/ 148457 h 291360"/>
              <a:gd name="connsiteX1" fmla="*/ 1557572 w 3060447"/>
              <a:gd name="connsiteY1" fmla="*/ 289711 h 291360"/>
              <a:gd name="connsiteX2" fmla="*/ 3060447 w 3060447"/>
              <a:gd name="connsiteY2" fmla="*/ 0 h 291360"/>
              <a:gd name="connsiteX0" fmla="*/ 0 w 3060447"/>
              <a:gd name="connsiteY0" fmla="*/ 148457 h 291360"/>
              <a:gd name="connsiteX1" fmla="*/ 1557572 w 3060447"/>
              <a:gd name="connsiteY1" fmla="*/ 289711 h 291360"/>
              <a:gd name="connsiteX2" fmla="*/ 3060447 w 3060447"/>
              <a:gd name="connsiteY2" fmla="*/ 0 h 291360"/>
              <a:gd name="connsiteX0" fmla="*/ 0 w 3060447"/>
              <a:gd name="connsiteY0" fmla="*/ 148457 h 279438"/>
              <a:gd name="connsiteX1" fmla="*/ 1515904 w 3060447"/>
              <a:gd name="connsiteY1" fmla="*/ 277159 h 279438"/>
              <a:gd name="connsiteX2" fmla="*/ 3060447 w 3060447"/>
              <a:gd name="connsiteY2" fmla="*/ 0 h 279438"/>
              <a:gd name="connsiteX0" fmla="*/ 0 w 3068023"/>
              <a:gd name="connsiteY0" fmla="*/ 148457 h 279438"/>
              <a:gd name="connsiteX1" fmla="*/ 1515904 w 3068023"/>
              <a:gd name="connsiteY1" fmla="*/ 277159 h 279438"/>
              <a:gd name="connsiteX2" fmla="*/ 3068023 w 3068023"/>
              <a:gd name="connsiteY2" fmla="*/ 0 h 279438"/>
              <a:gd name="connsiteX0" fmla="*/ 0 w 3056660"/>
              <a:gd name="connsiteY0" fmla="*/ 156301 h 280048"/>
              <a:gd name="connsiteX1" fmla="*/ 1504541 w 3056660"/>
              <a:gd name="connsiteY1" fmla="*/ 277159 h 280048"/>
              <a:gd name="connsiteX2" fmla="*/ 3056660 w 3056660"/>
              <a:gd name="connsiteY2" fmla="*/ 0 h 280048"/>
            </a:gdLst>
            <a:ahLst/>
            <a:cxnLst>
              <a:cxn ang="0">
                <a:pos x="connsiteX0" y="connsiteY0"/>
              </a:cxn>
              <a:cxn ang="0">
                <a:pos x="connsiteX1" y="connsiteY1"/>
              </a:cxn>
              <a:cxn ang="0">
                <a:pos x="connsiteX2" y="connsiteY2"/>
              </a:cxn>
            </a:cxnLst>
            <a:rect l="l" t="t" r="r" b="b"/>
            <a:pathLst>
              <a:path w="3056660" h="280048">
                <a:moveTo>
                  <a:pt x="0" y="156301"/>
                </a:moveTo>
                <a:cubicBezTo>
                  <a:pt x="592119" y="280941"/>
                  <a:pt x="1009618" y="286213"/>
                  <a:pt x="1504541" y="277159"/>
                </a:cubicBezTo>
                <a:cubicBezTo>
                  <a:pt x="1999464" y="268106"/>
                  <a:pt x="2765440" y="114677"/>
                  <a:pt x="3056660" y="0"/>
                </a:cubicBezTo>
              </a:path>
            </a:pathLst>
          </a:custGeom>
          <a:noFill/>
          <a:ln w="19050" cap="rnd" cmpd="sng" algn="ctr">
            <a:solidFill>
              <a:schemeClr val="bg2"/>
            </a:solidFill>
            <a:prstDash val="solid"/>
            <a:round/>
            <a:headEnd type="triangle" w="med" len="med"/>
            <a:tailEnd type="none" w="med" len="med"/>
          </a:ln>
          <a:effectLst/>
        </p:spPr>
        <p:txBody>
          <a:bodyPr rtlCol="0" anchor="ctr">
            <a:noAutofit/>
          </a:bodyPr>
          <a:lstStyle/>
          <a:p>
            <a:pPr marL="0" marR="0" lvl="0" indent="0" algn="ctr" defTabSz="844083" rtl="0" eaLnBrk="0" fontAlgn="base" latinLnBrk="0" hangingPunct="0">
              <a:lnSpc>
                <a:spcPct val="100000"/>
              </a:lnSpc>
              <a:spcBef>
                <a:spcPct val="0"/>
              </a:spcBef>
              <a:spcAft>
                <a:spcPct val="20000"/>
              </a:spcAft>
              <a:buClrTx/>
              <a:buSzTx/>
              <a:buFontTx/>
              <a:buNone/>
              <a:tabLst/>
              <a:defRPr/>
            </a:pPr>
            <a:endParaRPr kumimoji="0" lang="de-CH" sz="1477" b="0" i="0" u="none" strike="noStrike" kern="1200" cap="none" spc="0" normalizeH="0" baseline="0" noProof="0" dirty="0">
              <a:ln>
                <a:noFill/>
              </a:ln>
              <a:solidFill>
                <a:srgbClr val="0E3666"/>
              </a:solidFill>
              <a:effectLst/>
              <a:uLnTx/>
              <a:uFillTx/>
              <a:latin typeface="Arial" charset="0"/>
              <a:ea typeface="+mn-ea"/>
              <a:cs typeface="+mn-cs"/>
            </a:endParaRPr>
          </a:p>
        </p:txBody>
      </p:sp>
      <p:sp>
        <p:nvSpPr>
          <p:cNvPr id="23" name="Freihandform 22"/>
          <p:cNvSpPr/>
          <p:nvPr/>
        </p:nvSpPr>
        <p:spPr bwMode="auto">
          <a:xfrm rot="616634">
            <a:off x="6390843" y="3559551"/>
            <a:ext cx="1354822" cy="428139"/>
          </a:xfrm>
          <a:custGeom>
            <a:avLst/>
            <a:gdLst>
              <a:gd name="connsiteX0" fmla="*/ 0 w 2969537"/>
              <a:gd name="connsiteY0" fmla="*/ 54321 h 290184"/>
              <a:gd name="connsiteX1" fmla="*/ 1466662 w 2969537"/>
              <a:gd name="connsiteY1" fmla="*/ 289711 h 290184"/>
              <a:gd name="connsiteX2" fmla="*/ 2969537 w 2969537"/>
              <a:gd name="connsiteY2" fmla="*/ 0 h 290184"/>
              <a:gd name="connsiteX0" fmla="*/ 0 w 2969537"/>
              <a:gd name="connsiteY0" fmla="*/ 54321 h 290184"/>
              <a:gd name="connsiteX1" fmla="*/ 1466662 w 2969537"/>
              <a:gd name="connsiteY1" fmla="*/ 289711 h 290184"/>
              <a:gd name="connsiteX2" fmla="*/ 2969537 w 2969537"/>
              <a:gd name="connsiteY2" fmla="*/ 0 h 290184"/>
              <a:gd name="connsiteX0" fmla="*/ 0 w 2969537"/>
              <a:gd name="connsiteY0" fmla="*/ 54321 h 290259"/>
              <a:gd name="connsiteX1" fmla="*/ 1466662 w 2969537"/>
              <a:gd name="connsiteY1" fmla="*/ 289711 h 290259"/>
              <a:gd name="connsiteX2" fmla="*/ 2969537 w 2969537"/>
              <a:gd name="connsiteY2" fmla="*/ 0 h 290259"/>
              <a:gd name="connsiteX0" fmla="*/ 0 w 3064235"/>
              <a:gd name="connsiteY0" fmla="*/ 164146 h 293691"/>
              <a:gd name="connsiteX1" fmla="*/ 1561360 w 3064235"/>
              <a:gd name="connsiteY1" fmla="*/ 289711 h 293691"/>
              <a:gd name="connsiteX2" fmla="*/ 3064235 w 3064235"/>
              <a:gd name="connsiteY2" fmla="*/ 0 h 293691"/>
              <a:gd name="connsiteX0" fmla="*/ 0 w 3060447"/>
              <a:gd name="connsiteY0" fmla="*/ 148457 h 292139"/>
              <a:gd name="connsiteX1" fmla="*/ 1557572 w 3060447"/>
              <a:gd name="connsiteY1" fmla="*/ 289711 h 292139"/>
              <a:gd name="connsiteX2" fmla="*/ 3060447 w 3060447"/>
              <a:gd name="connsiteY2" fmla="*/ 0 h 292139"/>
              <a:gd name="connsiteX0" fmla="*/ 0 w 3060447"/>
              <a:gd name="connsiteY0" fmla="*/ 148457 h 291360"/>
              <a:gd name="connsiteX1" fmla="*/ 1557572 w 3060447"/>
              <a:gd name="connsiteY1" fmla="*/ 289711 h 291360"/>
              <a:gd name="connsiteX2" fmla="*/ 3060447 w 3060447"/>
              <a:gd name="connsiteY2" fmla="*/ 0 h 291360"/>
              <a:gd name="connsiteX0" fmla="*/ 0 w 3060447"/>
              <a:gd name="connsiteY0" fmla="*/ 148457 h 291360"/>
              <a:gd name="connsiteX1" fmla="*/ 1557572 w 3060447"/>
              <a:gd name="connsiteY1" fmla="*/ 289711 h 291360"/>
              <a:gd name="connsiteX2" fmla="*/ 3060447 w 3060447"/>
              <a:gd name="connsiteY2" fmla="*/ 0 h 291360"/>
              <a:gd name="connsiteX0" fmla="*/ 0 w 3060447"/>
              <a:gd name="connsiteY0" fmla="*/ 148457 h 279438"/>
              <a:gd name="connsiteX1" fmla="*/ 1515904 w 3060447"/>
              <a:gd name="connsiteY1" fmla="*/ 277159 h 279438"/>
              <a:gd name="connsiteX2" fmla="*/ 3060447 w 3060447"/>
              <a:gd name="connsiteY2" fmla="*/ 0 h 279438"/>
              <a:gd name="connsiteX0" fmla="*/ 0 w 3068023"/>
              <a:gd name="connsiteY0" fmla="*/ 148457 h 279438"/>
              <a:gd name="connsiteX1" fmla="*/ 1515904 w 3068023"/>
              <a:gd name="connsiteY1" fmla="*/ 277159 h 279438"/>
              <a:gd name="connsiteX2" fmla="*/ 3068023 w 3068023"/>
              <a:gd name="connsiteY2" fmla="*/ 0 h 279438"/>
              <a:gd name="connsiteX0" fmla="*/ 0 w 3056660"/>
              <a:gd name="connsiteY0" fmla="*/ 156301 h 280048"/>
              <a:gd name="connsiteX1" fmla="*/ 1504541 w 3056660"/>
              <a:gd name="connsiteY1" fmla="*/ 277159 h 280048"/>
              <a:gd name="connsiteX2" fmla="*/ 3056660 w 3056660"/>
              <a:gd name="connsiteY2" fmla="*/ 0 h 280048"/>
            </a:gdLst>
            <a:ahLst/>
            <a:cxnLst>
              <a:cxn ang="0">
                <a:pos x="connsiteX0" y="connsiteY0"/>
              </a:cxn>
              <a:cxn ang="0">
                <a:pos x="connsiteX1" y="connsiteY1"/>
              </a:cxn>
              <a:cxn ang="0">
                <a:pos x="connsiteX2" y="connsiteY2"/>
              </a:cxn>
            </a:cxnLst>
            <a:rect l="l" t="t" r="r" b="b"/>
            <a:pathLst>
              <a:path w="3056660" h="280048">
                <a:moveTo>
                  <a:pt x="0" y="156301"/>
                </a:moveTo>
                <a:cubicBezTo>
                  <a:pt x="592119" y="280941"/>
                  <a:pt x="1009618" y="286213"/>
                  <a:pt x="1504541" y="277159"/>
                </a:cubicBezTo>
                <a:cubicBezTo>
                  <a:pt x="1999464" y="268106"/>
                  <a:pt x="2765440" y="114677"/>
                  <a:pt x="3056660" y="0"/>
                </a:cubicBezTo>
              </a:path>
            </a:pathLst>
          </a:custGeom>
          <a:noFill/>
          <a:ln w="19050" cap="rnd" cmpd="sng" algn="ctr">
            <a:solidFill>
              <a:schemeClr val="bg2"/>
            </a:solidFill>
            <a:prstDash val="solid"/>
            <a:round/>
            <a:headEnd type="triangle" w="med" len="med"/>
            <a:tailEnd type="none" w="med" len="med"/>
          </a:ln>
          <a:effectLst/>
        </p:spPr>
        <p:txBody>
          <a:bodyPr rtlCol="0" anchor="ctr">
            <a:noAutofit/>
          </a:bodyPr>
          <a:lstStyle/>
          <a:p>
            <a:pPr marL="0" marR="0" lvl="0" indent="0" algn="ctr" defTabSz="844083" rtl="0" eaLnBrk="0" fontAlgn="base" latinLnBrk="0" hangingPunct="0">
              <a:lnSpc>
                <a:spcPct val="100000"/>
              </a:lnSpc>
              <a:spcBef>
                <a:spcPct val="0"/>
              </a:spcBef>
              <a:spcAft>
                <a:spcPct val="20000"/>
              </a:spcAft>
              <a:buClrTx/>
              <a:buSzTx/>
              <a:buFontTx/>
              <a:buNone/>
              <a:tabLst/>
              <a:defRPr/>
            </a:pPr>
            <a:endParaRPr kumimoji="0" lang="de-CH" sz="1477" b="0" i="0" u="none" strike="noStrike" kern="1200" cap="none" spc="0" normalizeH="0" baseline="0" noProof="0" dirty="0">
              <a:ln>
                <a:noFill/>
              </a:ln>
              <a:solidFill>
                <a:srgbClr val="0E3666"/>
              </a:solidFill>
              <a:effectLst/>
              <a:uLnTx/>
              <a:uFillTx/>
              <a:latin typeface="Arial" charset="0"/>
              <a:ea typeface="+mn-ea"/>
              <a:cs typeface="+mn-cs"/>
            </a:endParaRPr>
          </a:p>
        </p:txBody>
      </p:sp>
      <p:sp>
        <p:nvSpPr>
          <p:cNvPr id="29" name="Freihandform 28"/>
          <p:cNvSpPr/>
          <p:nvPr/>
        </p:nvSpPr>
        <p:spPr bwMode="auto">
          <a:xfrm rot="20015266">
            <a:off x="2440834" y="2538747"/>
            <a:ext cx="3741958" cy="1931015"/>
          </a:xfrm>
          <a:custGeom>
            <a:avLst/>
            <a:gdLst>
              <a:gd name="connsiteX0" fmla="*/ 0 w 2552132"/>
              <a:gd name="connsiteY0" fmla="*/ 0 h 1255594"/>
              <a:gd name="connsiteX1" fmla="*/ 2552132 w 2552132"/>
              <a:gd name="connsiteY1" fmla="*/ 1255594 h 1255594"/>
              <a:gd name="connsiteX0" fmla="*/ 0 w 2552132"/>
              <a:gd name="connsiteY0" fmla="*/ 0 h 1282890"/>
              <a:gd name="connsiteX1" fmla="*/ 2552132 w 2552132"/>
              <a:gd name="connsiteY1" fmla="*/ 1282890 h 1282890"/>
              <a:gd name="connsiteX0" fmla="*/ 0 w 2552132"/>
              <a:gd name="connsiteY0" fmla="*/ 27959 h 1310849"/>
              <a:gd name="connsiteX1" fmla="*/ 2552132 w 2552132"/>
              <a:gd name="connsiteY1" fmla="*/ 1310849 h 1310849"/>
              <a:gd name="connsiteX0" fmla="*/ 0 w 2470245"/>
              <a:gd name="connsiteY0" fmla="*/ 27657 h 1324195"/>
              <a:gd name="connsiteX1" fmla="*/ 2470245 w 2470245"/>
              <a:gd name="connsiteY1" fmla="*/ 1324195 h 1324195"/>
              <a:gd name="connsiteX0" fmla="*/ 0 w 2470245"/>
              <a:gd name="connsiteY0" fmla="*/ 30890 h 1327428"/>
              <a:gd name="connsiteX1" fmla="*/ 2470245 w 2470245"/>
              <a:gd name="connsiteY1" fmla="*/ 1327428 h 1327428"/>
              <a:gd name="connsiteX0" fmla="*/ 0 w 2552131"/>
              <a:gd name="connsiteY0" fmla="*/ 30523 h 1340709"/>
              <a:gd name="connsiteX1" fmla="*/ 2552131 w 2552131"/>
              <a:gd name="connsiteY1" fmla="*/ 1340709 h 1340709"/>
              <a:gd name="connsiteX0" fmla="*/ 0 w 2552131"/>
              <a:gd name="connsiteY0" fmla="*/ 30523 h 1340709"/>
              <a:gd name="connsiteX1" fmla="*/ 2552131 w 2552131"/>
              <a:gd name="connsiteY1" fmla="*/ 1340709 h 1340709"/>
              <a:gd name="connsiteX0" fmla="*/ 0 w 2552131"/>
              <a:gd name="connsiteY0" fmla="*/ 6839 h 1317025"/>
              <a:gd name="connsiteX1" fmla="*/ 2552131 w 2552131"/>
              <a:gd name="connsiteY1" fmla="*/ 1317025 h 1317025"/>
            </a:gdLst>
            <a:ahLst/>
            <a:cxnLst>
              <a:cxn ang="0">
                <a:pos x="connsiteX0" y="connsiteY0"/>
              </a:cxn>
              <a:cxn ang="0">
                <a:pos x="connsiteX1" y="connsiteY1"/>
              </a:cxn>
            </a:cxnLst>
            <a:rect l="l" t="t" r="r" b="b"/>
            <a:pathLst>
              <a:path w="2552131" h="1317025">
                <a:moveTo>
                  <a:pt x="0" y="6839"/>
                </a:moveTo>
                <a:cubicBezTo>
                  <a:pt x="1219201" y="-84145"/>
                  <a:pt x="2288273" y="752917"/>
                  <a:pt x="2552131" y="1317025"/>
                </a:cubicBezTo>
              </a:path>
            </a:pathLst>
          </a:custGeom>
          <a:noFill/>
          <a:ln w="19050" cap="flat" cmpd="sng" algn="ctr">
            <a:solidFill>
              <a:schemeClr val="bg2"/>
            </a:solidFill>
            <a:prstDash val="dash"/>
            <a:round/>
            <a:headEnd type="none" w="med" len="med"/>
            <a:tailEnd type="none" w="med" len="med"/>
          </a:ln>
          <a:effectLst/>
        </p:spPr>
        <p:txBody>
          <a:bodyPr rtlCol="0" anchor="ctr"/>
          <a:lstStyle/>
          <a:p>
            <a:pPr marL="0" marR="0" lvl="0" indent="0" algn="ctr" defTabSz="844083" rtl="0" eaLnBrk="0" fontAlgn="base" latinLnBrk="0" hangingPunct="0">
              <a:lnSpc>
                <a:spcPct val="100000"/>
              </a:lnSpc>
              <a:spcBef>
                <a:spcPct val="0"/>
              </a:spcBef>
              <a:spcAft>
                <a:spcPct val="20000"/>
              </a:spcAft>
              <a:buClrTx/>
              <a:buSzTx/>
              <a:buFontTx/>
              <a:buNone/>
              <a:tabLst/>
              <a:defRPr/>
            </a:pPr>
            <a:endParaRPr kumimoji="0" lang="de-DE" sz="1477"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7" name="Freihandform 26"/>
          <p:cNvSpPr/>
          <p:nvPr/>
        </p:nvSpPr>
        <p:spPr bwMode="auto">
          <a:xfrm rot="9816457">
            <a:off x="2346399" y="2199864"/>
            <a:ext cx="5249718" cy="2120397"/>
          </a:xfrm>
          <a:custGeom>
            <a:avLst/>
            <a:gdLst>
              <a:gd name="connsiteX0" fmla="*/ 0 w 2552132"/>
              <a:gd name="connsiteY0" fmla="*/ 0 h 1255594"/>
              <a:gd name="connsiteX1" fmla="*/ 2552132 w 2552132"/>
              <a:gd name="connsiteY1" fmla="*/ 1255594 h 1255594"/>
              <a:gd name="connsiteX0" fmla="*/ 0 w 2552132"/>
              <a:gd name="connsiteY0" fmla="*/ 0 h 1282890"/>
              <a:gd name="connsiteX1" fmla="*/ 2552132 w 2552132"/>
              <a:gd name="connsiteY1" fmla="*/ 1282890 h 1282890"/>
              <a:gd name="connsiteX0" fmla="*/ 0 w 2552132"/>
              <a:gd name="connsiteY0" fmla="*/ 27959 h 1310849"/>
              <a:gd name="connsiteX1" fmla="*/ 2552132 w 2552132"/>
              <a:gd name="connsiteY1" fmla="*/ 1310849 h 1310849"/>
              <a:gd name="connsiteX0" fmla="*/ 0 w 2470245"/>
              <a:gd name="connsiteY0" fmla="*/ 27657 h 1324195"/>
              <a:gd name="connsiteX1" fmla="*/ 2470245 w 2470245"/>
              <a:gd name="connsiteY1" fmla="*/ 1324195 h 1324195"/>
              <a:gd name="connsiteX0" fmla="*/ 0 w 2470245"/>
              <a:gd name="connsiteY0" fmla="*/ 30890 h 1327428"/>
              <a:gd name="connsiteX1" fmla="*/ 2470245 w 2470245"/>
              <a:gd name="connsiteY1" fmla="*/ 1327428 h 1327428"/>
              <a:gd name="connsiteX0" fmla="*/ 0 w 2552131"/>
              <a:gd name="connsiteY0" fmla="*/ 30523 h 1340709"/>
              <a:gd name="connsiteX1" fmla="*/ 2552131 w 2552131"/>
              <a:gd name="connsiteY1" fmla="*/ 1340709 h 1340709"/>
              <a:gd name="connsiteX0" fmla="*/ 0 w 2552131"/>
              <a:gd name="connsiteY0" fmla="*/ 30523 h 1340709"/>
              <a:gd name="connsiteX1" fmla="*/ 2552131 w 2552131"/>
              <a:gd name="connsiteY1" fmla="*/ 1340709 h 1340709"/>
              <a:gd name="connsiteX0" fmla="*/ 0 w 2552131"/>
              <a:gd name="connsiteY0" fmla="*/ 6839 h 1317025"/>
              <a:gd name="connsiteX1" fmla="*/ 2552131 w 2552131"/>
              <a:gd name="connsiteY1" fmla="*/ 1317025 h 1317025"/>
              <a:gd name="connsiteX0" fmla="*/ 0 w 2538483"/>
              <a:gd name="connsiteY0" fmla="*/ 482026 h 482026"/>
              <a:gd name="connsiteX1" fmla="*/ 2538483 w 2538483"/>
              <a:gd name="connsiteY1" fmla="*/ 209072 h 482026"/>
              <a:gd name="connsiteX0" fmla="*/ 0 w 2538483"/>
              <a:gd name="connsiteY0" fmla="*/ 289870 h 289870"/>
              <a:gd name="connsiteX1" fmla="*/ 2538483 w 2538483"/>
              <a:gd name="connsiteY1" fmla="*/ 16916 h 289870"/>
              <a:gd name="connsiteX0" fmla="*/ 0 w 2579427"/>
              <a:gd name="connsiteY0" fmla="*/ 342097 h 342097"/>
              <a:gd name="connsiteX1" fmla="*/ 2579427 w 2579427"/>
              <a:gd name="connsiteY1" fmla="*/ 14552 h 342097"/>
              <a:gd name="connsiteX0" fmla="*/ 0 w 2579427"/>
              <a:gd name="connsiteY0" fmla="*/ 355178 h 355178"/>
              <a:gd name="connsiteX1" fmla="*/ 2579427 w 2579427"/>
              <a:gd name="connsiteY1" fmla="*/ 27633 h 355178"/>
              <a:gd name="connsiteX0" fmla="*/ 0 w 2579427"/>
              <a:gd name="connsiteY0" fmla="*/ 360644 h 360644"/>
              <a:gd name="connsiteX1" fmla="*/ 2579427 w 2579427"/>
              <a:gd name="connsiteY1" fmla="*/ 33099 h 360644"/>
              <a:gd name="connsiteX0" fmla="*/ 0 w 3739487"/>
              <a:gd name="connsiteY0" fmla="*/ 47949 h 1016941"/>
              <a:gd name="connsiteX1" fmla="*/ 3739487 w 3739487"/>
              <a:gd name="connsiteY1" fmla="*/ 1016941 h 1016941"/>
              <a:gd name="connsiteX0" fmla="*/ 0 w 3739487"/>
              <a:gd name="connsiteY0" fmla="*/ 24022 h 1360101"/>
              <a:gd name="connsiteX1" fmla="*/ 3739487 w 3739487"/>
              <a:gd name="connsiteY1" fmla="*/ 993014 h 1360101"/>
              <a:gd name="connsiteX0" fmla="*/ 0 w 3739487"/>
              <a:gd name="connsiteY0" fmla="*/ 0 h 1426786"/>
              <a:gd name="connsiteX1" fmla="*/ 3739487 w 3739487"/>
              <a:gd name="connsiteY1" fmla="*/ 968992 h 1426786"/>
              <a:gd name="connsiteX0" fmla="*/ 0 w 3739487"/>
              <a:gd name="connsiteY0" fmla="*/ 0 h 1233141"/>
              <a:gd name="connsiteX1" fmla="*/ 3739487 w 3739487"/>
              <a:gd name="connsiteY1" fmla="*/ 968992 h 1233141"/>
            </a:gdLst>
            <a:ahLst/>
            <a:cxnLst>
              <a:cxn ang="0">
                <a:pos x="connsiteX0" y="connsiteY0"/>
              </a:cxn>
              <a:cxn ang="0">
                <a:pos x="connsiteX1" y="connsiteY1"/>
              </a:cxn>
            </a:cxnLst>
            <a:rect l="l" t="t" r="r" b="b"/>
            <a:pathLst>
              <a:path w="3739487" h="1233141">
                <a:moveTo>
                  <a:pt x="0" y="0"/>
                </a:moveTo>
                <a:cubicBezTo>
                  <a:pt x="318448" y="454927"/>
                  <a:pt x="2069910" y="1796956"/>
                  <a:pt x="3739487" y="968992"/>
                </a:cubicBezTo>
              </a:path>
            </a:pathLst>
          </a:custGeom>
          <a:noFill/>
          <a:ln w="19050" cap="flat" cmpd="sng" algn="ctr">
            <a:solidFill>
              <a:schemeClr val="bg2"/>
            </a:solidFill>
            <a:prstDash val="dash"/>
            <a:round/>
            <a:headEnd type="none" w="med" len="med"/>
            <a:tailEnd type="none" w="med" len="med"/>
          </a:ln>
          <a:effectLst/>
        </p:spPr>
        <p:txBody>
          <a:bodyPr rtlCol="0" anchor="ctr"/>
          <a:lstStyle/>
          <a:p>
            <a:pPr marL="0" marR="0" lvl="0" indent="0" algn="ctr" defTabSz="844083" rtl="0" eaLnBrk="0" fontAlgn="base" latinLnBrk="0" hangingPunct="0">
              <a:lnSpc>
                <a:spcPct val="100000"/>
              </a:lnSpc>
              <a:spcBef>
                <a:spcPct val="0"/>
              </a:spcBef>
              <a:spcAft>
                <a:spcPct val="20000"/>
              </a:spcAft>
              <a:buClrTx/>
              <a:buSzTx/>
              <a:buFontTx/>
              <a:buNone/>
              <a:tabLst/>
              <a:defRPr/>
            </a:pPr>
            <a:endParaRPr kumimoji="0" lang="de-DE" sz="1477"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 name="Ellipse 9"/>
          <p:cNvSpPr/>
          <p:nvPr/>
        </p:nvSpPr>
        <p:spPr bwMode="auto">
          <a:xfrm>
            <a:off x="7667308" y="3517687"/>
            <a:ext cx="166154" cy="166154"/>
          </a:xfrm>
          <a:prstGeom prst="ellipse">
            <a:avLst/>
          </a:prstGeom>
          <a:solidFill>
            <a:srgbClr val="C36D14"/>
          </a:solidFill>
          <a:ln w="9525" cap="flat" cmpd="sng" algn="ctr">
            <a:noFill/>
            <a:prstDash val="solid"/>
            <a:round/>
            <a:headEnd type="none" w="med" len="med"/>
            <a:tailEnd type="none" w="med" len="med"/>
          </a:ln>
          <a:effectLst/>
          <a:scene3d>
            <a:camera prst="orthographicFront"/>
            <a:lightRig rig="soft" dir="t"/>
          </a:scene3d>
          <a:sp3d>
            <a:bevelT w="88900" h="88900"/>
          </a:sp3d>
        </p:spPr>
        <p:txBody>
          <a:bodyPr vert="horz" wrap="square" lIns="33231" tIns="43200" rIns="33231" bIns="43200" numCol="1" rtlCol="0" anchor="ctr" anchorCtr="0" compatLnSpc="1">
            <a:prstTxWarp prst="textNoShape">
              <a:avLst/>
            </a:prstTxWarp>
          </a:bodyPr>
          <a:lstStyle/>
          <a:p>
            <a:pPr marL="0" marR="0" lvl="0" indent="0" algn="ctr" defTabSz="844083" rtl="0" eaLnBrk="0" fontAlgn="base" latinLnBrk="0" hangingPunct="0">
              <a:lnSpc>
                <a:spcPct val="100000"/>
              </a:lnSpc>
              <a:spcBef>
                <a:spcPts val="0"/>
              </a:spcBef>
              <a:spcAft>
                <a:spcPts val="0"/>
              </a:spcAft>
              <a:buClrTx/>
              <a:buSzTx/>
              <a:buFontTx/>
              <a:buNone/>
              <a:tabLst/>
              <a:defRPr/>
            </a:pPr>
            <a:endParaRPr kumimoji="0" lang="de-DE" sz="1108" b="1"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9" name="Ellipse 8"/>
          <p:cNvSpPr/>
          <p:nvPr/>
        </p:nvSpPr>
        <p:spPr bwMode="auto">
          <a:xfrm>
            <a:off x="6318268" y="3517687"/>
            <a:ext cx="166154" cy="166154"/>
          </a:xfrm>
          <a:prstGeom prst="ellipse">
            <a:avLst/>
          </a:prstGeom>
          <a:solidFill>
            <a:srgbClr val="00B050"/>
          </a:solidFill>
          <a:ln w="9525" cap="flat" cmpd="sng" algn="ctr">
            <a:noFill/>
            <a:prstDash val="solid"/>
            <a:round/>
            <a:headEnd type="none" w="med" len="med"/>
            <a:tailEnd type="none" w="med" len="med"/>
          </a:ln>
          <a:effectLst/>
          <a:scene3d>
            <a:camera prst="orthographicFront"/>
            <a:lightRig rig="soft" dir="t"/>
          </a:scene3d>
          <a:sp3d>
            <a:bevelT w="88900" h="88900"/>
          </a:sp3d>
        </p:spPr>
        <p:txBody>
          <a:bodyPr vert="horz" wrap="square" lIns="33231" tIns="43200" rIns="33231" bIns="43200" numCol="1" rtlCol="0" anchor="ctr" anchorCtr="0" compatLnSpc="1">
            <a:prstTxWarp prst="textNoShape">
              <a:avLst/>
            </a:prstTxWarp>
          </a:bodyPr>
          <a:lstStyle/>
          <a:p>
            <a:pPr marL="0" marR="0" lvl="0" indent="0" algn="ctr" defTabSz="844083" rtl="0" eaLnBrk="0" fontAlgn="base" latinLnBrk="0" hangingPunct="0">
              <a:lnSpc>
                <a:spcPct val="100000"/>
              </a:lnSpc>
              <a:spcBef>
                <a:spcPts val="0"/>
              </a:spcBef>
              <a:spcAft>
                <a:spcPts val="0"/>
              </a:spcAft>
              <a:buClrTx/>
              <a:buSzTx/>
              <a:buFontTx/>
              <a:buNone/>
              <a:tabLst/>
              <a:defRPr/>
            </a:pPr>
            <a:endParaRPr kumimoji="0" lang="de-DE" sz="1108" b="1"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7" name="Ellipse 6"/>
          <p:cNvSpPr/>
          <p:nvPr/>
        </p:nvSpPr>
        <p:spPr bwMode="auto">
          <a:xfrm>
            <a:off x="3401359" y="3517687"/>
            <a:ext cx="166154" cy="166154"/>
          </a:xfrm>
          <a:prstGeom prst="ellipse">
            <a:avLst/>
          </a:prstGeom>
          <a:solidFill>
            <a:srgbClr val="65B8DC"/>
          </a:solidFill>
          <a:ln w="9525" cap="flat" cmpd="sng" algn="ctr">
            <a:noFill/>
            <a:prstDash val="solid"/>
            <a:round/>
            <a:headEnd type="none" w="med" len="med"/>
            <a:tailEnd type="none" w="med" len="med"/>
          </a:ln>
          <a:effectLst/>
          <a:scene3d>
            <a:camera prst="orthographicFront"/>
            <a:lightRig rig="soft" dir="t"/>
          </a:scene3d>
          <a:sp3d>
            <a:bevelT w="88900" h="88900"/>
          </a:sp3d>
        </p:spPr>
        <p:txBody>
          <a:bodyPr vert="horz" wrap="square" lIns="33231" tIns="43200" rIns="33231" bIns="43200" numCol="1" rtlCol="0" anchor="ctr" anchorCtr="0" compatLnSpc="1">
            <a:prstTxWarp prst="textNoShape">
              <a:avLst/>
            </a:prstTxWarp>
          </a:bodyPr>
          <a:lstStyle/>
          <a:p>
            <a:pPr marL="0" marR="0" lvl="0" indent="0" algn="ctr" defTabSz="844083" rtl="0" eaLnBrk="0" fontAlgn="base" latinLnBrk="0" hangingPunct="0">
              <a:lnSpc>
                <a:spcPct val="100000"/>
              </a:lnSpc>
              <a:spcBef>
                <a:spcPts val="0"/>
              </a:spcBef>
              <a:spcAft>
                <a:spcPts val="0"/>
              </a:spcAft>
              <a:buClrTx/>
              <a:buSzTx/>
              <a:buFontTx/>
              <a:buNone/>
              <a:tabLst/>
              <a:defRPr/>
            </a:pPr>
            <a:endParaRPr kumimoji="0" lang="de-DE" sz="1108" b="1"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30" name="Freihandform 29"/>
          <p:cNvSpPr/>
          <p:nvPr/>
        </p:nvSpPr>
        <p:spPr bwMode="auto">
          <a:xfrm rot="20015266">
            <a:off x="2350353" y="2872006"/>
            <a:ext cx="2450445" cy="1256261"/>
          </a:xfrm>
          <a:custGeom>
            <a:avLst/>
            <a:gdLst>
              <a:gd name="connsiteX0" fmla="*/ 0 w 2552132"/>
              <a:gd name="connsiteY0" fmla="*/ 0 h 1255594"/>
              <a:gd name="connsiteX1" fmla="*/ 2552132 w 2552132"/>
              <a:gd name="connsiteY1" fmla="*/ 1255594 h 1255594"/>
              <a:gd name="connsiteX0" fmla="*/ 0 w 2552132"/>
              <a:gd name="connsiteY0" fmla="*/ 0 h 1282890"/>
              <a:gd name="connsiteX1" fmla="*/ 2552132 w 2552132"/>
              <a:gd name="connsiteY1" fmla="*/ 1282890 h 1282890"/>
              <a:gd name="connsiteX0" fmla="*/ 0 w 2552132"/>
              <a:gd name="connsiteY0" fmla="*/ 27959 h 1310849"/>
              <a:gd name="connsiteX1" fmla="*/ 2552132 w 2552132"/>
              <a:gd name="connsiteY1" fmla="*/ 1310849 h 1310849"/>
              <a:gd name="connsiteX0" fmla="*/ 0 w 2470245"/>
              <a:gd name="connsiteY0" fmla="*/ 27657 h 1324195"/>
              <a:gd name="connsiteX1" fmla="*/ 2470245 w 2470245"/>
              <a:gd name="connsiteY1" fmla="*/ 1324195 h 1324195"/>
              <a:gd name="connsiteX0" fmla="*/ 0 w 2470245"/>
              <a:gd name="connsiteY0" fmla="*/ 30890 h 1327428"/>
              <a:gd name="connsiteX1" fmla="*/ 2470245 w 2470245"/>
              <a:gd name="connsiteY1" fmla="*/ 1327428 h 1327428"/>
              <a:gd name="connsiteX0" fmla="*/ 0 w 2552131"/>
              <a:gd name="connsiteY0" fmla="*/ 30523 h 1340709"/>
              <a:gd name="connsiteX1" fmla="*/ 2552131 w 2552131"/>
              <a:gd name="connsiteY1" fmla="*/ 1340709 h 1340709"/>
              <a:gd name="connsiteX0" fmla="*/ 0 w 2552131"/>
              <a:gd name="connsiteY0" fmla="*/ 30523 h 1340709"/>
              <a:gd name="connsiteX1" fmla="*/ 2552131 w 2552131"/>
              <a:gd name="connsiteY1" fmla="*/ 1340709 h 1340709"/>
              <a:gd name="connsiteX0" fmla="*/ 0 w 2552131"/>
              <a:gd name="connsiteY0" fmla="*/ 6839 h 1317025"/>
              <a:gd name="connsiteX1" fmla="*/ 2552131 w 2552131"/>
              <a:gd name="connsiteY1" fmla="*/ 1317025 h 1317025"/>
            </a:gdLst>
            <a:ahLst/>
            <a:cxnLst>
              <a:cxn ang="0">
                <a:pos x="connsiteX0" y="connsiteY0"/>
              </a:cxn>
              <a:cxn ang="0">
                <a:pos x="connsiteX1" y="connsiteY1"/>
              </a:cxn>
            </a:cxnLst>
            <a:rect l="l" t="t" r="r" b="b"/>
            <a:pathLst>
              <a:path w="2552131" h="1317025">
                <a:moveTo>
                  <a:pt x="0" y="6839"/>
                </a:moveTo>
                <a:cubicBezTo>
                  <a:pt x="1219201" y="-84145"/>
                  <a:pt x="2288273" y="752917"/>
                  <a:pt x="2552131" y="1317025"/>
                </a:cubicBezTo>
              </a:path>
            </a:pathLst>
          </a:custGeom>
          <a:noFill/>
          <a:ln w="19050" cap="flat" cmpd="sng" algn="ctr">
            <a:solidFill>
              <a:schemeClr val="bg2"/>
            </a:solidFill>
            <a:prstDash val="dash"/>
            <a:round/>
            <a:headEnd type="triangle" w="med" len="med"/>
            <a:tailEnd type="none" w="med" len="med"/>
          </a:ln>
          <a:effectLst/>
        </p:spPr>
        <p:txBody>
          <a:bodyPr rtlCol="0" anchor="ctr"/>
          <a:lstStyle/>
          <a:p>
            <a:pPr marL="0" marR="0" lvl="0" indent="0" algn="ctr" defTabSz="844083" rtl="0" eaLnBrk="0" fontAlgn="base" latinLnBrk="0" hangingPunct="0">
              <a:lnSpc>
                <a:spcPct val="100000"/>
              </a:lnSpc>
              <a:spcBef>
                <a:spcPct val="0"/>
              </a:spcBef>
              <a:spcAft>
                <a:spcPct val="20000"/>
              </a:spcAft>
              <a:buClrTx/>
              <a:buSzTx/>
              <a:buFontTx/>
              <a:buNone/>
              <a:tabLst/>
              <a:defRPr/>
            </a:pPr>
            <a:endParaRPr kumimoji="0" lang="de-DE" sz="1477"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 name="Textfeld 24"/>
          <p:cNvSpPr txBox="1"/>
          <p:nvPr/>
        </p:nvSpPr>
        <p:spPr>
          <a:xfrm>
            <a:off x="8063525" y="3396748"/>
            <a:ext cx="406399" cy="407974"/>
          </a:xfrm>
          <a:prstGeom prst="rect">
            <a:avLst/>
          </a:prstGeom>
          <a:ln algn="ctr"/>
        </p:spPr>
        <p:txBody>
          <a:bodyPr wrap="square" lIns="33231" tIns="33231" rIns="33231" bIns="33231" rtlCol="0" anchor="t">
            <a:spAutoFit/>
          </a:bodyP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0" lang="de-CH" sz="2215" b="1" i="0" u="none" strike="noStrike" kern="0" cap="none" spc="0" normalizeH="0" baseline="0" noProof="0" dirty="0">
                <a:ln>
                  <a:noFill/>
                </a:ln>
                <a:solidFill>
                  <a:srgbClr val="000000"/>
                </a:solidFill>
                <a:effectLst/>
                <a:uLnTx/>
                <a:uFillTx/>
                <a:latin typeface="Calibri"/>
                <a:ea typeface="+mn-ea"/>
                <a:cs typeface="+mn-cs"/>
              </a:rPr>
              <a:t>?</a:t>
            </a:r>
          </a:p>
        </p:txBody>
      </p:sp>
      <p:grpSp>
        <p:nvGrpSpPr>
          <p:cNvPr id="26" name="Gruppieren 25"/>
          <p:cNvGrpSpPr/>
          <p:nvPr/>
        </p:nvGrpSpPr>
        <p:grpSpPr>
          <a:xfrm>
            <a:off x="2049078" y="4154082"/>
            <a:ext cx="6718696" cy="371244"/>
            <a:chOff x="1642831" y="4893276"/>
            <a:chExt cx="7278587" cy="402181"/>
          </a:xfrm>
        </p:grpSpPr>
        <p:pic>
          <p:nvPicPr>
            <p:cNvPr id="28" name="Grafik 27"/>
            <p:cNvPicPr>
              <a:picLocks noChangeAspect="1"/>
            </p:cNvPicPr>
            <p:nvPr/>
          </p:nvPicPr>
          <p:blipFill rotWithShape="1">
            <a:blip r:embed="rId2"/>
            <a:srcRect l="46093" t="-24283" b="-1"/>
            <a:stretch/>
          </p:blipFill>
          <p:spPr>
            <a:xfrm>
              <a:off x="5132173" y="4893276"/>
              <a:ext cx="3789245" cy="401579"/>
            </a:xfrm>
            <a:prstGeom prst="rect">
              <a:avLst/>
            </a:prstGeom>
          </p:spPr>
        </p:pic>
        <p:pic>
          <p:nvPicPr>
            <p:cNvPr id="31" name="Grafik 30"/>
            <p:cNvPicPr>
              <a:picLocks noChangeAspect="1"/>
            </p:cNvPicPr>
            <p:nvPr/>
          </p:nvPicPr>
          <p:blipFill rotWithShape="1">
            <a:blip r:embed="rId3"/>
            <a:srcRect t="39165" r="51084"/>
            <a:stretch/>
          </p:blipFill>
          <p:spPr>
            <a:xfrm>
              <a:off x="1642831" y="5098888"/>
              <a:ext cx="3438449" cy="196569"/>
            </a:xfrm>
            <a:prstGeom prst="rect">
              <a:avLst/>
            </a:prstGeom>
          </p:spPr>
        </p:pic>
      </p:grpSp>
      <p:sp>
        <p:nvSpPr>
          <p:cNvPr id="32" name="Rechteck 241"/>
          <p:cNvSpPr/>
          <p:nvPr/>
        </p:nvSpPr>
        <p:spPr bwMode="auto">
          <a:xfrm rot="18711774">
            <a:off x="5158340" y="4243147"/>
            <a:ext cx="164458" cy="492307"/>
          </a:xfrm>
          <a:custGeom>
            <a:avLst/>
            <a:gdLst>
              <a:gd name="connsiteX0" fmla="*/ 0 w 817381"/>
              <a:gd name="connsiteY0" fmla="*/ 0 h 637956"/>
              <a:gd name="connsiteX1" fmla="*/ 817381 w 817381"/>
              <a:gd name="connsiteY1" fmla="*/ 0 h 637956"/>
              <a:gd name="connsiteX2" fmla="*/ 817381 w 817381"/>
              <a:gd name="connsiteY2" fmla="*/ 637956 h 637956"/>
              <a:gd name="connsiteX3" fmla="*/ 0 w 817381"/>
              <a:gd name="connsiteY3" fmla="*/ 637956 h 637956"/>
              <a:gd name="connsiteX4" fmla="*/ 0 w 817381"/>
              <a:gd name="connsiteY4" fmla="*/ 0 h 637956"/>
              <a:gd name="connsiteX0" fmla="*/ 0 w 817381"/>
              <a:gd name="connsiteY0" fmla="*/ 0 h 637956"/>
              <a:gd name="connsiteX1" fmla="*/ 360181 w 817381"/>
              <a:gd name="connsiteY1" fmla="*/ 281940 h 637956"/>
              <a:gd name="connsiteX2" fmla="*/ 817381 w 817381"/>
              <a:gd name="connsiteY2" fmla="*/ 637956 h 637956"/>
              <a:gd name="connsiteX3" fmla="*/ 0 w 817381"/>
              <a:gd name="connsiteY3" fmla="*/ 637956 h 637956"/>
              <a:gd name="connsiteX4" fmla="*/ 0 w 817381"/>
              <a:gd name="connsiteY4" fmla="*/ 0 h 637956"/>
              <a:gd name="connsiteX0" fmla="*/ 0 w 360181"/>
              <a:gd name="connsiteY0" fmla="*/ 0 h 866556"/>
              <a:gd name="connsiteX1" fmla="*/ 360181 w 360181"/>
              <a:gd name="connsiteY1" fmla="*/ 281940 h 866556"/>
              <a:gd name="connsiteX2" fmla="*/ 352561 w 360181"/>
              <a:gd name="connsiteY2" fmla="*/ 866556 h 866556"/>
              <a:gd name="connsiteX3" fmla="*/ 0 w 360181"/>
              <a:gd name="connsiteY3" fmla="*/ 637956 h 866556"/>
              <a:gd name="connsiteX4" fmla="*/ 0 w 360181"/>
              <a:gd name="connsiteY4" fmla="*/ 0 h 866556"/>
              <a:gd name="connsiteX0" fmla="*/ 0 w 352561"/>
              <a:gd name="connsiteY0" fmla="*/ 0 h 866556"/>
              <a:gd name="connsiteX1" fmla="*/ 223021 w 352561"/>
              <a:gd name="connsiteY1" fmla="*/ 464820 h 866556"/>
              <a:gd name="connsiteX2" fmla="*/ 352561 w 352561"/>
              <a:gd name="connsiteY2" fmla="*/ 866556 h 866556"/>
              <a:gd name="connsiteX3" fmla="*/ 0 w 352561"/>
              <a:gd name="connsiteY3" fmla="*/ 637956 h 866556"/>
              <a:gd name="connsiteX4" fmla="*/ 0 w 352561"/>
              <a:gd name="connsiteY4" fmla="*/ 0 h 866556"/>
              <a:gd name="connsiteX0" fmla="*/ 0 w 352561"/>
              <a:gd name="connsiteY0" fmla="*/ 0 h 866556"/>
              <a:gd name="connsiteX1" fmla="*/ 223021 w 352561"/>
              <a:gd name="connsiteY1" fmla="*/ 464820 h 866556"/>
              <a:gd name="connsiteX2" fmla="*/ 352561 w 352561"/>
              <a:gd name="connsiteY2" fmla="*/ 866556 h 866556"/>
              <a:gd name="connsiteX3" fmla="*/ 91440 w 352561"/>
              <a:gd name="connsiteY3" fmla="*/ 493176 h 866556"/>
              <a:gd name="connsiteX4" fmla="*/ 0 w 352561"/>
              <a:gd name="connsiteY4" fmla="*/ 0 h 866556"/>
              <a:gd name="connsiteX0" fmla="*/ 0 w 472440"/>
              <a:gd name="connsiteY0" fmla="*/ 0 h 866556"/>
              <a:gd name="connsiteX1" fmla="*/ 223021 w 472440"/>
              <a:gd name="connsiteY1" fmla="*/ 464820 h 866556"/>
              <a:gd name="connsiteX2" fmla="*/ 472440 w 472440"/>
              <a:gd name="connsiteY2" fmla="*/ 365661 h 866556"/>
              <a:gd name="connsiteX3" fmla="*/ 352561 w 472440"/>
              <a:gd name="connsiteY3" fmla="*/ 866556 h 866556"/>
              <a:gd name="connsiteX4" fmla="*/ 91440 w 472440"/>
              <a:gd name="connsiteY4" fmla="*/ 493176 h 866556"/>
              <a:gd name="connsiteX5" fmla="*/ 0 w 472440"/>
              <a:gd name="connsiteY5" fmla="*/ 0 h 866556"/>
              <a:gd name="connsiteX0" fmla="*/ 0 w 472440"/>
              <a:gd name="connsiteY0" fmla="*/ 0 h 866556"/>
              <a:gd name="connsiteX1" fmla="*/ 223021 w 472440"/>
              <a:gd name="connsiteY1" fmla="*/ 464820 h 866556"/>
              <a:gd name="connsiteX2" fmla="*/ 472440 w 472440"/>
              <a:gd name="connsiteY2" fmla="*/ 365661 h 866556"/>
              <a:gd name="connsiteX3" fmla="*/ 352561 w 472440"/>
              <a:gd name="connsiteY3" fmla="*/ 866556 h 866556"/>
              <a:gd name="connsiteX4" fmla="*/ 312419 w 472440"/>
              <a:gd name="connsiteY4" fmla="*/ 540921 h 866556"/>
              <a:gd name="connsiteX5" fmla="*/ 91440 w 472440"/>
              <a:gd name="connsiteY5" fmla="*/ 493176 h 866556"/>
              <a:gd name="connsiteX6" fmla="*/ 0 w 472440"/>
              <a:gd name="connsiteY6" fmla="*/ 0 h 866556"/>
              <a:gd name="connsiteX0" fmla="*/ 0 w 472440"/>
              <a:gd name="connsiteY0" fmla="*/ 0 h 866556"/>
              <a:gd name="connsiteX1" fmla="*/ 223021 w 472440"/>
              <a:gd name="connsiteY1" fmla="*/ 464820 h 866556"/>
              <a:gd name="connsiteX2" fmla="*/ 472440 w 472440"/>
              <a:gd name="connsiteY2" fmla="*/ 365661 h 866556"/>
              <a:gd name="connsiteX3" fmla="*/ 352561 w 472440"/>
              <a:gd name="connsiteY3" fmla="*/ 866556 h 866556"/>
              <a:gd name="connsiteX4" fmla="*/ 312419 w 472440"/>
              <a:gd name="connsiteY4" fmla="*/ 540921 h 866556"/>
              <a:gd name="connsiteX5" fmla="*/ 45720 w 472440"/>
              <a:gd name="connsiteY5" fmla="*/ 653196 h 866556"/>
              <a:gd name="connsiteX6" fmla="*/ 0 w 472440"/>
              <a:gd name="connsiteY6" fmla="*/ 0 h 86655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312419 w 472440"/>
              <a:gd name="connsiteY4" fmla="*/ 540921 h 935136"/>
              <a:gd name="connsiteX5" fmla="*/ 45720 w 472440"/>
              <a:gd name="connsiteY5" fmla="*/ 653196 h 935136"/>
              <a:gd name="connsiteX6" fmla="*/ 0 w 472440"/>
              <a:gd name="connsiteY6" fmla="*/ 0 h 93513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0 w 472440"/>
              <a:gd name="connsiteY0" fmla="*/ 0 h 935136"/>
              <a:gd name="connsiteX1" fmla="*/ 146821 w 472440"/>
              <a:gd name="connsiteY1" fmla="*/ 474345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254318 w 426720"/>
              <a:gd name="connsiteY0" fmla="*/ 0 h 954186"/>
              <a:gd name="connsiteX1" fmla="*/ 101101 w 426720"/>
              <a:gd name="connsiteY1" fmla="*/ 493395 h 954186"/>
              <a:gd name="connsiteX2" fmla="*/ 426720 w 426720"/>
              <a:gd name="connsiteY2" fmla="*/ 384711 h 954186"/>
              <a:gd name="connsiteX3" fmla="*/ 55381 w 426720"/>
              <a:gd name="connsiteY3" fmla="*/ 954186 h 954186"/>
              <a:gd name="connsiteX4" fmla="*/ 109537 w 426720"/>
              <a:gd name="connsiteY4" fmla="*/ 621883 h 954186"/>
              <a:gd name="connsiteX5" fmla="*/ 0 w 426720"/>
              <a:gd name="connsiteY5" fmla="*/ 672246 h 954186"/>
              <a:gd name="connsiteX6" fmla="*/ 254318 w 426720"/>
              <a:gd name="connsiteY6" fmla="*/ 0 h 954186"/>
              <a:gd name="connsiteX0" fmla="*/ 254318 w 426720"/>
              <a:gd name="connsiteY0" fmla="*/ 0 h 954186"/>
              <a:gd name="connsiteX1" fmla="*/ 153488 w 426720"/>
              <a:gd name="connsiteY1" fmla="*/ 450533 h 954186"/>
              <a:gd name="connsiteX2" fmla="*/ 426720 w 426720"/>
              <a:gd name="connsiteY2" fmla="*/ 384711 h 954186"/>
              <a:gd name="connsiteX3" fmla="*/ 55381 w 426720"/>
              <a:gd name="connsiteY3" fmla="*/ 954186 h 954186"/>
              <a:gd name="connsiteX4" fmla="*/ 109537 w 426720"/>
              <a:gd name="connsiteY4" fmla="*/ 621883 h 954186"/>
              <a:gd name="connsiteX5" fmla="*/ 0 w 426720"/>
              <a:gd name="connsiteY5" fmla="*/ 672246 h 954186"/>
              <a:gd name="connsiteX6" fmla="*/ 254318 w 426720"/>
              <a:gd name="connsiteY6" fmla="*/ 0 h 954186"/>
              <a:gd name="connsiteX0" fmla="*/ 244793 w 417195"/>
              <a:gd name="connsiteY0" fmla="*/ 0 h 954186"/>
              <a:gd name="connsiteX1" fmla="*/ 143963 w 417195"/>
              <a:gd name="connsiteY1" fmla="*/ 450533 h 954186"/>
              <a:gd name="connsiteX2" fmla="*/ 417195 w 417195"/>
              <a:gd name="connsiteY2" fmla="*/ 384711 h 954186"/>
              <a:gd name="connsiteX3" fmla="*/ 45856 w 417195"/>
              <a:gd name="connsiteY3" fmla="*/ 954186 h 954186"/>
              <a:gd name="connsiteX4" fmla="*/ 100012 w 417195"/>
              <a:gd name="connsiteY4" fmla="*/ 621883 h 954186"/>
              <a:gd name="connsiteX5" fmla="*/ 0 w 417195"/>
              <a:gd name="connsiteY5" fmla="*/ 534134 h 954186"/>
              <a:gd name="connsiteX6" fmla="*/ 244793 w 417195"/>
              <a:gd name="connsiteY6" fmla="*/ 0 h 954186"/>
              <a:gd name="connsiteX0" fmla="*/ 244793 w 417195"/>
              <a:gd name="connsiteY0" fmla="*/ 0 h 954186"/>
              <a:gd name="connsiteX1" fmla="*/ 143963 w 417195"/>
              <a:gd name="connsiteY1" fmla="*/ 450533 h 954186"/>
              <a:gd name="connsiteX2" fmla="*/ 417195 w 417195"/>
              <a:gd name="connsiteY2" fmla="*/ 384711 h 954186"/>
              <a:gd name="connsiteX3" fmla="*/ 45856 w 417195"/>
              <a:gd name="connsiteY3" fmla="*/ 954186 h 954186"/>
              <a:gd name="connsiteX4" fmla="*/ 242887 w 417195"/>
              <a:gd name="connsiteY4" fmla="*/ 521870 h 954186"/>
              <a:gd name="connsiteX5" fmla="*/ 0 w 417195"/>
              <a:gd name="connsiteY5" fmla="*/ 534134 h 954186"/>
              <a:gd name="connsiteX6" fmla="*/ 244793 w 417195"/>
              <a:gd name="connsiteY6" fmla="*/ 0 h 954186"/>
              <a:gd name="connsiteX0" fmla="*/ 244793 w 417195"/>
              <a:gd name="connsiteY0" fmla="*/ 0 h 954186"/>
              <a:gd name="connsiteX1" fmla="*/ 143963 w 417195"/>
              <a:gd name="connsiteY1" fmla="*/ 450533 h 954186"/>
              <a:gd name="connsiteX2" fmla="*/ 417195 w 417195"/>
              <a:gd name="connsiteY2" fmla="*/ 384711 h 954186"/>
              <a:gd name="connsiteX3" fmla="*/ 45856 w 417195"/>
              <a:gd name="connsiteY3" fmla="*/ 954186 h 954186"/>
              <a:gd name="connsiteX4" fmla="*/ 195262 w 417195"/>
              <a:gd name="connsiteY4" fmla="*/ 531395 h 954186"/>
              <a:gd name="connsiteX5" fmla="*/ 0 w 417195"/>
              <a:gd name="connsiteY5" fmla="*/ 534134 h 954186"/>
              <a:gd name="connsiteX6" fmla="*/ 244793 w 417195"/>
              <a:gd name="connsiteY6" fmla="*/ 0 h 954186"/>
              <a:gd name="connsiteX0" fmla="*/ 244793 w 417195"/>
              <a:gd name="connsiteY0" fmla="*/ 0 h 954186"/>
              <a:gd name="connsiteX1" fmla="*/ 148726 w 417195"/>
              <a:gd name="connsiteY1" fmla="*/ 398146 h 954186"/>
              <a:gd name="connsiteX2" fmla="*/ 417195 w 417195"/>
              <a:gd name="connsiteY2" fmla="*/ 384711 h 954186"/>
              <a:gd name="connsiteX3" fmla="*/ 45856 w 417195"/>
              <a:gd name="connsiteY3" fmla="*/ 954186 h 954186"/>
              <a:gd name="connsiteX4" fmla="*/ 195262 w 417195"/>
              <a:gd name="connsiteY4" fmla="*/ 531395 h 954186"/>
              <a:gd name="connsiteX5" fmla="*/ 0 w 417195"/>
              <a:gd name="connsiteY5" fmla="*/ 534134 h 954186"/>
              <a:gd name="connsiteX6" fmla="*/ 244793 w 417195"/>
              <a:gd name="connsiteY6" fmla="*/ 0 h 954186"/>
              <a:gd name="connsiteX0" fmla="*/ 244793 w 355282"/>
              <a:gd name="connsiteY0" fmla="*/ 0 h 954186"/>
              <a:gd name="connsiteX1" fmla="*/ 148726 w 355282"/>
              <a:gd name="connsiteY1" fmla="*/ 398146 h 954186"/>
              <a:gd name="connsiteX2" fmla="*/ 355282 w 355282"/>
              <a:gd name="connsiteY2" fmla="*/ 413286 h 954186"/>
              <a:gd name="connsiteX3" fmla="*/ 45856 w 355282"/>
              <a:gd name="connsiteY3" fmla="*/ 954186 h 954186"/>
              <a:gd name="connsiteX4" fmla="*/ 195262 w 355282"/>
              <a:gd name="connsiteY4" fmla="*/ 531395 h 954186"/>
              <a:gd name="connsiteX5" fmla="*/ 0 w 355282"/>
              <a:gd name="connsiteY5" fmla="*/ 534134 h 954186"/>
              <a:gd name="connsiteX6" fmla="*/ 244793 w 355282"/>
              <a:gd name="connsiteY6" fmla="*/ 0 h 954186"/>
              <a:gd name="connsiteX0" fmla="*/ 244793 w 355282"/>
              <a:gd name="connsiteY0" fmla="*/ 0 h 954186"/>
              <a:gd name="connsiteX1" fmla="*/ 148726 w 355282"/>
              <a:gd name="connsiteY1" fmla="*/ 398146 h 954186"/>
              <a:gd name="connsiteX2" fmla="*/ 355282 w 355282"/>
              <a:gd name="connsiteY2" fmla="*/ 413286 h 954186"/>
              <a:gd name="connsiteX3" fmla="*/ 45856 w 355282"/>
              <a:gd name="connsiteY3" fmla="*/ 954186 h 954186"/>
              <a:gd name="connsiteX4" fmla="*/ 195262 w 355282"/>
              <a:gd name="connsiteY4" fmla="*/ 531395 h 954186"/>
              <a:gd name="connsiteX5" fmla="*/ 0 w 355282"/>
              <a:gd name="connsiteY5" fmla="*/ 596047 h 954186"/>
              <a:gd name="connsiteX6" fmla="*/ 244793 w 355282"/>
              <a:gd name="connsiteY6" fmla="*/ 0 h 954186"/>
              <a:gd name="connsiteX0" fmla="*/ 244793 w 355282"/>
              <a:gd name="connsiteY0" fmla="*/ 0 h 954186"/>
              <a:gd name="connsiteX1" fmla="*/ 148726 w 355282"/>
              <a:gd name="connsiteY1" fmla="*/ 398146 h 954186"/>
              <a:gd name="connsiteX2" fmla="*/ 355282 w 355282"/>
              <a:gd name="connsiteY2" fmla="*/ 413286 h 954186"/>
              <a:gd name="connsiteX3" fmla="*/ 45856 w 355282"/>
              <a:gd name="connsiteY3" fmla="*/ 954186 h 954186"/>
              <a:gd name="connsiteX4" fmla="*/ 209550 w 355282"/>
              <a:gd name="connsiteY4" fmla="*/ 493295 h 954186"/>
              <a:gd name="connsiteX5" fmla="*/ 0 w 355282"/>
              <a:gd name="connsiteY5" fmla="*/ 596047 h 954186"/>
              <a:gd name="connsiteX6" fmla="*/ 244793 w 355282"/>
              <a:gd name="connsiteY6" fmla="*/ 0 h 954186"/>
              <a:gd name="connsiteX0" fmla="*/ 244793 w 355282"/>
              <a:gd name="connsiteY0" fmla="*/ 0 h 954186"/>
              <a:gd name="connsiteX1" fmla="*/ 139201 w 355282"/>
              <a:gd name="connsiteY1" fmla="*/ 431483 h 954186"/>
              <a:gd name="connsiteX2" fmla="*/ 355282 w 355282"/>
              <a:gd name="connsiteY2" fmla="*/ 413286 h 954186"/>
              <a:gd name="connsiteX3" fmla="*/ 45856 w 355282"/>
              <a:gd name="connsiteY3" fmla="*/ 954186 h 954186"/>
              <a:gd name="connsiteX4" fmla="*/ 209550 w 355282"/>
              <a:gd name="connsiteY4" fmla="*/ 493295 h 954186"/>
              <a:gd name="connsiteX5" fmla="*/ 0 w 355282"/>
              <a:gd name="connsiteY5" fmla="*/ 596047 h 954186"/>
              <a:gd name="connsiteX6" fmla="*/ 244793 w 355282"/>
              <a:gd name="connsiteY6" fmla="*/ 0 h 954186"/>
              <a:gd name="connsiteX0" fmla="*/ 244793 w 331469"/>
              <a:gd name="connsiteY0" fmla="*/ 0 h 954186"/>
              <a:gd name="connsiteX1" fmla="*/ 139201 w 331469"/>
              <a:gd name="connsiteY1" fmla="*/ 431483 h 954186"/>
              <a:gd name="connsiteX2" fmla="*/ 331469 w 331469"/>
              <a:gd name="connsiteY2" fmla="*/ 408524 h 954186"/>
              <a:gd name="connsiteX3" fmla="*/ 45856 w 331469"/>
              <a:gd name="connsiteY3" fmla="*/ 954186 h 954186"/>
              <a:gd name="connsiteX4" fmla="*/ 209550 w 331469"/>
              <a:gd name="connsiteY4" fmla="*/ 493295 h 954186"/>
              <a:gd name="connsiteX5" fmla="*/ 0 w 331469"/>
              <a:gd name="connsiteY5" fmla="*/ 596047 h 954186"/>
              <a:gd name="connsiteX6" fmla="*/ 244793 w 331469"/>
              <a:gd name="connsiteY6" fmla="*/ 0 h 954186"/>
              <a:gd name="connsiteX0" fmla="*/ 287655 w 331469"/>
              <a:gd name="connsiteY0" fmla="*/ 0 h 949423"/>
              <a:gd name="connsiteX1" fmla="*/ 139201 w 331469"/>
              <a:gd name="connsiteY1" fmla="*/ 426720 h 949423"/>
              <a:gd name="connsiteX2" fmla="*/ 331469 w 331469"/>
              <a:gd name="connsiteY2" fmla="*/ 403761 h 949423"/>
              <a:gd name="connsiteX3" fmla="*/ 45856 w 331469"/>
              <a:gd name="connsiteY3" fmla="*/ 949423 h 949423"/>
              <a:gd name="connsiteX4" fmla="*/ 209550 w 331469"/>
              <a:gd name="connsiteY4" fmla="*/ 488532 h 949423"/>
              <a:gd name="connsiteX5" fmla="*/ 0 w 331469"/>
              <a:gd name="connsiteY5" fmla="*/ 591284 h 949423"/>
              <a:gd name="connsiteX6" fmla="*/ 287655 w 331469"/>
              <a:gd name="connsiteY6" fmla="*/ 0 h 949423"/>
              <a:gd name="connsiteX0" fmla="*/ 240030 w 331469"/>
              <a:gd name="connsiteY0" fmla="*/ 0 h 977998"/>
              <a:gd name="connsiteX1" fmla="*/ 139201 w 331469"/>
              <a:gd name="connsiteY1" fmla="*/ 455295 h 977998"/>
              <a:gd name="connsiteX2" fmla="*/ 331469 w 331469"/>
              <a:gd name="connsiteY2" fmla="*/ 432336 h 977998"/>
              <a:gd name="connsiteX3" fmla="*/ 45856 w 331469"/>
              <a:gd name="connsiteY3" fmla="*/ 977998 h 977998"/>
              <a:gd name="connsiteX4" fmla="*/ 209550 w 331469"/>
              <a:gd name="connsiteY4" fmla="*/ 517107 h 977998"/>
              <a:gd name="connsiteX5" fmla="*/ 0 w 331469"/>
              <a:gd name="connsiteY5" fmla="*/ 619859 h 977998"/>
              <a:gd name="connsiteX6" fmla="*/ 240030 w 331469"/>
              <a:gd name="connsiteY6" fmla="*/ 0 h 977998"/>
              <a:gd name="connsiteX0" fmla="*/ 240030 w 331469"/>
              <a:gd name="connsiteY0" fmla="*/ 0 h 977998"/>
              <a:gd name="connsiteX1" fmla="*/ 139201 w 331469"/>
              <a:gd name="connsiteY1" fmla="*/ 455295 h 977998"/>
              <a:gd name="connsiteX2" fmla="*/ 331469 w 331469"/>
              <a:gd name="connsiteY2" fmla="*/ 432336 h 977998"/>
              <a:gd name="connsiteX3" fmla="*/ 45856 w 331469"/>
              <a:gd name="connsiteY3" fmla="*/ 977998 h 977998"/>
              <a:gd name="connsiteX4" fmla="*/ 209550 w 331469"/>
              <a:gd name="connsiteY4" fmla="*/ 517107 h 977998"/>
              <a:gd name="connsiteX5" fmla="*/ 0 w 331469"/>
              <a:gd name="connsiteY5" fmla="*/ 619859 h 977998"/>
              <a:gd name="connsiteX6" fmla="*/ 240030 w 331469"/>
              <a:gd name="connsiteY6" fmla="*/ 0 h 977998"/>
              <a:gd name="connsiteX0" fmla="*/ 240030 w 326706"/>
              <a:gd name="connsiteY0" fmla="*/ 0 h 977998"/>
              <a:gd name="connsiteX1" fmla="*/ 139201 w 326706"/>
              <a:gd name="connsiteY1" fmla="*/ 455295 h 977998"/>
              <a:gd name="connsiteX2" fmla="*/ 326706 w 326706"/>
              <a:gd name="connsiteY2" fmla="*/ 389473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39201 w 326706"/>
              <a:gd name="connsiteY1" fmla="*/ 455295 h 977998"/>
              <a:gd name="connsiteX2" fmla="*/ 326706 w 326706"/>
              <a:gd name="connsiteY2" fmla="*/ 389473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20151 w 326706"/>
              <a:gd name="connsiteY1" fmla="*/ 474345 h 977998"/>
              <a:gd name="connsiteX2" fmla="*/ 326706 w 326706"/>
              <a:gd name="connsiteY2" fmla="*/ 389473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20151 w 326706"/>
              <a:gd name="connsiteY1" fmla="*/ 474345 h 977998"/>
              <a:gd name="connsiteX2" fmla="*/ 326706 w 326706"/>
              <a:gd name="connsiteY2" fmla="*/ 394236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20151 w 326706"/>
              <a:gd name="connsiteY1" fmla="*/ 474345 h 977998"/>
              <a:gd name="connsiteX2" fmla="*/ 326706 w 326706"/>
              <a:gd name="connsiteY2" fmla="*/ 394236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6706" h="977998">
                <a:moveTo>
                  <a:pt x="240030" y="0"/>
                </a:moveTo>
                <a:lnTo>
                  <a:pt x="120151" y="474345"/>
                </a:lnTo>
                <a:cubicBezTo>
                  <a:pt x="213903" y="441434"/>
                  <a:pt x="223428" y="434290"/>
                  <a:pt x="326706" y="394236"/>
                </a:cubicBezTo>
                <a:lnTo>
                  <a:pt x="45856" y="977998"/>
                </a:lnTo>
                <a:lnTo>
                  <a:pt x="209550" y="517107"/>
                </a:lnTo>
                <a:lnTo>
                  <a:pt x="0" y="619859"/>
                </a:lnTo>
                <a:lnTo>
                  <a:pt x="240030" y="0"/>
                </a:lnTo>
                <a:close/>
              </a:path>
            </a:pathLst>
          </a:custGeom>
          <a:solidFill>
            <a:schemeClr val="bg2"/>
          </a:solidFill>
          <a:ln w="9525" cap="flat" cmpd="sng" algn="ctr">
            <a:noFill/>
            <a:prstDash val="solid"/>
            <a:round/>
            <a:headEnd type="none" w="med" len="med"/>
            <a:tailEnd type="none" w="med" len="med"/>
          </a:ln>
          <a:effectLst/>
        </p:spPr>
        <p:txBody>
          <a:bodyPr vert="horz" wrap="square" lIns="33231" tIns="43200" rIns="33231" bIns="43200" numCol="1" rtlCol="0" anchor="ctr" anchorCtr="0" compatLnSpc="1">
            <a:prstTxWarp prst="textNoShape">
              <a:avLst/>
            </a:prstTxWarp>
          </a:bodyPr>
          <a:lstStyle/>
          <a:p>
            <a:pPr marL="0" marR="0" lvl="0" indent="0" algn="ctr" defTabSz="844083" rtl="0" eaLnBrk="0" fontAlgn="base" latinLnBrk="0" hangingPunct="0">
              <a:lnSpc>
                <a:spcPct val="100000"/>
              </a:lnSpc>
              <a:spcBef>
                <a:spcPts val="0"/>
              </a:spcBef>
              <a:spcAft>
                <a:spcPts val="0"/>
              </a:spcAft>
              <a:buClrTx/>
              <a:buSzTx/>
              <a:buFontTx/>
              <a:buNone/>
              <a:tabLst/>
              <a:defRPr/>
            </a:pPr>
            <a:endParaRPr kumimoji="0" lang="de-DE" sz="1108" b="1" i="0" u="none" strike="noStrike" kern="1200" cap="none" spc="0" normalizeH="0" baseline="0" noProof="0">
              <a:ln>
                <a:noFill/>
              </a:ln>
              <a:solidFill>
                <a:srgbClr val="FFFFFF"/>
              </a:solidFill>
              <a:effectLst/>
              <a:uLnTx/>
              <a:uFillTx/>
              <a:latin typeface="Arial" charset="0"/>
              <a:ea typeface="+mn-ea"/>
              <a:cs typeface="+mn-cs"/>
            </a:endParaRPr>
          </a:p>
        </p:txBody>
      </p:sp>
      <p:sp>
        <p:nvSpPr>
          <p:cNvPr id="33" name="Rechteck 241"/>
          <p:cNvSpPr/>
          <p:nvPr/>
        </p:nvSpPr>
        <p:spPr bwMode="auto">
          <a:xfrm rot="18711774">
            <a:off x="7262995" y="4059748"/>
            <a:ext cx="219578" cy="657307"/>
          </a:xfrm>
          <a:custGeom>
            <a:avLst/>
            <a:gdLst>
              <a:gd name="connsiteX0" fmla="*/ 0 w 817381"/>
              <a:gd name="connsiteY0" fmla="*/ 0 h 637956"/>
              <a:gd name="connsiteX1" fmla="*/ 817381 w 817381"/>
              <a:gd name="connsiteY1" fmla="*/ 0 h 637956"/>
              <a:gd name="connsiteX2" fmla="*/ 817381 w 817381"/>
              <a:gd name="connsiteY2" fmla="*/ 637956 h 637956"/>
              <a:gd name="connsiteX3" fmla="*/ 0 w 817381"/>
              <a:gd name="connsiteY3" fmla="*/ 637956 h 637956"/>
              <a:gd name="connsiteX4" fmla="*/ 0 w 817381"/>
              <a:gd name="connsiteY4" fmla="*/ 0 h 637956"/>
              <a:gd name="connsiteX0" fmla="*/ 0 w 817381"/>
              <a:gd name="connsiteY0" fmla="*/ 0 h 637956"/>
              <a:gd name="connsiteX1" fmla="*/ 360181 w 817381"/>
              <a:gd name="connsiteY1" fmla="*/ 281940 h 637956"/>
              <a:gd name="connsiteX2" fmla="*/ 817381 w 817381"/>
              <a:gd name="connsiteY2" fmla="*/ 637956 h 637956"/>
              <a:gd name="connsiteX3" fmla="*/ 0 w 817381"/>
              <a:gd name="connsiteY3" fmla="*/ 637956 h 637956"/>
              <a:gd name="connsiteX4" fmla="*/ 0 w 817381"/>
              <a:gd name="connsiteY4" fmla="*/ 0 h 637956"/>
              <a:gd name="connsiteX0" fmla="*/ 0 w 360181"/>
              <a:gd name="connsiteY0" fmla="*/ 0 h 866556"/>
              <a:gd name="connsiteX1" fmla="*/ 360181 w 360181"/>
              <a:gd name="connsiteY1" fmla="*/ 281940 h 866556"/>
              <a:gd name="connsiteX2" fmla="*/ 352561 w 360181"/>
              <a:gd name="connsiteY2" fmla="*/ 866556 h 866556"/>
              <a:gd name="connsiteX3" fmla="*/ 0 w 360181"/>
              <a:gd name="connsiteY3" fmla="*/ 637956 h 866556"/>
              <a:gd name="connsiteX4" fmla="*/ 0 w 360181"/>
              <a:gd name="connsiteY4" fmla="*/ 0 h 866556"/>
              <a:gd name="connsiteX0" fmla="*/ 0 w 352561"/>
              <a:gd name="connsiteY0" fmla="*/ 0 h 866556"/>
              <a:gd name="connsiteX1" fmla="*/ 223021 w 352561"/>
              <a:gd name="connsiteY1" fmla="*/ 464820 h 866556"/>
              <a:gd name="connsiteX2" fmla="*/ 352561 w 352561"/>
              <a:gd name="connsiteY2" fmla="*/ 866556 h 866556"/>
              <a:gd name="connsiteX3" fmla="*/ 0 w 352561"/>
              <a:gd name="connsiteY3" fmla="*/ 637956 h 866556"/>
              <a:gd name="connsiteX4" fmla="*/ 0 w 352561"/>
              <a:gd name="connsiteY4" fmla="*/ 0 h 866556"/>
              <a:gd name="connsiteX0" fmla="*/ 0 w 352561"/>
              <a:gd name="connsiteY0" fmla="*/ 0 h 866556"/>
              <a:gd name="connsiteX1" fmla="*/ 223021 w 352561"/>
              <a:gd name="connsiteY1" fmla="*/ 464820 h 866556"/>
              <a:gd name="connsiteX2" fmla="*/ 352561 w 352561"/>
              <a:gd name="connsiteY2" fmla="*/ 866556 h 866556"/>
              <a:gd name="connsiteX3" fmla="*/ 91440 w 352561"/>
              <a:gd name="connsiteY3" fmla="*/ 493176 h 866556"/>
              <a:gd name="connsiteX4" fmla="*/ 0 w 352561"/>
              <a:gd name="connsiteY4" fmla="*/ 0 h 866556"/>
              <a:gd name="connsiteX0" fmla="*/ 0 w 472440"/>
              <a:gd name="connsiteY0" fmla="*/ 0 h 866556"/>
              <a:gd name="connsiteX1" fmla="*/ 223021 w 472440"/>
              <a:gd name="connsiteY1" fmla="*/ 464820 h 866556"/>
              <a:gd name="connsiteX2" fmla="*/ 472440 w 472440"/>
              <a:gd name="connsiteY2" fmla="*/ 365661 h 866556"/>
              <a:gd name="connsiteX3" fmla="*/ 352561 w 472440"/>
              <a:gd name="connsiteY3" fmla="*/ 866556 h 866556"/>
              <a:gd name="connsiteX4" fmla="*/ 91440 w 472440"/>
              <a:gd name="connsiteY4" fmla="*/ 493176 h 866556"/>
              <a:gd name="connsiteX5" fmla="*/ 0 w 472440"/>
              <a:gd name="connsiteY5" fmla="*/ 0 h 866556"/>
              <a:gd name="connsiteX0" fmla="*/ 0 w 472440"/>
              <a:gd name="connsiteY0" fmla="*/ 0 h 866556"/>
              <a:gd name="connsiteX1" fmla="*/ 223021 w 472440"/>
              <a:gd name="connsiteY1" fmla="*/ 464820 h 866556"/>
              <a:gd name="connsiteX2" fmla="*/ 472440 w 472440"/>
              <a:gd name="connsiteY2" fmla="*/ 365661 h 866556"/>
              <a:gd name="connsiteX3" fmla="*/ 352561 w 472440"/>
              <a:gd name="connsiteY3" fmla="*/ 866556 h 866556"/>
              <a:gd name="connsiteX4" fmla="*/ 312419 w 472440"/>
              <a:gd name="connsiteY4" fmla="*/ 540921 h 866556"/>
              <a:gd name="connsiteX5" fmla="*/ 91440 w 472440"/>
              <a:gd name="connsiteY5" fmla="*/ 493176 h 866556"/>
              <a:gd name="connsiteX6" fmla="*/ 0 w 472440"/>
              <a:gd name="connsiteY6" fmla="*/ 0 h 866556"/>
              <a:gd name="connsiteX0" fmla="*/ 0 w 472440"/>
              <a:gd name="connsiteY0" fmla="*/ 0 h 866556"/>
              <a:gd name="connsiteX1" fmla="*/ 223021 w 472440"/>
              <a:gd name="connsiteY1" fmla="*/ 464820 h 866556"/>
              <a:gd name="connsiteX2" fmla="*/ 472440 w 472440"/>
              <a:gd name="connsiteY2" fmla="*/ 365661 h 866556"/>
              <a:gd name="connsiteX3" fmla="*/ 352561 w 472440"/>
              <a:gd name="connsiteY3" fmla="*/ 866556 h 866556"/>
              <a:gd name="connsiteX4" fmla="*/ 312419 w 472440"/>
              <a:gd name="connsiteY4" fmla="*/ 540921 h 866556"/>
              <a:gd name="connsiteX5" fmla="*/ 45720 w 472440"/>
              <a:gd name="connsiteY5" fmla="*/ 653196 h 866556"/>
              <a:gd name="connsiteX6" fmla="*/ 0 w 472440"/>
              <a:gd name="connsiteY6" fmla="*/ 0 h 86655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312419 w 472440"/>
              <a:gd name="connsiteY4" fmla="*/ 540921 h 935136"/>
              <a:gd name="connsiteX5" fmla="*/ 45720 w 472440"/>
              <a:gd name="connsiteY5" fmla="*/ 653196 h 935136"/>
              <a:gd name="connsiteX6" fmla="*/ 0 w 472440"/>
              <a:gd name="connsiteY6" fmla="*/ 0 h 93513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0 w 472440"/>
              <a:gd name="connsiteY0" fmla="*/ 0 h 935136"/>
              <a:gd name="connsiteX1" fmla="*/ 146821 w 472440"/>
              <a:gd name="connsiteY1" fmla="*/ 474345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254318 w 426720"/>
              <a:gd name="connsiteY0" fmla="*/ 0 h 954186"/>
              <a:gd name="connsiteX1" fmla="*/ 101101 w 426720"/>
              <a:gd name="connsiteY1" fmla="*/ 493395 h 954186"/>
              <a:gd name="connsiteX2" fmla="*/ 426720 w 426720"/>
              <a:gd name="connsiteY2" fmla="*/ 384711 h 954186"/>
              <a:gd name="connsiteX3" fmla="*/ 55381 w 426720"/>
              <a:gd name="connsiteY3" fmla="*/ 954186 h 954186"/>
              <a:gd name="connsiteX4" fmla="*/ 109537 w 426720"/>
              <a:gd name="connsiteY4" fmla="*/ 621883 h 954186"/>
              <a:gd name="connsiteX5" fmla="*/ 0 w 426720"/>
              <a:gd name="connsiteY5" fmla="*/ 672246 h 954186"/>
              <a:gd name="connsiteX6" fmla="*/ 254318 w 426720"/>
              <a:gd name="connsiteY6" fmla="*/ 0 h 954186"/>
              <a:gd name="connsiteX0" fmla="*/ 254318 w 426720"/>
              <a:gd name="connsiteY0" fmla="*/ 0 h 954186"/>
              <a:gd name="connsiteX1" fmla="*/ 153488 w 426720"/>
              <a:gd name="connsiteY1" fmla="*/ 450533 h 954186"/>
              <a:gd name="connsiteX2" fmla="*/ 426720 w 426720"/>
              <a:gd name="connsiteY2" fmla="*/ 384711 h 954186"/>
              <a:gd name="connsiteX3" fmla="*/ 55381 w 426720"/>
              <a:gd name="connsiteY3" fmla="*/ 954186 h 954186"/>
              <a:gd name="connsiteX4" fmla="*/ 109537 w 426720"/>
              <a:gd name="connsiteY4" fmla="*/ 621883 h 954186"/>
              <a:gd name="connsiteX5" fmla="*/ 0 w 426720"/>
              <a:gd name="connsiteY5" fmla="*/ 672246 h 954186"/>
              <a:gd name="connsiteX6" fmla="*/ 254318 w 426720"/>
              <a:gd name="connsiteY6" fmla="*/ 0 h 954186"/>
              <a:gd name="connsiteX0" fmla="*/ 244793 w 417195"/>
              <a:gd name="connsiteY0" fmla="*/ 0 h 954186"/>
              <a:gd name="connsiteX1" fmla="*/ 143963 w 417195"/>
              <a:gd name="connsiteY1" fmla="*/ 450533 h 954186"/>
              <a:gd name="connsiteX2" fmla="*/ 417195 w 417195"/>
              <a:gd name="connsiteY2" fmla="*/ 384711 h 954186"/>
              <a:gd name="connsiteX3" fmla="*/ 45856 w 417195"/>
              <a:gd name="connsiteY3" fmla="*/ 954186 h 954186"/>
              <a:gd name="connsiteX4" fmla="*/ 100012 w 417195"/>
              <a:gd name="connsiteY4" fmla="*/ 621883 h 954186"/>
              <a:gd name="connsiteX5" fmla="*/ 0 w 417195"/>
              <a:gd name="connsiteY5" fmla="*/ 534134 h 954186"/>
              <a:gd name="connsiteX6" fmla="*/ 244793 w 417195"/>
              <a:gd name="connsiteY6" fmla="*/ 0 h 954186"/>
              <a:gd name="connsiteX0" fmla="*/ 244793 w 417195"/>
              <a:gd name="connsiteY0" fmla="*/ 0 h 954186"/>
              <a:gd name="connsiteX1" fmla="*/ 143963 w 417195"/>
              <a:gd name="connsiteY1" fmla="*/ 450533 h 954186"/>
              <a:gd name="connsiteX2" fmla="*/ 417195 w 417195"/>
              <a:gd name="connsiteY2" fmla="*/ 384711 h 954186"/>
              <a:gd name="connsiteX3" fmla="*/ 45856 w 417195"/>
              <a:gd name="connsiteY3" fmla="*/ 954186 h 954186"/>
              <a:gd name="connsiteX4" fmla="*/ 242887 w 417195"/>
              <a:gd name="connsiteY4" fmla="*/ 521870 h 954186"/>
              <a:gd name="connsiteX5" fmla="*/ 0 w 417195"/>
              <a:gd name="connsiteY5" fmla="*/ 534134 h 954186"/>
              <a:gd name="connsiteX6" fmla="*/ 244793 w 417195"/>
              <a:gd name="connsiteY6" fmla="*/ 0 h 954186"/>
              <a:gd name="connsiteX0" fmla="*/ 244793 w 417195"/>
              <a:gd name="connsiteY0" fmla="*/ 0 h 954186"/>
              <a:gd name="connsiteX1" fmla="*/ 143963 w 417195"/>
              <a:gd name="connsiteY1" fmla="*/ 450533 h 954186"/>
              <a:gd name="connsiteX2" fmla="*/ 417195 w 417195"/>
              <a:gd name="connsiteY2" fmla="*/ 384711 h 954186"/>
              <a:gd name="connsiteX3" fmla="*/ 45856 w 417195"/>
              <a:gd name="connsiteY3" fmla="*/ 954186 h 954186"/>
              <a:gd name="connsiteX4" fmla="*/ 195262 w 417195"/>
              <a:gd name="connsiteY4" fmla="*/ 531395 h 954186"/>
              <a:gd name="connsiteX5" fmla="*/ 0 w 417195"/>
              <a:gd name="connsiteY5" fmla="*/ 534134 h 954186"/>
              <a:gd name="connsiteX6" fmla="*/ 244793 w 417195"/>
              <a:gd name="connsiteY6" fmla="*/ 0 h 954186"/>
              <a:gd name="connsiteX0" fmla="*/ 244793 w 417195"/>
              <a:gd name="connsiteY0" fmla="*/ 0 h 954186"/>
              <a:gd name="connsiteX1" fmla="*/ 148726 w 417195"/>
              <a:gd name="connsiteY1" fmla="*/ 398146 h 954186"/>
              <a:gd name="connsiteX2" fmla="*/ 417195 w 417195"/>
              <a:gd name="connsiteY2" fmla="*/ 384711 h 954186"/>
              <a:gd name="connsiteX3" fmla="*/ 45856 w 417195"/>
              <a:gd name="connsiteY3" fmla="*/ 954186 h 954186"/>
              <a:gd name="connsiteX4" fmla="*/ 195262 w 417195"/>
              <a:gd name="connsiteY4" fmla="*/ 531395 h 954186"/>
              <a:gd name="connsiteX5" fmla="*/ 0 w 417195"/>
              <a:gd name="connsiteY5" fmla="*/ 534134 h 954186"/>
              <a:gd name="connsiteX6" fmla="*/ 244793 w 417195"/>
              <a:gd name="connsiteY6" fmla="*/ 0 h 954186"/>
              <a:gd name="connsiteX0" fmla="*/ 244793 w 355282"/>
              <a:gd name="connsiteY0" fmla="*/ 0 h 954186"/>
              <a:gd name="connsiteX1" fmla="*/ 148726 w 355282"/>
              <a:gd name="connsiteY1" fmla="*/ 398146 h 954186"/>
              <a:gd name="connsiteX2" fmla="*/ 355282 w 355282"/>
              <a:gd name="connsiteY2" fmla="*/ 413286 h 954186"/>
              <a:gd name="connsiteX3" fmla="*/ 45856 w 355282"/>
              <a:gd name="connsiteY3" fmla="*/ 954186 h 954186"/>
              <a:gd name="connsiteX4" fmla="*/ 195262 w 355282"/>
              <a:gd name="connsiteY4" fmla="*/ 531395 h 954186"/>
              <a:gd name="connsiteX5" fmla="*/ 0 w 355282"/>
              <a:gd name="connsiteY5" fmla="*/ 534134 h 954186"/>
              <a:gd name="connsiteX6" fmla="*/ 244793 w 355282"/>
              <a:gd name="connsiteY6" fmla="*/ 0 h 954186"/>
              <a:gd name="connsiteX0" fmla="*/ 244793 w 355282"/>
              <a:gd name="connsiteY0" fmla="*/ 0 h 954186"/>
              <a:gd name="connsiteX1" fmla="*/ 148726 w 355282"/>
              <a:gd name="connsiteY1" fmla="*/ 398146 h 954186"/>
              <a:gd name="connsiteX2" fmla="*/ 355282 w 355282"/>
              <a:gd name="connsiteY2" fmla="*/ 413286 h 954186"/>
              <a:gd name="connsiteX3" fmla="*/ 45856 w 355282"/>
              <a:gd name="connsiteY3" fmla="*/ 954186 h 954186"/>
              <a:gd name="connsiteX4" fmla="*/ 195262 w 355282"/>
              <a:gd name="connsiteY4" fmla="*/ 531395 h 954186"/>
              <a:gd name="connsiteX5" fmla="*/ 0 w 355282"/>
              <a:gd name="connsiteY5" fmla="*/ 596047 h 954186"/>
              <a:gd name="connsiteX6" fmla="*/ 244793 w 355282"/>
              <a:gd name="connsiteY6" fmla="*/ 0 h 954186"/>
              <a:gd name="connsiteX0" fmla="*/ 244793 w 355282"/>
              <a:gd name="connsiteY0" fmla="*/ 0 h 954186"/>
              <a:gd name="connsiteX1" fmla="*/ 148726 w 355282"/>
              <a:gd name="connsiteY1" fmla="*/ 398146 h 954186"/>
              <a:gd name="connsiteX2" fmla="*/ 355282 w 355282"/>
              <a:gd name="connsiteY2" fmla="*/ 413286 h 954186"/>
              <a:gd name="connsiteX3" fmla="*/ 45856 w 355282"/>
              <a:gd name="connsiteY3" fmla="*/ 954186 h 954186"/>
              <a:gd name="connsiteX4" fmla="*/ 209550 w 355282"/>
              <a:gd name="connsiteY4" fmla="*/ 493295 h 954186"/>
              <a:gd name="connsiteX5" fmla="*/ 0 w 355282"/>
              <a:gd name="connsiteY5" fmla="*/ 596047 h 954186"/>
              <a:gd name="connsiteX6" fmla="*/ 244793 w 355282"/>
              <a:gd name="connsiteY6" fmla="*/ 0 h 954186"/>
              <a:gd name="connsiteX0" fmla="*/ 244793 w 355282"/>
              <a:gd name="connsiteY0" fmla="*/ 0 h 954186"/>
              <a:gd name="connsiteX1" fmla="*/ 139201 w 355282"/>
              <a:gd name="connsiteY1" fmla="*/ 431483 h 954186"/>
              <a:gd name="connsiteX2" fmla="*/ 355282 w 355282"/>
              <a:gd name="connsiteY2" fmla="*/ 413286 h 954186"/>
              <a:gd name="connsiteX3" fmla="*/ 45856 w 355282"/>
              <a:gd name="connsiteY3" fmla="*/ 954186 h 954186"/>
              <a:gd name="connsiteX4" fmla="*/ 209550 w 355282"/>
              <a:gd name="connsiteY4" fmla="*/ 493295 h 954186"/>
              <a:gd name="connsiteX5" fmla="*/ 0 w 355282"/>
              <a:gd name="connsiteY5" fmla="*/ 596047 h 954186"/>
              <a:gd name="connsiteX6" fmla="*/ 244793 w 355282"/>
              <a:gd name="connsiteY6" fmla="*/ 0 h 954186"/>
              <a:gd name="connsiteX0" fmla="*/ 244793 w 331469"/>
              <a:gd name="connsiteY0" fmla="*/ 0 h 954186"/>
              <a:gd name="connsiteX1" fmla="*/ 139201 w 331469"/>
              <a:gd name="connsiteY1" fmla="*/ 431483 h 954186"/>
              <a:gd name="connsiteX2" fmla="*/ 331469 w 331469"/>
              <a:gd name="connsiteY2" fmla="*/ 408524 h 954186"/>
              <a:gd name="connsiteX3" fmla="*/ 45856 w 331469"/>
              <a:gd name="connsiteY3" fmla="*/ 954186 h 954186"/>
              <a:gd name="connsiteX4" fmla="*/ 209550 w 331469"/>
              <a:gd name="connsiteY4" fmla="*/ 493295 h 954186"/>
              <a:gd name="connsiteX5" fmla="*/ 0 w 331469"/>
              <a:gd name="connsiteY5" fmla="*/ 596047 h 954186"/>
              <a:gd name="connsiteX6" fmla="*/ 244793 w 331469"/>
              <a:gd name="connsiteY6" fmla="*/ 0 h 954186"/>
              <a:gd name="connsiteX0" fmla="*/ 287655 w 331469"/>
              <a:gd name="connsiteY0" fmla="*/ 0 h 949423"/>
              <a:gd name="connsiteX1" fmla="*/ 139201 w 331469"/>
              <a:gd name="connsiteY1" fmla="*/ 426720 h 949423"/>
              <a:gd name="connsiteX2" fmla="*/ 331469 w 331469"/>
              <a:gd name="connsiteY2" fmla="*/ 403761 h 949423"/>
              <a:gd name="connsiteX3" fmla="*/ 45856 w 331469"/>
              <a:gd name="connsiteY3" fmla="*/ 949423 h 949423"/>
              <a:gd name="connsiteX4" fmla="*/ 209550 w 331469"/>
              <a:gd name="connsiteY4" fmla="*/ 488532 h 949423"/>
              <a:gd name="connsiteX5" fmla="*/ 0 w 331469"/>
              <a:gd name="connsiteY5" fmla="*/ 591284 h 949423"/>
              <a:gd name="connsiteX6" fmla="*/ 287655 w 331469"/>
              <a:gd name="connsiteY6" fmla="*/ 0 h 949423"/>
              <a:gd name="connsiteX0" fmla="*/ 240030 w 331469"/>
              <a:gd name="connsiteY0" fmla="*/ 0 h 977998"/>
              <a:gd name="connsiteX1" fmla="*/ 139201 w 331469"/>
              <a:gd name="connsiteY1" fmla="*/ 455295 h 977998"/>
              <a:gd name="connsiteX2" fmla="*/ 331469 w 331469"/>
              <a:gd name="connsiteY2" fmla="*/ 432336 h 977998"/>
              <a:gd name="connsiteX3" fmla="*/ 45856 w 331469"/>
              <a:gd name="connsiteY3" fmla="*/ 977998 h 977998"/>
              <a:gd name="connsiteX4" fmla="*/ 209550 w 331469"/>
              <a:gd name="connsiteY4" fmla="*/ 517107 h 977998"/>
              <a:gd name="connsiteX5" fmla="*/ 0 w 331469"/>
              <a:gd name="connsiteY5" fmla="*/ 619859 h 977998"/>
              <a:gd name="connsiteX6" fmla="*/ 240030 w 331469"/>
              <a:gd name="connsiteY6" fmla="*/ 0 h 977998"/>
              <a:gd name="connsiteX0" fmla="*/ 240030 w 331469"/>
              <a:gd name="connsiteY0" fmla="*/ 0 h 977998"/>
              <a:gd name="connsiteX1" fmla="*/ 139201 w 331469"/>
              <a:gd name="connsiteY1" fmla="*/ 455295 h 977998"/>
              <a:gd name="connsiteX2" fmla="*/ 331469 w 331469"/>
              <a:gd name="connsiteY2" fmla="*/ 432336 h 977998"/>
              <a:gd name="connsiteX3" fmla="*/ 45856 w 331469"/>
              <a:gd name="connsiteY3" fmla="*/ 977998 h 977998"/>
              <a:gd name="connsiteX4" fmla="*/ 209550 w 331469"/>
              <a:gd name="connsiteY4" fmla="*/ 517107 h 977998"/>
              <a:gd name="connsiteX5" fmla="*/ 0 w 331469"/>
              <a:gd name="connsiteY5" fmla="*/ 619859 h 977998"/>
              <a:gd name="connsiteX6" fmla="*/ 240030 w 331469"/>
              <a:gd name="connsiteY6" fmla="*/ 0 h 977998"/>
              <a:gd name="connsiteX0" fmla="*/ 240030 w 326706"/>
              <a:gd name="connsiteY0" fmla="*/ 0 h 977998"/>
              <a:gd name="connsiteX1" fmla="*/ 139201 w 326706"/>
              <a:gd name="connsiteY1" fmla="*/ 455295 h 977998"/>
              <a:gd name="connsiteX2" fmla="*/ 326706 w 326706"/>
              <a:gd name="connsiteY2" fmla="*/ 389473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39201 w 326706"/>
              <a:gd name="connsiteY1" fmla="*/ 455295 h 977998"/>
              <a:gd name="connsiteX2" fmla="*/ 326706 w 326706"/>
              <a:gd name="connsiteY2" fmla="*/ 389473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20151 w 326706"/>
              <a:gd name="connsiteY1" fmla="*/ 474345 h 977998"/>
              <a:gd name="connsiteX2" fmla="*/ 326706 w 326706"/>
              <a:gd name="connsiteY2" fmla="*/ 389473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20151 w 326706"/>
              <a:gd name="connsiteY1" fmla="*/ 474345 h 977998"/>
              <a:gd name="connsiteX2" fmla="*/ 326706 w 326706"/>
              <a:gd name="connsiteY2" fmla="*/ 394236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20151 w 326706"/>
              <a:gd name="connsiteY1" fmla="*/ 474345 h 977998"/>
              <a:gd name="connsiteX2" fmla="*/ 326706 w 326706"/>
              <a:gd name="connsiteY2" fmla="*/ 394236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6706" h="977998">
                <a:moveTo>
                  <a:pt x="240030" y="0"/>
                </a:moveTo>
                <a:lnTo>
                  <a:pt x="120151" y="474345"/>
                </a:lnTo>
                <a:cubicBezTo>
                  <a:pt x="213903" y="441434"/>
                  <a:pt x="223428" y="434290"/>
                  <a:pt x="326706" y="394236"/>
                </a:cubicBezTo>
                <a:lnTo>
                  <a:pt x="45856" y="977998"/>
                </a:lnTo>
                <a:lnTo>
                  <a:pt x="209550" y="517107"/>
                </a:lnTo>
                <a:lnTo>
                  <a:pt x="0" y="619859"/>
                </a:lnTo>
                <a:lnTo>
                  <a:pt x="240030" y="0"/>
                </a:lnTo>
                <a:close/>
              </a:path>
            </a:pathLst>
          </a:custGeom>
          <a:solidFill>
            <a:schemeClr val="bg2"/>
          </a:solidFill>
          <a:ln w="9525" cap="flat" cmpd="sng" algn="ctr">
            <a:noFill/>
            <a:prstDash val="solid"/>
            <a:round/>
            <a:headEnd type="none" w="med" len="med"/>
            <a:tailEnd type="none" w="med" len="med"/>
          </a:ln>
          <a:effectLst/>
        </p:spPr>
        <p:txBody>
          <a:bodyPr vert="horz" wrap="square" lIns="33231" tIns="43200" rIns="33231" bIns="43200" numCol="1" rtlCol="0" anchor="ctr" anchorCtr="0" compatLnSpc="1">
            <a:prstTxWarp prst="textNoShape">
              <a:avLst/>
            </a:prstTxWarp>
          </a:bodyPr>
          <a:lstStyle/>
          <a:p>
            <a:pPr marL="0" marR="0" lvl="0" indent="0" algn="ctr" defTabSz="844083" rtl="0" eaLnBrk="0" fontAlgn="base" latinLnBrk="0" hangingPunct="0">
              <a:lnSpc>
                <a:spcPct val="100000"/>
              </a:lnSpc>
              <a:spcBef>
                <a:spcPts val="0"/>
              </a:spcBef>
              <a:spcAft>
                <a:spcPts val="0"/>
              </a:spcAft>
              <a:buClrTx/>
              <a:buSzTx/>
              <a:buFontTx/>
              <a:buNone/>
              <a:tabLst/>
              <a:defRPr/>
            </a:pPr>
            <a:endParaRPr kumimoji="0" lang="de-DE" sz="1108" b="1" i="0" u="none" strike="noStrike" kern="1200" cap="none" spc="0" normalizeH="0" baseline="0" noProof="0">
              <a:ln>
                <a:noFill/>
              </a:ln>
              <a:solidFill>
                <a:srgbClr val="FFFFFF"/>
              </a:solidFill>
              <a:effectLst/>
              <a:uLnTx/>
              <a:uFillTx/>
              <a:latin typeface="Arial" charset="0"/>
              <a:ea typeface="+mn-ea"/>
              <a:cs typeface="+mn-cs"/>
            </a:endParaRPr>
          </a:p>
        </p:txBody>
      </p:sp>
      <p:sp>
        <p:nvSpPr>
          <p:cNvPr id="34" name="Rechteck 241"/>
          <p:cNvSpPr/>
          <p:nvPr/>
        </p:nvSpPr>
        <p:spPr bwMode="auto">
          <a:xfrm rot="18711774">
            <a:off x="7239488" y="3895026"/>
            <a:ext cx="219578" cy="657307"/>
          </a:xfrm>
          <a:custGeom>
            <a:avLst/>
            <a:gdLst>
              <a:gd name="connsiteX0" fmla="*/ 0 w 817381"/>
              <a:gd name="connsiteY0" fmla="*/ 0 h 637956"/>
              <a:gd name="connsiteX1" fmla="*/ 817381 w 817381"/>
              <a:gd name="connsiteY1" fmla="*/ 0 h 637956"/>
              <a:gd name="connsiteX2" fmla="*/ 817381 w 817381"/>
              <a:gd name="connsiteY2" fmla="*/ 637956 h 637956"/>
              <a:gd name="connsiteX3" fmla="*/ 0 w 817381"/>
              <a:gd name="connsiteY3" fmla="*/ 637956 h 637956"/>
              <a:gd name="connsiteX4" fmla="*/ 0 w 817381"/>
              <a:gd name="connsiteY4" fmla="*/ 0 h 637956"/>
              <a:gd name="connsiteX0" fmla="*/ 0 w 817381"/>
              <a:gd name="connsiteY0" fmla="*/ 0 h 637956"/>
              <a:gd name="connsiteX1" fmla="*/ 360181 w 817381"/>
              <a:gd name="connsiteY1" fmla="*/ 281940 h 637956"/>
              <a:gd name="connsiteX2" fmla="*/ 817381 w 817381"/>
              <a:gd name="connsiteY2" fmla="*/ 637956 h 637956"/>
              <a:gd name="connsiteX3" fmla="*/ 0 w 817381"/>
              <a:gd name="connsiteY3" fmla="*/ 637956 h 637956"/>
              <a:gd name="connsiteX4" fmla="*/ 0 w 817381"/>
              <a:gd name="connsiteY4" fmla="*/ 0 h 637956"/>
              <a:gd name="connsiteX0" fmla="*/ 0 w 360181"/>
              <a:gd name="connsiteY0" fmla="*/ 0 h 866556"/>
              <a:gd name="connsiteX1" fmla="*/ 360181 w 360181"/>
              <a:gd name="connsiteY1" fmla="*/ 281940 h 866556"/>
              <a:gd name="connsiteX2" fmla="*/ 352561 w 360181"/>
              <a:gd name="connsiteY2" fmla="*/ 866556 h 866556"/>
              <a:gd name="connsiteX3" fmla="*/ 0 w 360181"/>
              <a:gd name="connsiteY3" fmla="*/ 637956 h 866556"/>
              <a:gd name="connsiteX4" fmla="*/ 0 w 360181"/>
              <a:gd name="connsiteY4" fmla="*/ 0 h 866556"/>
              <a:gd name="connsiteX0" fmla="*/ 0 w 352561"/>
              <a:gd name="connsiteY0" fmla="*/ 0 h 866556"/>
              <a:gd name="connsiteX1" fmla="*/ 223021 w 352561"/>
              <a:gd name="connsiteY1" fmla="*/ 464820 h 866556"/>
              <a:gd name="connsiteX2" fmla="*/ 352561 w 352561"/>
              <a:gd name="connsiteY2" fmla="*/ 866556 h 866556"/>
              <a:gd name="connsiteX3" fmla="*/ 0 w 352561"/>
              <a:gd name="connsiteY3" fmla="*/ 637956 h 866556"/>
              <a:gd name="connsiteX4" fmla="*/ 0 w 352561"/>
              <a:gd name="connsiteY4" fmla="*/ 0 h 866556"/>
              <a:gd name="connsiteX0" fmla="*/ 0 w 352561"/>
              <a:gd name="connsiteY0" fmla="*/ 0 h 866556"/>
              <a:gd name="connsiteX1" fmla="*/ 223021 w 352561"/>
              <a:gd name="connsiteY1" fmla="*/ 464820 h 866556"/>
              <a:gd name="connsiteX2" fmla="*/ 352561 w 352561"/>
              <a:gd name="connsiteY2" fmla="*/ 866556 h 866556"/>
              <a:gd name="connsiteX3" fmla="*/ 91440 w 352561"/>
              <a:gd name="connsiteY3" fmla="*/ 493176 h 866556"/>
              <a:gd name="connsiteX4" fmla="*/ 0 w 352561"/>
              <a:gd name="connsiteY4" fmla="*/ 0 h 866556"/>
              <a:gd name="connsiteX0" fmla="*/ 0 w 472440"/>
              <a:gd name="connsiteY0" fmla="*/ 0 h 866556"/>
              <a:gd name="connsiteX1" fmla="*/ 223021 w 472440"/>
              <a:gd name="connsiteY1" fmla="*/ 464820 h 866556"/>
              <a:gd name="connsiteX2" fmla="*/ 472440 w 472440"/>
              <a:gd name="connsiteY2" fmla="*/ 365661 h 866556"/>
              <a:gd name="connsiteX3" fmla="*/ 352561 w 472440"/>
              <a:gd name="connsiteY3" fmla="*/ 866556 h 866556"/>
              <a:gd name="connsiteX4" fmla="*/ 91440 w 472440"/>
              <a:gd name="connsiteY4" fmla="*/ 493176 h 866556"/>
              <a:gd name="connsiteX5" fmla="*/ 0 w 472440"/>
              <a:gd name="connsiteY5" fmla="*/ 0 h 866556"/>
              <a:gd name="connsiteX0" fmla="*/ 0 w 472440"/>
              <a:gd name="connsiteY0" fmla="*/ 0 h 866556"/>
              <a:gd name="connsiteX1" fmla="*/ 223021 w 472440"/>
              <a:gd name="connsiteY1" fmla="*/ 464820 h 866556"/>
              <a:gd name="connsiteX2" fmla="*/ 472440 w 472440"/>
              <a:gd name="connsiteY2" fmla="*/ 365661 h 866556"/>
              <a:gd name="connsiteX3" fmla="*/ 352561 w 472440"/>
              <a:gd name="connsiteY3" fmla="*/ 866556 h 866556"/>
              <a:gd name="connsiteX4" fmla="*/ 312419 w 472440"/>
              <a:gd name="connsiteY4" fmla="*/ 540921 h 866556"/>
              <a:gd name="connsiteX5" fmla="*/ 91440 w 472440"/>
              <a:gd name="connsiteY5" fmla="*/ 493176 h 866556"/>
              <a:gd name="connsiteX6" fmla="*/ 0 w 472440"/>
              <a:gd name="connsiteY6" fmla="*/ 0 h 866556"/>
              <a:gd name="connsiteX0" fmla="*/ 0 w 472440"/>
              <a:gd name="connsiteY0" fmla="*/ 0 h 866556"/>
              <a:gd name="connsiteX1" fmla="*/ 223021 w 472440"/>
              <a:gd name="connsiteY1" fmla="*/ 464820 h 866556"/>
              <a:gd name="connsiteX2" fmla="*/ 472440 w 472440"/>
              <a:gd name="connsiteY2" fmla="*/ 365661 h 866556"/>
              <a:gd name="connsiteX3" fmla="*/ 352561 w 472440"/>
              <a:gd name="connsiteY3" fmla="*/ 866556 h 866556"/>
              <a:gd name="connsiteX4" fmla="*/ 312419 w 472440"/>
              <a:gd name="connsiteY4" fmla="*/ 540921 h 866556"/>
              <a:gd name="connsiteX5" fmla="*/ 45720 w 472440"/>
              <a:gd name="connsiteY5" fmla="*/ 653196 h 866556"/>
              <a:gd name="connsiteX6" fmla="*/ 0 w 472440"/>
              <a:gd name="connsiteY6" fmla="*/ 0 h 86655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312419 w 472440"/>
              <a:gd name="connsiteY4" fmla="*/ 540921 h 935136"/>
              <a:gd name="connsiteX5" fmla="*/ 45720 w 472440"/>
              <a:gd name="connsiteY5" fmla="*/ 653196 h 935136"/>
              <a:gd name="connsiteX6" fmla="*/ 0 w 472440"/>
              <a:gd name="connsiteY6" fmla="*/ 0 h 93513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0 w 472440"/>
              <a:gd name="connsiteY0" fmla="*/ 0 h 935136"/>
              <a:gd name="connsiteX1" fmla="*/ 146821 w 472440"/>
              <a:gd name="connsiteY1" fmla="*/ 474345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254318 w 426720"/>
              <a:gd name="connsiteY0" fmla="*/ 0 h 954186"/>
              <a:gd name="connsiteX1" fmla="*/ 101101 w 426720"/>
              <a:gd name="connsiteY1" fmla="*/ 493395 h 954186"/>
              <a:gd name="connsiteX2" fmla="*/ 426720 w 426720"/>
              <a:gd name="connsiteY2" fmla="*/ 384711 h 954186"/>
              <a:gd name="connsiteX3" fmla="*/ 55381 w 426720"/>
              <a:gd name="connsiteY3" fmla="*/ 954186 h 954186"/>
              <a:gd name="connsiteX4" fmla="*/ 109537 w 426720"/>
              <a:gd name="connsiteY4" fmla="*/ 621883 h 954186"/>
              <a:gd name="connsiteX5" fmla="*/ 0 w 426720"/>
              <a:gd name="connsiteY5" fmla="*/ 672246 h 954186"/>
              <a:gd name="connsiteX6" fmla="*/ 254318 w 426720"/>
              <a:gd name="connsiteY6" fmla="*/ 0 h 954186"/>
              <a:gd name="connsiteX0" fmla="*/ 254318 w 426720"/>
              <a:gd name="connsiteY0" fmla="*/ 0 h 954186"/>
              <a:gd name="connsiteX1" fmla="*/ 153488 w 426720"/>
              <a:gd name="connsiteY1" fmla="*/ 450533 h 954186"/>
              <a:gd name="connsiteX2" fmla="*/ 426720 w 426720"/>
              <a:gd name="connsiteY2" fmla="*/ 384711 h 954186"/>
              <a:gd name="connsiteX3" fmla="*/ 55381 w 426720"/>
              <a:gd name="connsiteY3" fmla="*/ 954186 h 954186"/>
              <a:gd name="connsiteX4" fmla="*/ 109537 w 426720"/>
              <a:gd name="connsiteY4" fmla="*/ 621883 h 954186"/>
              <a:gd name="connsiteX5" fmla="*/ 0 w 426720"/>
              <a:gd name="connsiteY5" fmla="*/ 672246 h 954186"/>
              <a:gd name="connsiteX6" fmla="*/ 254318 w 426720"/>
              <a:gd name="connsiteY6" fmla="*/ 0 h 954186"/>
              <a:gd name="connsiteX0" fmla="*/ 244793 w 417195"/>
              <a:gd name="connsiteY0" fmla="*/ 0 h 954186"/>
              <a:gd name="connsiteX1" fmla="*/ 143963 w 417195"/>
              <a:gd name="connsiteY1" fmla="*/ 450533 h 954186"/>
              <a:gd name="connsiteX2" fmla="*/ 417195 w 417195"/>
              <a:gd name="connsiteY2" fmla="*/ 384711 h 954186"/>
              <a:gd name="connsiteX3" fmla="*/ 45856 w 417195"/>
              <a:gd name="connsiteY3" fmla="*/ 954186 h 954186"/>
              <a:gd name="connsiteX4" fmla="*/ 100012 w 417195"/>
              <a:gd name="connsiteY4" fmla="*/ 621883 h 954186"/>
              <a:gd name="connsiteX5" fmla="*/ 0 w 417195"/>
              <a:gd name="connsiteY5" fmla="*/ 534134 h 954186"/>
              <a:gd name="connsiteX6" fmla="*/ 244793 w 417195"/>
              <a:gd name="connsiteY6" fmla="*/ 0 h 954186"/>
              <a:gd name="connsiteX0" fmla="*/ 244793 w 417195"/>
              <a:gd name="connsiteY0" fmla="*/ 0 h 954186"/>
              <a:gd name="connsiteX1" fmla="*/ 143963 w 417195"/>
              <a:gd name="connsiteY1" fmla="*/ 450533 h 954186"/>
              <a:gd name="connsiteX2" fmla="*/ 417195 w 417195"/>
              <a:gd name="connsiteY2" fmla="*/ 384711 h 954186"/>
              <a:gd name="connsiteX3" fmla="*/ 45856 w 417195"/>
              <a:gd name="connsiteY3" fmla="*/ 954186 h 954186"/>
              <a:gd name="connsiteX4" fmla="*/ 242887 w 417195"/>
              <a:gd name="connsiteY4" fmla="*/ 521870 h 954186"/>
              <a:gd name="connsiteX5" fmla="*/ 0 w 417195"/>
              <a:gd name="connsiteY5" fmla="*/ 534134 h 954186"/>
              <a:gd name="connsiteX6" fmla="*/ 244793 w 417195"/>
              <a:gd name="connsiteY6" fmla="*/ 0 h 954186"/>
              <a:gd name="connsiteX0" fmla="*/ 244793 w 417195"/>
              <a:gd name="connsiteY0" fmla="*/ 0 h 954186"/>
              <a:gd name="connsiteX1" fmla="*/ 143963 w 417195"/>
              <a:gd name="connsiteY1" fmla="*/ 450533 h 954186"/>
              <a:gd name="connsiteX2" fmla="*/ 417195 w 417195"/>
              <a:gd name="connsiteY2" fmla="*/ 384711 h 954186"/>
              <a:gd name="connsiteX3" fmla="*/ 45856 w 417195"/>
              <a:gd name="connsiteY3" fmla="*/ 954186 h 954186"/>
              <a:gd name="connsiteX4" fmla="*/ 195262 w 417195"/>
              <a:gd name="connsiteY4" fmla="*/ 531395 h 954186"/>
              <a:gd name="connsiteX5" fmla="*/ 0 w 417195"/>
              <a:gd name="connsiteY5" fmla="*/ 534134 h 954186"/>
              <a:gd name="connsiteX6" fmla="*/ 244793 w 417195"/>
              <a:gd name="connsiteY6" fmla="*/ 0 h 954186"/>
              <a:gd name="connsiteX0" fmla="*/ 244793 w 417195"/>
              <a:gd name="connsiteY0" fmla="*/ 0 h 954186"/>
              <a:gd name="connsiteX1" fmla="*/ 148726 w 417195"/>
              <a:gd name="connsiteY1" fmla="*/ 398146 h 954186"/>
              <a:gd name="connsiteX2" fmla="*/ 417195 w 417195"/>
              <a:gd name="connsiteY2" fmla="*/ 384711 h 954186"/>
              <a:gd name="connsiteX3" fmla="*/ 45856 w 417195"/>
              <a:gd name="connsiteY3" fmla="*/ 954186 h 954186"/>
              <a:gd name="connsiteX4" fmla="*/ 195262 w 417195"/>
              <a:gd name="connsiteY4" fmla="*/ 531395 h 954186"/>
              <a:gd name="connsiteX5" fmla="*/ 0 w 417195"/>
              <a:gd name="connsiteY5" fmla="*/ 534134 h 954186"/>
              <a:gd name="connsiteX6" fmla="*/ 244793 w 417195"/>
              <a:gd name="connsiteY6" fmla="*/ 0 h 954186"/>
              <a:gd name="connsiteX0" fmla="*/ 244793 w 355282"/>
              <a:gd name="connsiteY0" fmla="*/ 0 h 954186"/>
              <a:gd name="connsiteX1" fmla="*/ 148726 w 355282"/>
              <a:gd name="connsiteY1" fmla="*/ 398146 h 954186"/>
              <a:gd name="connsiteX2" fmla="*/ 355282 w 355282"/>
              <a:gd name="connsiteY2" fmla="*/ 413286 h 954186"/>
              <a:gd name="connsiteX3" fmla="*/ 45856 w 355282"/>
              <a:gd name="connsiteY3" fmla="*/ 954186 h 954186"/>
              <a:gd name="connsiteX4" fmla="*/ 195262 w 355282"/>
              <a:gd name="connsiteY4" fmla="*/ 531395 h 954186"/>
              <a:gd name="connsiteX5" fmla="*/ 0 w 355282"/>
              <a:gd name="connsiteY5" fmla="*/ 534134 h 954186"/>
              <a:gd name="connsiteX6" fmla="*/ 244793 w 355282"/>
              <a:gd name="connsiteY6" fmla="*/ 0 h 954186"/>
              <a:gd name="connsiteX0" fmla="*/ 244793 w 355282"/>
              <a:gd name="connsiteY0" fmla="*/ 0 h 954186"/>
              <a:gd name="connsiteX1" fmla="*/ 148726 w 355282"/>
              <a:gd name="connsiteY1" fmla="*/ 398146 h 954186"/>
              <a:gd name="connsiteX2" fmla="*/ 355282 w 355282"/>
              <a:gd name="connsiteY2" fmla="*/ 413286 h 954186"/>
              <a:gd name="connsiteX3" fmla="*/ 45856 w 355282"/>
              <a:gd name="connsiteY3" fmla="*/ 954186 h 954186"/>
              <a:gd name="connsiteX4" fmla="*/ 195262 w 355282"/>
              <a:gd name="connsiteY4" fmla="*/ 531395 h 954186"/>
              <a:gd name="connsiteX5" fmla="*/ 0 w 355282"/>
              <a:gd name="connsiteY5" fmla="*/ 596047 h 954186"/>
              <a:gd name="connsiteX6" fmla="*/ 244793 w 355282"/>
              <a:gd name="connsiteY6" fmla="*/ 0 h 954186"/>
              <a:gd name="connsiteX0" fmla="*/ 244793 w 355282"/>
              <a:gd name="connsiteY0" fmla="*/ 0 h 954186"/>
              <a:gd name="connsiteX1" fmla="*/ 148726 w 355282"/>
              <a:gd name="connsiteY1" fmla="*/ 398146 h 954186"/>
              <a:gd name="connsiteX2" fmla="*/ 355282 w 355282"/>
              <a:gd name="connsiteY2" fmla="*/ 413286 h 954186"/>
              <a:gd name="connsiteX3" fmla="*/ 45856 w 355282"/>
              <a:gd name="connsiteY3" fmla="*/ 954186 h 954186"/>
              <a:gd name="connsiteX4" fmla="*/ 209550 w 355282"/>
              <a:gd name="connsiteY4" fmla="*/ 493295 h 954186"/>
              <a:gd name="connsiteX5" fmla="*/ 0 w 355282"/>
              <a:gd name="connsiteY5" fmla="*/ 596047 h 954186"/>
              <a:gd name="connsiteX6" fmla="*/ 244793 w 355282"/>
              <a:gd name="connsiteY6" fmla="*/ 0 h 954186"/>
              <a:gd name="connsiteX0" fmla="*/ 244793 w 355282"/>
              <a:gd name="connsiteY0" fmla="*/ 0 h 954186"/>
              <a:gd name="connsiteX1" fmla="*/ 139201 w 355282"/>
              <a:gd name="connsiteY1" fmla="*/ 431483 h 954186"/>
              <a:gd name="connsiteX2" fmla="*/ 355282 w 355282"/>
              <a:gd name="connsiteY2" fmla="*/ 413286 h 954186"/>
              <a:gd name="connsiteX3" fmla="*/ 45856 w 355282"/>
              <a:gd name="connsiteY3" fmla="*/ 954186 h 954186"/>
              <a:gd name="connsiteX4" fmla="*/ 209550 w 355282"/>
              <a:gd name="connsiteY4" fmla="*/ 493295 h 954186"/>
              <a:gd name="connsiteX5" fmla="*/ 0 w 355282"/>
              <a:gd name="connsiteY5" fmla="*/ 596047 h 954186"/>
              <a:gd name="connsiteX6" fmla="*/ 244793 w 355282"/>
              <a:gd name="connsiteY6" fmla="*/ 0 h 954186"/>
              <a:gd name="connsiteX0" fmla="*/ 244793 w 331469"/>
              <a:gd name="connsiteY0" fmla="*/ 0 h 954186"/>
              <a:gd name="connsiteX1" fmla="*/ 139201 w 331469"/>
              <a:gd name="connsiteY1" fmla="*/ 431483 h 954186"/>
              <a:gd name="connsiteX2" fmla="*/ 331469 w 331469"/>
              <a:gd name="connsiteY2" fmla="*/ 408524 h 954186"/>
              <a:gd name="connsiteX3" fmla="*/ 45856 w 331469"/>
              <a:gd name="connsiteY3" fmla="*/ 954186 h 954186"/>
              <a:gd name="connsiteX4" fmla="*/ 209550 w 331469"/>
              <a:gd name="connsiteY4" fmla="*/ 493295 h 954186"/>
              <a:gd name="connsiteX5" fmla="*/ 0 w 331469"/>
              <a:gd name="connsiteY5" fmla="*/ 596047 h 954186"/>
              <a:gd name="connsiteX6" fmla="*/ 244793 w 331469"/>
              <a:gd name="connsiteY6" fmla="*/ 0 h 954186"/>
              <a:gd name="connsiteX0" fmla="*/ 287655 w 331469"/>
              <a:gd name="connsiteY0" fmla="*/ 0 h 949423"/>
              <a:gd name="connsiteX1" fmla="*/ 139201 w 331469"/>
              <a:gd name="connsiteY1" fmla="*/ 426720 h 949423"/>
              <a:gd name="connsiteX2" fmla="*/ 331469 w 331469"/>
              <a:gd name="connsiteY2" fmla="*/ 403761 h 949423"/>
              <a:gd name="connsiteX3" fmla="*/ 45856 w 331469"/>
              <a:gd name="connsiteY3" fmla="*/ 949423 h 949423"/>
              <a:gd name="connsiteX4" fmla="*/ 209550 w 331469"/>
              <a:gd name="connsiteY4" fmla="*/ 488532 h 949423"/>
              <a:gd name="connsiteX5" fmla="*/ 0 w 331469"/>
              <a:gd name="connsiteY5" fmla="*/ 591284 h 949423"/>
              <a:gd name="connsiteX6" fmla="*/ 287655 w 331469"/>
              <a:gd name="connsiteY6" fmla="*/ 0 h 949423"/>
              <a:gd name="connsiteX0" fmla="*/ 240030 w 331469"/>
              <a:gd name="connsiteY0" fmla="*/ 0 h 977998"/>
              <a:gd name="connsiteX1" fmla="*/ 139201 w 331469"/>
              <a:gd name="connsiteY1" fmla="*/ 455295 h 977998"/>
              <a:gd name="connsiteX2" fmla="*/ 331469 w 331469"/>
              <a:gd name="connsiteY2" fmla="*/ 432336 h 977998"/>
              <a:gd name="connsiteX3" fmla="*/ 45856 w 331469"/>
              <a:gd name="connsiteY3" fmla="*/ 977998 h 977998"/>
              <a:gd name="connsiteX4" fmla="*/ 209550 w 331469"/>
              <a:gd name="connsiteY4" fmla="*/ 517107 h 977998"/>
              <a:gd name="connsiteX5" fmla="*/ 0 w 331469"/>
              <a:gd name="connsiteY5" fmla="*/ 619859 h 977998"/>
              <a:gd name="connsiteX6" fmla="*/ 240030 w 331469"/>
              <a:gd name="connsiteY6" fmla="*/ 0 h 977998"/>
              <a:gd name="connsiteX0" fmla="*/ 240030 w 331469"/>
              <a:gd name="connsiteY0" fmla="*/ 0 h 977998"/>
              <a:gd name="connsiteX1" fmla="*/ 139201 w 331469"/>
              <a:gd name="connsiteY1" fmla="*/ 455295 h 977998"/>
              <a:gd name="connsiteX2" fmla="*/ 331469 w 331469"/>
              <a:gd name="connsiteY2" fmla="*/ 432336 h 977998"/>
              <a:gd name="connsiteX3" fmla="*/ 45856 w 331469"/>
              <a:gd name="connsiteY3" fmla="*/ 977998 h 977998"/>
              <a:gd name="connsiteX4" fmla="*/ 209550 w 331469"/>
              <a:gd name="connsiteY4" fmla="*/ 517107 h 977998"/>
              <a:gd name="connsiteX5" fmla="*/ 0 w 331469"/>
              <a:gd name="connsiteY5" fmla="*/ 619859 h 977998"/>
              <a:gd name="connsiteX6" fmla="*/ 240030 w 331469"/>
              <a:gd name="connsiteY6" fmla="*/ 0 h 977998"/>
              <a:gd name="connsiteX0" fmla="*/ 240030 w 326706"/>
              <a:gd name="connsiteY0" fmla="*/ 0 h 977998"/>
              <a:gd name="connsiteX1" fmla="*/ 139201 w 326706"/>
              <a:gd name="connsiteY1" fmla="*/ 455295 h 977998"/>
              <a:gd name="connsiteX2" fmla="*/ 326706 w 326706"/>
              <a:gd name="connsiteY2" fmla="*/ 389473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39201 w 326706"/>
              <a:gd name="connsiteY1" fmla="*/ 455295 h 977998"/>
              <a:gd name="connsiteX2" fmla="*/ 326706 w 326706"/>
              <a:gd name="connsiteY2" fmla="*/ 389473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20151 w 326706"/>
              <a:gd name="connsiteY1" fmla="*/ 474345 h 977998"/>
              <a:gd name="connsiteX2" fmla="*/ 326706 w 326706"/>
              <a:gd name="connsiteY2" fmla="*/ 389473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20151 w 326706"/>
              <a:gd name="connsiteY1" fmla="*/ 474345 h 977998"/>
              <a:gd name="connsiteX2" fmla="*/ 326706 w 326706"/>
              <a:gd name="connsiteY2" fmla="*/ 394236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20151 w 326706"/>
              <a:gd name="connsiteY1" fmla="*/ 474345 h 977998"/>
              <a:gd name="connsiteX2" fmla="*/ 326706 w 326706"/>
              <a:gd name="connsiteY2" fmla="*/ 394236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6706" h="977998">
                <a:moveTo>
                  <a:pt x="240030" y="0"/>
                </a:moveTo>
                <a:lnTo>
                  <a:pt x="120151" y="474345"/>
                </a:lnTo>
                <a:cubicBezTo>
                  <a:pt x="213903" y="441434"/>
                  <a:pt x="223428" y="434290"/>
                  <a:pt x="326706" y="394236"/>
                </a:cubicBezTo>
                <a:lnTo>
                  <a:pt x="45856" y="977998"/>
                </a:lnTo>
                <a:lnTo>
                  <a:pt x="209550" y="517107"/>
                </a:lnTo>
                <a:lnTo>
                  <a:pt x="0" y="619859"/>
                </a:lnTo>
                <a:lnTo>
                  <a:pt x="240030" y="0"/>
                </a:lnTo>
                <a:close/>
              </a:path>
            </a:pathLst>
          </a:custGeom>
          <a:solidFill>
            <a:schemeClr val="bg2"/>
          </a:solidFill>
          <a:ln w="9525" cap="flat" cmpd="sng" algn="ctr">
            <a:noFill/>
            <a:prstDash val="solid"/>
            <a:round/>
            <a:headEnd type="none" w="med" len="med"/>
            <a:tailEnd type="none" w="med" len="med"/>
          </a:ln>
          <a:effectLst/>
        </p:spPr>
        <p:txBody>
          <a:bodyPr vert="horz" wrap="square" lIns="33231" tIns="43200" rIns="33231" bIns="43200" numCol="1" rtlCol="0" anchor="ctr" anchorCtr="0" compatLnSpc="1">
            <a:prstTxWarp prst="textNoShape">
              <a:avLst/>
            </a:prstTxWarp>
          </a:bodyPr>
          <a:lstStyle/>
          <a:p>
            <a:pPr marL="0" marR="0" lvl="0" indent="0" algn="ctr" defTabSz="844083" rtl="0" eaLnBrk="0" fontAlgn="base" latinLnBrk="0" hangingPunct="0">
              <a:lnSpc>
                <a:spcPct val="100000"/>
              </a:lnSpc>
              <a:spcBef>
                <a:spcPts val="0"/>
              </a:spcBef>
              <a:spcAft>
                <a:spcPts val="0"/>
              </a:spcAft>
              <a:buClrTx/>
              <a:buSzTx/>
              <a:buFontTx/>
              <a:buNone/>
              <a:tabLst/>
              <a:defRPr/>
            </a:pPr>
            <a:endParaRPr kumimoji="0" lang="de-DE" sz="1108" b="1" i="0" u="none" strike="noStrike" kern="1200" cap="none" spc="0" normalizeH="0" baseline="0" noProof="0">
              <a:ln>
                <a:noFill/>
              </a:ln>
              <a:solidFill>
                <a:srgbClr val="FFFFFF"/>
              </a:solidFill>
              <a:effectLst/>
              <a:uLnTx/>
              <a:uFillTx/>
              <a:latin typeface="Arial" charset="0"/>
              <a:ea typeface="+mn-ea"/>
              <a:cs typeface="+mn-cs"/>
            </a:endParaRPr>
          </a:p>
        </p:txBody>
      </p:sp>
      <p:grpSp>
        <p:nvGrpSpPr>
          <p:cNvPr id="38" name="Gruppieren 37"/>
          <p:cNvGrpSpPr/>
          <p:nvPr/>
        </p:nvGrpSpPr>
        <p:grpSpPr>
          <a:xfrm>
            <a:off x="189734" y="510488"/>
            <a:ext cx="1504978" cy="940955"/>
            <a:chOff x="174051" y="735480"/>
            <a:chExt cx="1630393" cy="1019368"/>
          </a:xfrm>
        </p:grpSpPr>
        <p:sp>
          <p:nvSpPr>
            <p:cNvPr id="39" name="Abgerundetes Rechteck 38"/>
            <p:cNvSpPr/>
            <p:nvPr/>
          </p:nvSpPr>
          <p:spPr bwMode="auto">
            <a:xfrm>
              <a:off x="174051" y="735480"/>
              <a:ext cx="1630393" cy="1019368"/>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33231" tIns="43200" rIns="33231" bIns="43200" numCol="1" rtlCol="0" anchor="ctr" anchorCtr="0" compatLnSpc="1">
              <a:prstTxWarp prst="textNoShape">
                <a:avLst/>
              </a:prstTxWarp>
            </a:bodyPr>
            <a:lstStyle/>
            <a:p>
              <a:pPr marL="0" marR="0" lvl="0" indent="0" algn="ctr" defTabSz="844083" rtl="0" eaLnBrk="0" fontAlgn="base" latinLnBrk="0" hangingPunct="0">
                <a:lnSpc>
                  <a:spcPct val="100000"/>
                </a:lnSpc>
                <a:spcBef>
                  <a:spcPts val="0"/>
                </a:spcBef>
                <a:spcAft>
                  <a:spcPts val="0"/>
                </a:spcAft>
                <a:buClrTx/>
                <a:buSzTx/>
                <a:buFontTx/>
                <a:buNone/>
                <a:tabLst/>
                <a:defRPr/>
              </a:pPr>
              <a:endParaRPr kumimoji="0" lang="en-GB" sz="1108" b="1" i="0" u="none" strike="noStrike" kern="1200" cap="none" spc="0" normalizeH="0" baseline="0" noProof="0" dirty="0" err="1">
                <a:ln>
                  <a:noFill/>
                </a:ln>
                <a:solidFill>
                  <a:srgbClr val="000000"/>
                </a:solidFill>
                <a:effectLst/>
                <a:uLnTx/>
                <a:uFillTx/>
                <a:latin typeface="Calibri"/>
                <a:ea typeface="+mn-ea"/>
                <a:cs typeface="+mn-cs"/>
              </a:endParaRPr>
            </a:p>
          </p:txBody>
        </p:sp>
        <p:pic>
          <p:nvPicPr>
            <p:cNvPr id="40" name="Grafik 39"/>
            <p:cNvPicPr>
              <a:picLocks noChangeAspect="1"/>
            </p:cNvPicPr>
            <p:nvPr/>
          </p:nvPicPr>
          <p:blipFill>
            <a:blip r:embed="rId4"/>
            <a:stretch>
              <a:fillRect/>
            </a:stretch>
          </p:blipFill>
          <p:spPr>
            <a:xfrm>
              <a:off x="281782" y="797762"/>
              <a:ext cx="1414929" cy="957086"/>
            </a:xfrm>
            <a:prstGeom prst="rect">
              <a:avLst/>
            </a:prstGeom>
          </p:spPr>
        </p:pic>
      </p:grpSp>
    </p:spTree>
    <p:extLst>
      <p:ext uri="{BB962C8B-B14F-4D97-AF65-F5344CB8AC3E}">
        <p14:creationId xmlns:p14="http://schemas.microsoft.com/office/powerpoint/2010/main" val="14734441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25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1250"/>
                                        <p:tgtEl>
                                          <p:spTgt spid="1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wipe(left)">
                                      <p:cBhvr>
                                        <p:cTn id="23" dur="1250"/>
                                        <p:tgtEl>
                                          <p:spTgt spid="1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wipe(left)">
                                      <p:cBhvr>
                                        <p:cTn id="31" dur="1250"/>
                                        <p:tgtEl>
                                          <p:spTgt spid="1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500"/>
                                        <p:tgtEl>
                                          <p:spTgt spid="10"/>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2" fill="hold" grpId="0" nodeType="click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wipe(right)">
                                      <p:cBhvr>
                                        <p:cTn id="39" dur="1250"/>
                                        <p:tgtEl>
                                          <p:spTgt spid="17"/>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2" fill="hold" grpId="0" nodeType="click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wipe(right)">
                                      <p:cBhvr>
                                        <p:cTn id="44" dur="1250"/>
                                        <p:tgtEl>
                                          <p:spTgt spid="18"/>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2" fill="hold" grpId="0" nodeType="click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wipe(right)">
                                      <p:cBhvr>
                                        <p:cTn id="49" dur="1250"/>
                                        <p:tgtEl>
                                          <p:spTgt spid="30"/>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2" fill="hold" grpId="0" nodeType="click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wipe(right)">
                                      <p:cBhvr>
                                        <p:cTn id="54" dur="1250"/>
                                        <p:tgtEl>
                                          <p:spTgt spid="22"/>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2" fill="hold" grpId="1" nodeType="click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wipe(right)">
                                      <p:cBhvr>
                                        <p:cTn id="59" dur="1250"/>
                                        <p:tgtEl>
                                          <p:spTgt spid="30"/>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2" fill="hold" grpId="0" nodeType="clickEffect">
                                  <p:stCondLst>
                                    <p:cond delay="0"/>
                                  </p:stCondLst>
                                  <p:childTnLst>
                                    <p:set>
                                      <p:cBhvr>
                                        <p:cTn id="63" dur="1" fill="hold">
                                          <p:stCondLst>
                                            <p:cond delay="0"/>
                                          </p:stCondLst>
                                        </p:cTn>
                                        <p:tgtEl>
                                          <p:spTgt spid="29"/>
                                        </p:tgtEl>
                                        <p:attrNameLst>
                                          <p:attrName>style.visibility</p:attrName>
                                        </p:attrNameLst>
                                      </p:cBhvr>
                                      <p:to>
                                        <p:strVal val="visible"/>
                                      </p:to>
                                    </p:set>
                                    <p:animEffect transition="in" filter="wipe(right)">
                                      <p:cBhvr>
                                        <p:cTn id="64" dur="1250"/>
                                        <p:tgtEl>
                                          <p:spTgt spid="29"/>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2" fill="hold" grpId="0" nodeType="clickEffect">
                                  <p:stCondLst>
                                    <p:cond delay="0"/>
                                  </p:stCondLst>
                                  <p:childTnLst>
                                    <p:set>
                                      <p:cBhvr>
                                        <p:cTn id="68" dur="1" fill="hold">
                                          <p:stCondLst>
                                            <p:cond delay="0"/>
                                          </p:stCondLst>
                                        </p:cTn>
                                        <p:tgtEl>
                                          <p:spTgt spid="23"/>
                                        </p:tgtEl>
                                        <p:attrNameLst>
                                          <p:attrName>style.visibility</p:attrName>
                                        </p:attrNameLst>
                                      </p:cBhvr>
                                      <p:to>
                                        <p:strVal val="visible"/>
                                      </p:to>
                                    </p:set>
                                    <p:animEffect transition="in" filter="wipe(right)">
                                      <p:cBhvr>
                                        <p:cTn id="69" dur="1250"/>
                                        <p:tgtEl>
                                          <p:spTgt spid="23"/>
                                        </p:tgtEl>
                                      </p:cBhvr>
                                    </p:animEffect>
                                  </p:childTnLst>
                                </p:cTn>
                              </p:par>
                            </p:childTnLst>
                          </p:cTn>
                        </p:par>
                      </p:childTnLst>
                    </p:cTn>
                  </p:par>
                  <p:par>
                    <p:cTn id="70" fill="hold">
                      <p:stCondLst>
                        <p:cond delay="indefinite"/>
                      </p:stCondLst>
                      <p:childTnLst>
                        <p:par>
                          <p:cTn id="71" fill="hold">
                            <p:stCondLst>
                              <p:cond delay="0"/>
                            </p:stCondLst>
                            <p:childTnLst>
                              <p:par>
                                <p:cTn id="72" presetID="22" presetClass="entr" presetSubtype="2" fill="hold" grpId="1" nodeType="clickEffect">
                                  <p:stCondLst>
                                    <p:cond delay="0"/>
                                  </p:stCondLst>
                                  <p:childTnLst>
                                    <p:set>
                                      <p:cBhvr>
                                        <p:cTn id="73" dur="1" fill="hold">
                                          <p:stCondLst>
                                            <p:cond delay="0"/>
                                          </p:stCondLst>
                                        </p:cTn>
                                        <p:tgtEl>
                                          <p:spTgt spid="29"/>
                                        </p:tgtEl>
                                        <p:attrNameLst>
                                          <p:attrName>style.visibility</p:attrName>
                                        </p:attrNameLst>
                                      </p:cBhvr>
                                      <p:to>
                                        <p:strVal val="visible"/>
                                      </p:to>
                                    </p:set>
                                    <p:animEffect transition="in" filter="wipe(right)">
                                      <p:cBhvr>
                                        <p:cTn id="74" dur="1250"/>
                                        <p:tgtEl>
                                          <p:spTgt spid="29"/>
                                        </p:tgtEl>
                                      </p:cBhvr>
                                    </p:animEffect>
                                  </p:childTnLst>
                                </p:cTn>
                              </p:par>
                            </p:childTnLst>
                          </p:cTn>
                        </p:par>
                      </p:childTnLst>
                    </p:cTn>
                  </p:par>
                  <p:par>
                    <p:cTn id="75" fill="hold">
                      <p:stCondLst>
                        <p:cond delay="indefinite"/>
                      </p:stCondLst>
                      <p:childTnLst>
                        <p:par>
                          <p:cTn id="76" fill="hold">
                            <p:stCondLst>
                              <p:cond delay="0"/>
                            </p:stCondLst>
                            <p:childTnLst>
                              <p:par>
                                <p:cTn id="77" presetID="22" presetClass="entr" presetSubtype="2" fill="hold" grpId="0" nodeType="clickEffect">
                                  <p:stCondLst>
                                    <p:cond delay="0"/>
                                  </p:stCondLst>
                                  <p:childTnLst>
                                    <p:set>
                                      <p:cBhvr>
                                        <p:cTn id="78" dur="1" fill="hold">
                                          <p:stCondLst>
                                            <p:cond delay="0"/>
                                          </p:stCondLst>
                                        </p:cTn>
                                        <p:tgtEl>
                                          <p:spTgt spid="27"/>
                                        </p:tgtEl>
                                        <p:attrNameLst>
                                          <p:attrName>style.visibility</p:attrName>
                                        </p:attrNameLst>
                                      </p:cBhvr>
                                      <p:to>
                                        <p:strVal val="visible"/>
                                      </p:to>
                                    </p:set>
                                    <p:animEffect transition="in" filter="wipe(right)">
                                      <p:cBhvr>
                                        <p:cTn id="79" dur="1250"/>
                                        <p:tgtEl>
                                          <p:spTgt spid="27"/>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25"/>
                                        </p:tgtEl>
                                        <p:attrNameLst>
                                          <p:attrName>style.visibility</p:attrName>
                                        </p:attrNameLst>
                                      </p:cBhvr>
                                      <p:to>
                                        <p:strVal val="visible"/>
                                      </p:to>
                                    </p:set>
                                    <p:animEffect transition="in" filter="fade">
                                      <p:cBhvr>
                                        <p:cTn id="84" dur="500"/>
                                        <p:tgtEl>
                                          <p:spTgt spid="25"/>
                                        </p:tgtEl>
                                      </p:cBhvr>
                                    </p:animEffect>
                                  </p:childTnLst>
                                </p:cTn>
                              </p:par>
                            </p:childTnLst>
                          </p:cTn>
                        </p:par>
                      </p:childTnLst>
                    </p:cTn>
                  </p:par>
                  <p:par>
                    <p:cTn id="85" fill="hold">
                      <p:stCondLst>
                        <p:cond delay="indefinite"/>
                      </p:stCondLst>
                      <p:childTnLst>
                        <p:par>
                          <p:cTn id="86" fill="hold">
                            <p:stCondLst>
                              <p:cond delay="0"/>
                            </p:stCondLst>
                            <p:childTnLst>
                              <p:par>
                                <p:cTn id="87" presetID="10" presetClass="entr" presetSubtype="0" fill="hold" grpId="0" nodeType="clickEffect">
                                  <p:stCondLst>
                                    <p:cond delay="0"/>
                                  </p:stCondLst>
                                  <p:childTnLst>
                                    <p:set>
                                      <p:cBhvr>
                                        <p:cTn id="88" dur="1" fill="hold">
                                          <p:stCondLst>
                                            <p:cond delay="0"/>
                                          </p:stCondLst>
                                        </p:cTn>
                                        <p:tgtEl>
                                          <p:spTgt spid="32"/>
                                        </p:tgtEl>
                                        <p:attrNameLst>
                                          <p:attrName>style.visibility</p:attrName>
                                        </p:attrNameLst>
                                      </p:cBhvr>
                                      <p:to>
                                        <p:strVal val="visible"/>
                                      </p:to>
                                    </p:set>
                                    <p:animEffect transition="in" filter="fade">
                                      <p:cBhvr>
                                        <p:cTn id="89" dur="500"/>
                                        <p:tgtEl>
                                          <p:spTgt spid="32"/>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33"/>
                                        </p:tgtEl>
                                        <p:attrNameLst>
                                          <p:attrName>style.visibility</p:attrName>
                                        </p:attrNameLst>
                                      </p:cBhvr>
                                      <p:to>
                                        <p:strVal val="visible"/>
                                      </p:to>
                                    </p:set>
                                    <p:animEffect transition="in" filter="fade">
                                      <p:cBhvr>
                                        <p:cTn id="92" dur="500"/>
                                        <p:tgtEl>
                                          <p:spTgt spid="33"/>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34"/>
                                        </p:tgtEl>
                                        <p:attrNameLst>
                                          <p:attrName>style.visibility</p:attrName>
                                        </p:attrNameLst>
                                      </p:cBhvr>
                                      <p:to>
                                        <p:strVal val="visible"/>
                                      </p:to>
                                    </p:set>
                                    <p:animEffect transition="in" filter="fade">
                                      <p:cBhvr>
                                        <p:cTn id="95"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8" grpId="0" animBg="1"/>
      <p:bldP spid="18" grpId="0" animBg="1"/>
      <p:bldP spid="22" grpId="0" animBg="1"/>
      <p:bldP spid="23" grpId="0" animBg="1"/>
      <p:bldP spid="29" grpId="0" animBg="1"/>
      <p:bldP spid="29" grpId="1" animBg="1"/>
      <p:bldP spid="27" grpId="0" animBg="1"/>
      <p:bldP spid="10" grpId="0" animBg="1"/>
      <p:bldP spid="9" grpId="0" animBg="1"/>
      <p:bldP spid="7" grpId="0" animBg="1"/>
      <p:bldP spid="30" grpId="0" animBg="1"/>
      <p:bldP spid="30" grpId="1" animBg="1"/>
      <p:bldP spid="25" grpId="0" animBg="1"/>
      <p:bldP spid="32" grpId="0" animBg="1"/>
      <p:bldP spid="33" grpId="0" animBg="1"/>
      <p:bldP spid="3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ihandform 16"/>
          <p:cNvSpPr/>
          <p:nvPr/>
        </p:nvSpPr>
        <p:spPr bwMode="auto">
          <a:xfrm rot="616634">
            <a:off x="2128327" y="3561347"/>
            <a:ext cx="1333361" cy="442894"/>
          </a:xfrm>
          <a:custGeom>
            <a:avLst/>
            <a:gdLst>
              <a:gd name="connsiteX0" fmla="*/ 0 w 2969537"/>
              <a:gd name="connsiteY0" fmla="*/ 54321 h 290184"/>
              <a:gd name="connsiteX1" fmla="*/ 1466662 w 2969537"/>
              <a:gd name="connsiteY1" fmla="*/ 289711 h 290184"/>
              <a:gd name="connsiteX2" fmla="*/ 2969537 w 2969537"/>
              <a:gd name="connsiteY2" fmla="*/ 0 h 290184"/>
              <a:gd name="connsiteX0" fmla="*/ 0 w 2969537"/>
              <a:gd name="connsiteY0" fmla="*/ 54321 h 290184"/>
              <a:gd name="connsiteX1" fmla="*/ 1466662 w 2969537"/>
              <a:gd name="connsiteY1" fmla="*/ 289711 h 290184"/>
              <a:gd name="connsiteX2" fmla="*/ 2969537 w 2969537"/>
              <a:gd name="connsiteY2" fmla="*/ 0 h 290184"/>
              <a:gd name="connsiteX0" fmla="*/ 0 w 2969537"/>
              <a:gd name="connsiteY0" fmla="*/ 54321 h 290259"/>
              <a:gd name="connsiteX1" fmla="*/ 1466662 w 2969537"/>
              <a:gd name="connsiteY1" fmla="*/ 289711 h 290259"/>
              <a:gd name="connsiteX2" fmla="*/ 2969537 w 2969537"/>
              <a:gd name="connsiteY2" fmla="*/ 0 h 290259"/>
              <a:gd name="connsiteX0" fmla="*/ 0 w 3064235"/>
              <a:gd name="connsiteY0" fmla="*/ 164146 h 293691"/>
              <a:gd name="connsiteX1" fmla="*/ 1561360 w 3064235"/>
              <a:gd name="connsiteY1" fmla="*/ 289711 h 293691"/>
              <a:gd name="connsiteX2" fmla="*/ 3064235 w 3064235"/>
              <a:gd name="connsiteY2" fmla="*/ 0 h 293691"/>
              <a:gd name="connsiteX0" fmla="*/ 0 w 3060447"/>
              <a:gd name="connsiteY0" fmla="*/ 148457 h 292139"/>
              <a:gd name="connsiteX1" fmla="*/ 1557572 w 3060447"/>
              <a:gd name="connsiteY1" fmla="*/ 289711 h 292139"/>
              <a:gd name="connsiteX2" fmla="*/ 3060447 w 3060447"/>
              <a:gd name="connsiteY2" fmla="*/ 0 h 292139"/>
              <a:gd name="connsiteX0" fmla="*/ 0 w 3060447"/>
              <a:gd name="connsiteY0" fmla="*/ 148457 h 291360"/>
              <a:gd name="connsiteX1" fmla="*/ 1557572 w 3060447"/>
              <a:gd name="connsiteY1" fmla="*/ 289711 h 291360"/>
              <a:gd name="connsiteX2" fmla="*/ 3060447 w 3060447"/>
              <a:gd name="connsiteY2" fmla="*/ 0 h 291360"/>
              <a:gd name="connsiteX0" fmla="*/ 0 w 3060447"/>
              <a:gd name="connsiteY0" fmla="*/ 148457 h 291360"/>
              <a:gd name="connsiteX1" fmla="*/ 1557572 w 3060447"/>
              <a:gd name="connsiteY1" fmla="*/ 289711 h 291360"/>
              <a:gd name="connsiteX2" fmla="*/ 3060447 w 3060447"/>
              <a:gd name="connsiteY2" fmla="*/ 0 h 291360"/>
              <a:gd name="connsiteX0" fmla="*/ 0 w 3060447"/>
              <a:gd name="connsiteY0" fmla="*/ 148457 h 279438"/>
              <a:gd name="connsiteX1" fmla="*/ 1515904 w 3060447"/>
              <a:gd name="connsiteY1" fmla="*/ 277159 h 279438"/>
              <a:gd name="connsiteX2" fmla="*/ 3060447 w 3060447"/>
              <a:gd name="connsiteY2" fmla="*/ 0 h 279438"/>
              <a:gd name="connsiteX0" fmla="*/ 0 w 3068023"/>
              <a:gd name="connsiteY0" fmla="*/ 148457 h 279438"/>
              <a:gd name="connsiteX1" fmla="*/ 1515904 w 3068023"/>
              <a:gd name="connsiteY1" fmla="*/ 277159 h 279438"/>
              <a:gd name="connsiteX2" fmla="*/ 3068023 w 3068023"/>
              <a:gd name="connsiteY2" fmla="*/ 0 h 279438"/>
              <a:gd name="connsiteX0" fmla="*/ 0 w 3056660"/>
              <a:gd name="connsiteY0" fmla="*/ 156301 h 280048"/>
              <a:gd name="connsiteX1" fmla="*/ 1504541 w 3056660"/>
              <a:gd name="connsiteY1" fmla="*/ 277159 h 280048"/>
              <a:gd name="connsiteX2" fmla="*/ 3056660 w 3056660"/>
              <a:gd name="connsiteY2" fmla="*/ 0 h 280048"/>
            </a:gdLst>
            <a:ahLst/>
            <a:cxnLst>
              <a:cxn ang="0">
                <a:pos x="connsiteX0" y="connsiteY0"/>
              </a:cxn>
              <a:cxn ang="0">
                <a:pos x="connsiteX1" y="connsiteY1"/>
              </a:cxn>
              <a:cxn ang="0">
                <a:pos x="connsiteX2" y="connsiteY2"/>
              </a:cxn>
            </a:cxnLst>
            <a:rect l="l" t="t" r="r" b="b"/>
            <a:pathLst>
              <a:path w="3056660" h="280048">
                <a:moveTo>
                  <a:pt x="0" y="156301"/>
                </a:moveTo>
                <a:cubicBezTo>
                  <a:pt x="592119" y="280941"/>
                  <a:pt x="1009618" y="286213"/>
                  <a:pt x="1504541" y="277159"/>
                </a:cubicBezTo>
                <a:cubicBezTo>
                  <a:pt x="1999464" y="268106"/>
                  <a:pt x="2765440" y="114677"/>
                  <a:pt x="3056660" y="0"/>
                </a:cubicBezTo>
              </a:path>
            </a:pathLst>
          </a:custGeom>
          <a:noFill/>
          <a:ln w="19050" cap="rnd" cmpd="sng" algn="ctr">
            <a:solidFill>
              <a:schemeClr val="bg2"/>
            </a:solidFill>
            <a:prstDash val="solid"/>
            <a:round/>
            <a:headEnd type="triangle" w="med" len="med"/>
            <a:tailEnd type="none" w="med" len="med"/>
          </a:ln>
          <a:effectLst/>
        </p:spPr>
        <p:txBody>
          <a:bodyPr rtlCol="0" anchor="ctr">
            <a:noAutofit/>
          </a:bodyPr>
          <a:lstStyle/>
          <a:p>
            <a:pPr marL="0" marR="0" lvl="0" indent="0" algn="ctr" defTabSz="844083" rtl="0" eaLnBrk="0" fontAlgn="base" latinLnBrk="0" hangingPunct="0">
              <a:lnSpc>
                <a:spcPct val="100000"/>
              </a:lnSpc>
              <a:spcBef>
                <a:spcPct val="0"/>
              </a:spcBef>
              <a:spcAft>
                <a:spcPct val="20000"/>
              </a:spcAft>
              <a:buClrTx/>
              <a:buSzTx/>
              <a:buFontTx/>
              <a:buNone/>
              <a:tabLst/>
              <a:defRPr/>
            </a:pPr>
            <a:endParaRPr kumimoji="0" lang="de-CH" sz="1477" b="0" i="0" u="none" strike="noStrike" kern="1200" cap="none" spc="0" normalizeH="0" baseline="0" noProof="0" dirty="0">
              <a:ln>
                <a:noFill/>
              </a:ln>
              <a:solidFill>
                <a:srgbClr val="0E3666"/>
              </a:solidFill>
              <a:effectLst/>
              <a:uLnTx/>
              <a:uFillTx/>
              <a:latin typeface="Arial" charset="0"/>
              <a:ea typeface="+mn-ea"/>
              <a:cs typeface="+mn-cs"/>
            </a:endParaRPr>
          </a:p>
        </p:txBody>
      </p:sp>
      <p:sp>
        <p:nvSpPr>
          <p:cNvPr id="5" name="Titel 4"/>
          <p:cNvSpPr>
            <a:spLocks noGrp="1"/>
          </p:cNvSpPr>
          <p:nvPr>
            <p:ph type="title"/>
          </p:nvPr>
        </p:nvSpPr>
        <p:spPr/>
        <p:txBody>
          <a:bodyPr/>
          <a:lstStyle/>
          <a:p>
            <a:r>
              <a:rPr lang="de-CH" sz="2215" dirty="0"/>
              <a:t>Kommunikation</a:t>
            </a:r>
            <a:br>
              <a:rPr lang="de-CH" sz="2215" dirty="0"/>
            </a:br>
            <a:r>
              <a:rPr lang="de-CH" sz="2215" dirty="0"/>
              <a:t>Kommunikationsdurchlauf Version 2 </a:t>
            </a:r>
          </a:p>
        </p:txBody>
      </p:sp>
      <p:sp>
        <p:nvSpPr>
          <p:cNvPr id="15" name="Textplatzhalter 14"/>
          <p:cNvSpPr>
            <a:spLocks noGrp="1"/>
          </p:cNvSpPr>
          <p:nvPr>
            <p:ph type="body" sz="quarter" idx="10"/>
          </p:nvPr>
        </p:nvSpPr>
        <p:spPr/>
        <p:txBody>
          <a:bodyPr/>
          <a:lstStyle/>
          <a:p>
            <a:endParaRPr lang="de-CH"/>
          </a:p>
        </p:txBody>
      </p:sp>
      <p:sp>
        <p:nvSpPr>
          <p:cNvPr id="6" name="Ellipse 5"/>
          <p:cNvSpPr/>
          <p:nvPr/>
        </p:nvSpPr>
        <p:spPr bwMode="auto">
          <a:xfrm>
            <a:off x="2044496" y="3517687"/>
            <a:ext cx="166154" cy="166154"/>
          </a:xfrm>
          <a:prstGeom prst="ellipse">
            <a:avLst/>
          </a:prstGeom>
          <a:solidFill>
            <a:srgbClr val="8C5B9D"/>
          </a:solidFill>
          <a:ln w="9525" cap="flat" cmpd="sng" algn="ctr">
            <a:noFill/>
            <a:prstDash val="solid"/>
            <a:round/>
            <a:headEnd type="none" w="med" len="med"/>
            <a:tailEnd type="none" w="med" len="med"/>
          </a:ln>
          <a:effectLst/>
          <a:scene3d>
            <a:camera prst="orthographicFront"/>
            <a:lightRig rig="soft" dir="t"/>
          </a:scene3d>
          <a:sp3d>
            <a:bevelT w="88900" h="88900"/>
          </a:sp3d>
        </p:spPr>
        <p:txBody>
          <a:bodyPr vert="horz" wrap="square" lIns="33231" tIns="43200" rIns="33231" bIns="43200" numCol="1" rtlCol="0" anchor="ctr" anchorCtr="0" compatLnSpc="1">
            <a:prstTxWarp prst="textNoShape">
              <a:avLst/>
            </a:prstTxWarp>
          </a:bodyPr>
          <a:lstStyle/>
          <a:p>
            <a:pPr marL="0" marR="0" lvl="0" indent="0" algn="ctr" defTabSz="844083" rtl="0" eaLnBrk="0" fontAlgn="base" latinLnBrk="0" hangingPunct="0">
              <a:lnSpc>
                <a:spcPct val="100000"/>
              </a:lnSpc>
              <a:spcBef>
                <a:spcPts val="0"/>
              </a:spcBef>
              <a:spcAft>
                <a:spcPts val="0"/>
              </a:spcAft>
              <a:buClrTx/>
              <a:buSzTx/>
              <a:buFontTx/>
              <a:buNone/>
              <a:tabLst/>
              <a:defRPr/>
            </a:pPr>
            <a:endParaRPr kumimoji="0" lang="de-DE" sz="1108" b="1"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8" name="Ellipse 7"/>
          <p:cNvSpPr/>
          <p:nvPr/>
        </p:nvSpPr>
        <p:spPr bwMode="auto">
          <a:xfrm>
            <a:off x="4859813" y="3517687"/>
            <a:ext cx="166154" cy="166154"/>
          </a:xfrm>
          <a:prstGeom prst="ellipse">
            <a:avLst/>
          </a:prstGeom>
          <a:solidFill>
            <a:srgbClr val="E64546"/>
          </a:solidFill>
          <a:ln w="9525" cap="flat" cmpd="sng" algn="ctr">
            <a:noFill/>
            <a:prstDash val="solid"/>
            <a:round/>
            <a:headEnd type="none" w="med" len="med"/>
            <a:tailEnd type="none" w="med" len="med"/>
          </a:ln>
          <a:effectLst/>
          <a:scene3d>
            <a:camera prst="orthographicFront"/>
            <a:lightRig rig="soft" dir="t"/>
          </a:scene3d>
          <a:sp3d>
            <a:bevelT w="88900" h="88900"/>
          </a:sp3d>
        </p:spPr>
        <p:txBody>
          <a:bodyPr vert="horz" wrap="square" lIns="33231" tIns="43200" rIns="33231" bIns="43200" numCol="1" rtlCol="0" anchor="ctr" anchorCtr="0" compatLnSpc="1">
            <a:prstTxWarp prst="textNoShape">
              <a:avLst/>
            </a:prstTxWarp>
          </a:bodyPr>
          <a:lstStyle/>
          <a:p>
            <a:pPr marL="0" marR="0" lvl="0" indent="0" algn="ctr" defTabSz="844083" rtl="0" eaLnBrk="0" fontAlgn="base" latinLnBrk="0" hangingPunct="0">
              <a:lnSpc>
                <a:spcPct val="100000"/>
              </a:lnSpc>
              <a:spcBef>
                <a:spcPts val="0"/>
              </a:spcBef>
              <a:spcAft>
                <a:spcPts val="0"/>
              </a:spcAft>
              <a:buClrTx/>
              <a:buSzTx/>
              <a:buFontTx/>
              <a:buNone/>
              <a:tabLst/>
              <a:defRPr/>
            </a:pPr>
            <a:endParaRPr kumimoji="0" lang="de-DE" sz="1108" b="1" i="0" u="none" strike="noStrike" kern="1200" cap="none" spc="0" normalizeH="0" baseline="0" noProof="0" dirty="0">
              <a:ln>
                <a:noFill/>
              </a:ln>
              <a:solidFill>
                <a:srgbClr val="FFFFFF"/>
              </a:solidFill>
              <a:effectLst/>
              <a:uLnTx/>
              <a:uFillTx/>
              <a:latin typeface="Arial" charset="0"/>
              <a:ea typeface="+mn-ea"/>
              <a:cs typeface="+mn-cs"/>
            </a:endParaRPr>
          </a:p>
        </p:txBody>
      </p:sp>
      <p:cxnSp>
        <p:nvCxnSpPr>
          <p:cNvPr id="11" name="Gerade Verbindung mit Pfeil 118"/>
          <p:cNvCxnSpPr>
            <a:stCxn id="7" idx="2"/>
            <a:endCxn id="6" idx="6"/>
          </p:cNvCxnSpPr>
          <p:nvPr/>
        </p:nvCxnSpPr>
        <p:spPr bwMode="auto">
          <a:xfrm flipH="1">
            <a:off x="2210652" y="3600764"/>
            <a:ext cx="1190709" cy="0"/>
          </a:xfrm>
          <a:prstGeom prst="straightConnector1">
            <a:avLst/>
          </a:prstGeom>
          <a:solidFill>
            <a:schemeClr val="accent1"/>
          </a:solidFill>
          <a:ln w="34925" cap="flat" cmpd="sng" algn="ctr">
            <a:solidFill>
              <a:schemeClr val="accent1">
                <a:lumMod val="75000"/>
              </a:schemeClr>
            </a:solidFill>
            <a:prstDash val="solid"/>
            <a:round/>
            <a:headEnd type="triangle" w="sm" len="lg"/>
            <a:tailEnd type="none" w="sm" len="lg"/>
          </a:ln>
          <a:effectLst/>
        </p:spPr>
      </p:cxnSp>
      <p:cxnSp>
        <p:nvCxnSpPr>
          <p:cNvPr id="12" name="Gerade Verbindung mit Pfeil 118"/>
          <p:cNvCxnSpPr>
            <a:stCxn id="8" idx="2"/>
            <a:endCxn id="7" idx="6"/>
          </p:cNvCxnSpPr>
          <p:nvPr/>
        </p:nvCxnSpPr>
        <p:spPr bwMode="auto">
          <a:xfrm flipH="1">
            <a:off x="3567513" y="3600764"/>
            <a:ext cx="1292300" cy="0"/>
          </a:xfrm>
          <a:prstGeom prst="straightConnector1">
            <a:avLst/>
          </a:prstGeom>
          <a:solidFill>
            <a:schemeClr val="accent1"/>
          </a:solidFill>
          <a:ln w="34925" cap="flat" cmpd="sng" algn="ctr">
            <a:solidFill>
              <a:schemeClr val="accent1">
                <a:lumMod val="75000"/>
              </a:schemeClr>
            </a:solidFill>
            <a:prstDash val="solid"/>
            <a:round/>
            <a:headEnd type="triangle" w="sm" len="lg"/>
            <a:tailEnd type="none" w="sm" len="lg"/>
          </a:ln>
          <a:effectLst/>
        </p:spPr>
      </p:cxnSp>
      <p:cxnSp>
        <p:nvCxnSpPr>
          <p:cNvPr id="13" name="Gerade Verbindung mit Pfeil 118"/>
          <p:cNvCxnSpPr>
            <a:stCxn id="9" idx="2"/>
            <a:endCxn id="8" idx="6"/>
          </p:cNvCxnSpPr>
          <p:nvPr/>
        </p:nvCxnSpPr>
        <p:spPr bwMode="auto">
          <a:xfrm flipH="1">
            <a:off x="5025968" y="3600764"/>
            <a:ext cx="1292300" cy="0"/>
          </a:xfrm>
          <a:prstGeom prst="straightConnector1">
            <a:avLst/>
          </a:prstGeom>
          <a:solidFill>
            <a:schemeClr val="accent1"/>
          </a:solidFill>
          <a:ln w="34925" cap="flat" cmpd="sng" algn="ctr">
            <a:solidFill>
              <a:schemeClr val="accent1">
                <a:lumMod val="75000"/>
              </a:schemeClr>
            </a:solidFill>
            <a:prstDash val="solid"/>
            <a:round/>
            <a:headEnd type="triangle" w="sm" len="lg"/>
            <a:tailEnd type="none" w="sm" len="lg"/>
          </a:ln>
          <a:effectLst/>
        </p:spPr>
      </p:cxnSp>
      <p:cxnSp>
        <p:nvCxnSpPr>
          <p:cNvPr id="14" name="Gerade Verbindung mit Pfeil 118"/>
          <p:cNvCxnSpPr>
            <a:stCxn id="10" idx="2"/>
            <a:endCxn id="9" idx="6"/>
          </p:cNvCxnSpPr>
          <p:nvPr/>
        </p:nvCxnSpPr>
        <p:spPr bwMode="auto">
          <a:xfrm flipH="1">
            <a:off x="6484422" y="3600764"/>
            <a:ext cx="1182886" cy="0"/>
          </a:xfrm>
          <a:prstGeom prst="straightConnector1">
            <a:avLst/>
          </a:prstGeom>
          <a:solidFill>
            <a:schemeClr val="accent1"/>
          </a:solidFill>
          <a:ln w="34925" cap="flat" cmpd="sng" algn="ctr">
            <a:solidFill>
              <a:schemeClr val="accent1">
                <a:lumMod val="75000"/>
              </a:schemeClr>
            </a:solidFill>
            <a:prstDash val="solid"/>
            <a:round/>
            <a:headEnd type="triangle" w="sm" len="lg"/>
            <a:tailEnd type="none" w="sm" len="lg"/>
          </a:ln>
          <a:effectLst/>
        </p:spPr>
      </p:cxnSp>
      <p:sp>
        <p:nvSpPr>
          <p:cNvPr id="18" name="Freihandform 17"/>
          <p:cNvSpPr/>
          <p:nvPr/>
        </p:nvSpPr>
        <p:spPr bwMode="auto">
          <a:xfrm rot="616634">
            <a:off x="3484992" y="3557230"/>
            <a:ext cx="1431497" cy="442720"/>
          </a:xfrm>
          <a:custGeom>
            <a:avLst/>
            <a:gdLst>
              <a:gd name="connsiteX0" fmla="*/ 0 w 2969537"/>
              <a:gd name="connsiteY0" fmla="*/ 54321 h 290184"/>
              <a:gd name="connsiteX1" fmla="*/ 1466662 w 2969537"/>
              <a:gd name="connsiteY1" fmla="*/ 289711 h 290184"/>
              <a:gd name="connsiteX2" fmla="*/ 2969537 w 2969537"/>
              <a:gd name="connsiteY2" fmla="*/ 0 h 290184"/>
              <a:gd name="connsiteX0" fmla="*/ 0 w 2969537"/>
              <a:gd name="connsiteY0" fmla="*/ 54321 h 290184"/>
              <a:gd name="connsiteX1" fmla="*/ 1466662 w 2969537"/>
              <a:gd name="connsiteY1" fmla="*/ 289711 h 290184"/>
              <a:gd name="connsiteX2" fmla="*/ 2969537 w 2969537"/>
              <a:gd name="connsiteY2" fmla="*/ 0 h 290184"/>
              <a:gd name="connsiteX0" fmla="*/ 0 w 2969537"/>
              <a:gd name="connsiteY0" fmla="*/ 54321 h 290259"/>
              <a:gd name="connsiteX1" fmla="*/ 1466662 w 2969537"/>
              <a:gd name="connsiteY1" fmla="*/ 289711 h 290259"/>
              <a:gd name="connsiteX2" fmla="*/ 2969537 w 2969537"/>
              <a:gd name="connsiteY2" fmla="*/ 0 h 290259"/>
              <a:gd name="connsiteX0" fmla="*/ 0 w 3064235"/>
              <a:gd name="connsiteY0" fmla="*/ 164146 h 293691"/>
              <a:gd name="connsiteX1" fmla="*/ 1561360 w 3064235"/>
              <a:gd name="connsiteY1" fmla="*/ 289711 h 293691"/>
              <a:gd name="connsiteX2" fmla="*/ 3064235 w 3064235"/>
              <a:gd name="connsiteY2" fmla="*/ 0 h 293691"/>
              <a:gd name="connsiteX0" fmla="*/ 0 w 3060447"/>
              <a:gd name="connsiteY0" fmla="*/ 148457 h 292139"/>
              <a:gd name="connsiteX1" fmla="*/ 1557572 w 3060447"/>
              <a:gd name="connsiteY1" fmla="*/ 289711 h 292139"/>
              <a:gd name="connsiteX2" fmla="*/ 3060447 w 3060447"/>
              <a:gd name="connsiteY2" fmla="*/ 0 h 292139"/>
              <a:gd name="connsiteX0" fmla="*/ 0 w 3060447"/>
              <a:gd name="connsiteY0" fmla="*/ 148457 h 291360"/>
              <a:gd name="connsiteX1" fmla="*/ 1557572 w 3060447"/>
              <a:gd name="connsiteY1" fmla="*/ 289711 h 291360"/>
              <a:gd name="connsiteX2" fmla="*/ 3060447 w 3060447"/>
              <a:gd name="connsiteY2" fmla="*/ 0 h 291360"/>
              <a:gd name="connsiteX0" fmla="*/ 0 w 3060447"/>
              <a:gd name="connsiteY0" fmla="*/ 148457 h 291360"/>
              <a:gd name="connsiteX1" fmla="*/ 1557572 w 3060447"/>
              <a:gd name="connsiteY1" fmla="*/ 289711 h 291360"/>
              <a:gd name="connsiteX2" fmla="*/ 3060447 w 3060447"/>
              <a:gd name="connsiteY2" fmla="*/ 0 h 291360"/>
              <a:gd name="connsiteX0" fmla="*/ 0 w 3060447"/>
              <a:gd name="connsiteY0" fmla="*/ 148457 h 279438"/>
              <a:gd name="connsiteX1" fmla="*/ 1515904 w 3060447"/>
              <a:gd name="connsiteY1" fmla="*/ 277159 h 279438"/>
              <a:gd name="connsiteX2" fmla="*/ 3060447 w 3060447"/>
              <a:gd name="connsiteY2" fmla="*/ 0 h 279438"/>
              <a:gd name="connsiteX0" fmla="*/ 0 w 3068023"/>
              <a:gd name="connsiteY0" fmla="*/ 148457 h 279438"/>
              <a:gd name="connsiteX1" fmla="*/ 1515904 w 3068023"/>
              <a:gd name="connsiteY1" fmla="*/ 277159 h 279438"/>
              <a:gd name="connsiteX2" fmla="*/ 3068023 w 3068023"/>
              <a:gd name="connsiteY2" fmla="*/ 0 h 279438"/>
              <a:gd name="connsiteX0" fmla="*/ 0 w 3056660"/>
              <a:gd name="connsiteY0" fmla="*/ 156301 h 280048"/>
              <a:gd name="connsiteX1" fmla="*/ 1504541 w 3056660"/>
              <a:gd name="connsiteY1" fmla="*/ 277159 h 280048"/>
              <a:gd name="connsiteX2" fmla="*/ 3056660 w 3056660"/>
              <a:gd name="connsiteY2" fmla="*/ 0 h 280048"/>
            </a:gdLst>
            <a:ahLst/>
            <a:cxnLst>
              <a:cxn ang="0">
                <a:pos x="connsiteX0" y="connsiteY0"/>
              </a:cxn>
              <a:cxn ang="0">
                <a:pos x="connsiteX1" y="connsiteY1"/>
              </a:cxn>
              <a:cxn ang="0">
                <a:pos x="connsiteX2" y="connsiteY2"/>
              </a:cxn>
            </a:cxnLst>
            <a:rect l="l" t="t" r="r" b="b"/>
            <a:pathLst>
              <a:path w="3056660" h="280048">
                <a:moveTo>
                  <a:pt x="0" y="156301"/>
                </a:moveTo>
                <a:cubicBezTo>
                  <a:pt x="592119" y="280941"/>
                  <a:pt x="1009618" y="286213"/>
                  <a:pt x="1504541" y="277159"/>
                </a:cubicBezTo>
                <a:cubicBezTo>
                  <a:pt x="1999464" y="268106"/>
                  <a:pt x="2765440" y="114677"/>
                  <a:pt x="3056660" y="0"/>
                </a:cubicBezTo>
              </a:path>
            </a:pathLst>
          </a:custGeom>
          <a:noFill/>
          <a:ln w="19050" cap="rnd" cmpd="sng" algn="ctr">
            <a:solidFill>
              <a:schemeClr val="bg2"/>
            </a:solidFill>
            <a:prstDash val="solid"/>
            <a:round/>
            <a:headEnd type="triangle" w="med" len="med"/>
            <a:tailEnd type="none" w="med" len="med"/>
          </a:ln>
          <a:effectLst/>
        </p:spPr>
        <p:txBody>
          <a:bodyPr rtlCol="0" anchor="ctr">
            <a:noAutofit/>
          </a:bodyPr>
          <a:lstStyle/>
          <a:p>
            <a:pPr marL="0" marR="0" lvl="0" indent="0" algn="ctr" defTabSz="844083" rtl="0" eaLnBrk="0" fontAlgn="base" latinLnBrk="0" hangingPunct="0">
              <a:lnSpc>
                <a:spcPct val="100000"/>
              </a:lnSpc>
              <a:spcBef>
                <a:spcPct val="0"/>
              </a:spcBef>
              <a:spcAft>
                <a:spcPct val="20000"/>
              </a:spcAft>
              <a:buClrTx/>
              <a:buSzTx/>
              <a:buFontTx/>
              <a:buNone/>
              <a:tabLst/>
              <a:defRPr/>
            </a:pPr>
            <a:endParaRPr kumimoji="0" lang="de-CH" sz="1477" b="0" i="0" u="none" strike="noStrike" kern="1200" cap="none" spc="0" normalizeH="0" baseline="0" noProof="0" dirty="0">
              <a:ln>
                <a:noFill/>
              </a:ln>
              <a:solidFill>
                <a:srgbClr val="0E3666"/>
              </a:solidFill>
              <a:effectLst/>
              <a:uLnTx/>
              <a:uFillTx/>
              <a:latin typeface="Arial" charset="0"/>
              <a:ea typeface="+mn-ea"/>
              <a:cs typeface="+mn-cs"/>
            </a:endParaRPr>
          </a:p>
        </p:txBody>
      </p:sp>
      <p:sp>
        <p:nvSpPr>
          <p:cNvPr id="22" name="Freihandform 21"/>
          <p:cNvSpPr/>
          <p:nvPr/>
        </p:nvSpPr>
        <p:spPr bwMode="auto">
          <a:xfrm rot="616634">
            <a:off x="4939338" y="3552367"/>
            <a:ext cx="1433474" cy="448764"/>
          </a:xfrm>
          <a:custGeom>
            <a:avLst/>
            <a:gdLst>
              <a:gd name="connsiteX0" fmla="*/ 0 w 2969537"/>
              <a:gd name="connsiteY0" fmla="*/ 54321 h 290184"/>
              <a:gd name="connsiteX1" fmla="*/ 1466662 w 2969537"/>
              <a:gd name="connsiteY1" fmla="*/ 289711 h 290184"/>
              <a:gd name="connsiteX2" fmla="*/ 2969537 w 2969537"/>
              <a:gd name="connsiteY2" fmla="*/ 0 h 290184"/>
              <a:gd name="connsiteX0" fmla="*/ 0 w 2969537"/>
              <a:gd name="connsiteY0" fmla="*/ 54321 h 290184"/>
              <a:gd name="connsiteX1" fmla="*/ 1466662 w 2969537"/>
              <a:gd name="connsiteY1" fmla="*/ 289711 h 290184"/>
              <a:gd name="connsiteX2" fmla="*/ 2969537 w 2969537"/>
              <a:gd name="connsiteY2" fmla="*/ 0 h 290184"/>
              <a:gd name="connsiteX0" fmla="*/ 0 w 2969537"/>
              <a:gd name="connsiteY0" fmla="*/ 54321 h 290259"/>
              <a:gd name="connsiteX1" fmla="*/ 1466662 w 2969537"/>
              <a:gd name="connsiteY1" fmla="*/ 289711 h 290259"/>
              <a:gd name="connsiteX2" fmla="*/ 2969537 w 2969537"/>
              <a:gd name="connsiteY2" fmla="*/ 0 h 290259"/>
              <a:gd name="connsiteX0" fmla="*/ 0 w 3064235"/>
              <a:gd name="connsiteY0" fmla="*/ 164146 h 293691"/>
              <a:gd name="connsiteX1" fmla="*/ 1561360 w 3064235"/>
              <a:gd name="connsiteY1" fmla="*/ 289711 h 293691"/>
              <a:gd name="connsiteX2" fmla="*/ 3064235 w 3064235"/>
              <a:gd name="connsiteY2" fmla="*/ 0 h 293691"/>
              <a:gd name="connsiteX0" fmla="*/ 0 w 3060447"/>
              <a:gd name="connsiteY0" fmla="*/ 148457 h 292139"/>
              <a:gd name="connsiteX1" fmla="*/ 1557572 w 3060447"/>
              <a:gd name="connsiteY1" fmla="*/ 289711 h 292139"/>
              <a:gd name="connsiteX2" fmla="*/ 3060447 w 3060447"/>
              <a:gd name="connsiteY2" fmla="*/ 0 h 292139"/>
              <a:gd name="connsiteX0" fmla="*/ 0 w 3060447"/>
              <a:gd name="connsiteY0" fmla="*/ 148457 h 291360"/>
              <a:gd name="connsiteX1" fmla="*/ 1557572 w 3060447"/>
              <a:gd name="connsiteY1" fmla="*/ 289711 h 291360"/>
              <a:gd name="connsiteX2" fmla="*/ 3060447 w 3060447"/>
              <a:gd name="connsiteY2" fmla="*/ 0 h 291360"/>
              <a:gd name="connsiteX0" fmla="*/ 0 w 3060447"/>
              <a:gd name="connsiteY0" fmla="*/ 148457 h 291360"/>
              <a:gd name="connsiteX1" fmla="*/ 1557572 w 3060447"/>
              <a:gd name="connsiteY1" fmla="*/ 289711 h 291360"/>
              <a:gd name="connsiteX2" fmla="*/ 3060447 w 3060447"/>
              <a:gd name="connsiteY2" fmla="*/ 0 h 291360"/>
              <a:gd name="connsiteX0" fmla="*/ 0 w 3060447"/>
              <a:gd name="connsiteY0" fmla="*/ 148457 h 279438"/>
              <a:gd name="connsiteX1" fmla="*/ 1515904 w 3060447"/>
              <a:gd name="connsiteY1" fmla="*/ 277159 h 279438"/>
              <a:gd name="connsiteX2" fmla="*/ 3060447 w 3060447"/>
              <a:gd name="connsiteY2" fmla="*/ 0 h 279438"/>
              <a:gd name="connsiteX0" fmla="*/ 0 w 3068023"/>
              <a:gd name="connsiteY0" fmla="*/ 148457 h 279438"/>
              <a:gd name="connsiteX1" fmla="*/ 1515904 w 3068023"/>
              <a:gd name="connsiteY1" fmla="*/ 277159 h 279438"/>
              <a:gd name="connsiteX2" fmla="*/ 3068023 w 3068023"/>
              <a:gd name="connsiteY2" fmla="*/ 0 h 279438"/>
              <a:gd name="connsiteX0" fmla="*/ 0 w 3056660"/>
              <a:gd name="connsiteY0" fmla="*/ 156301 h 280048"/>
              <a:gd name="connsiteX1" fmla="*/ 1504541 w 3056660"/>
              <a:gd name="connsiteY1" fmla="*/ 277159 h 280048"/>
              <a:gd name="connsiteX2" fmla="*/ 3056660 w 3056660"/>
              <a:gd name="connsiteY2" fmla="*/ 0 h 280048"/>
            </a:gdLst>
            <a:ahLst/>
            <a:cxnLst>
              <a:cxn ang="0">
                <a:pos x="connsiteX0" y="connsiteY0"/>
              </a:cxn>
              <a:cxn ang="0">
                <a:pos x="connsiteX1" y="connsiteY1"/>
              </a:cxn>
              <a:cxn ang="0">
                <a:pos x="connsiteX2" y="connsiteY2"/>
              </a:cxn>
            </a:cxnLst>
            <a:rect l="l" t="t" r="r" b="b"/>
            <a:pathLst>
              <a:path w="3056660" h="280048">
                <a:moveTo>
                  <a:pt x="0" y="156301"/>
                </a:moveTo>
                <a:cubicBezTo>
                  <a:pt x="592119" y="280941"/>
                  <a:pt x="1009618" y="286213"/>
                  <a:pt x="1504541" y="277159"/>
                </a:cubicBezTo>
                <a:cubicBezTo>
                  <a:pt x="1999464" y="268106"/>
                  <a:pt x="2765440" y="114677"/>
                  <a:pt x="3056660" y="0"/>
                </a:cubicBezTo>
              </a:path>
            </a:pathLst>
          </a:custGeom>
          <a:noFill/>
          <a:ln w="19050" cap="rnd" cmpd="sng" algn="ctr">
            <a:solidFill>
              <a:schemeClr val="bg2"/>
            </a:solidFill>
            <a:prstDash val="solid"/>
            <a:round/>
            <a:headEnd type="triangle" w="med" len="med"/>
            <a:tailEnd type="none" w="med" len="med"/>
          </a:ln>
          <a:effectLst/>
        </p:spPr>
        <p:txBody>
          <a:bodyPr rtlCol="0" anchor="ctr">
            <a:noAutofit/>
          </a:bodyPr>
          <a:lstStyle/>
          <a:p>
            <a:pPr marL="0" marR="0" lvl="0" indent="0" algn="ctr" defTabSz="844083" rtl="0" eaLnBrk="0" fontAlgn="base" latinLnBrk="0" hangingPunct="0">
              <a:lnSpc>
                <a:spcPct val="100000"/>
              </a:lnSpc>
              <a:spcBef>
                <a:spcPct val="0"/>
              </a:spcBef>
              <a:spcAft>
                <a:spcPct val="20000"/>
              </a:spcAft>
              <a:buClrTx/>
              <a:buSzTx/>
              <a:buFontTx/>
              <a:buNone/>
              <a:tabLst/>
              <a:defRPr/>
            </a:pPr>
            <a:endParaRPr kumimoji="0" lang="de-CH" sz="1477" b="0" i="0" u="none" strike="noStrike" kern="1200" cap="none" spc="0" normalizeH="0" baseline="0" noProof="0" dirty="0">
              <a:ln>
                <a:noFill/>
              </a:ln>
              <a:solidFill>
                <a:srgbClr val="0E3666"/>
              </a:solidFill>
              <a:effectLst/>
              <a:uLnTx/>
              <a:uFillTx/>
              <a:latin typeface="Arial" charset="0"/>
              <a:ea typeface="+mn-ea"/>
              <a:cs typeface="+mn-cs"/>
            </a:endParaRPr>
          </a:p>
        </p:txBody>
      </p:sp>
      <p:sp>
        <p:nvSpPr>
          <p:cNvPr id="23" name="Freihandform 22"/>
          <p:cNvSpPr/>
          <p:nvPr/>
        </p:nvSpPr>
        <p:spPr bwMode="auto">
          <a:xfrm rot="616634">
            <a:off x="6390843" y="3559551"/>
            <a:ext cx="1354822" cy="428139"/>
          </a:xfrm>
          <a:custGeom>
            <a:avLst/>
            <a:gdLst>
              <a:gd name="connsiteX0" fmla="*/ 0 w 2969537"/>
              <a:gd name="connsiteY0" fmla="*/ 54321 h 290184"/>
              <a:gd name="connsiteX1" fmla="*/ 1466662 w 2969537"/>
              <a:gd name="connsiteY1" fmla="*/ 289711 h 290184"/>
              <a:gd name="connsiteX2" fmla="*/ 2969537 w 2969537"/>
              <a:gd name="connsiteY2" fmla="*/ 0 h 290184"/>
              <a:gd name="connsiteX0" fmla="*/ 0 w 2969537"/>
              <a:gd name="connsiteY0" fmla="*/ 54321 h 290184"/>
              <a:gd name="connsiteX1" fmla="*/ 1466662 w 2969537"/>
              <a:gd name="connsiteY1" fmla="*/ 289711 h 290184"/>
              <a:gd name="connsiteX2" fmla="*/ 2969537 w 2969537"/>
              <a:gd name="connsiteY2" fmla="*/ 0 h 290184"/>
              <a:gd name="connsiteX0" fmla="*/ 0 w 2969537"/>
              <a:gd name="connsiteY0" fmla="*/ 54321 h 290259"/>
              <a:gd name="connsiteX1" fmla="*/ 1466662 w 2969537"/>
              <a:gd name="connsiteY1" fmla="*/ 289711 h 290259"/>
              <a:gd name="connsiteX2" fmla="*/ 2969537 w 2969537"/>
              <a:gd name="connsiteY2" fmla="*/ 0 h 290259"/>
              <a:gd name="connsiteX0" fmla="*/ 0 w 3064235"/>
              <a:gd name="connsiteY0" fmla="*/ 164146 h 293691"/>
              <a:gd name="connsiteX1" fmla="*/ 1561360 w 3064235"/>
              <a:gd name="connsiteY1" fmla="*/ 289711 h 293691"/>
              <a:gd name="connsiteX2" fmla="*/ 3064235 w 3064235"/>
              <a:gd name="connsiteY2" fmla="*/ 0 h 293691"/>
              <a:gd name="connsiteX0" fmla="*/ 0 w 3060447"/>
              <a:gd name="connsiteY0" fmla="*/ 148457 h 292139"/>
              <a:gd name="connsiteX1" fmla="*/ 1557572 w 3060447"/>
              <a:gd name="connsiteY1" fmla="*/ 289711 h 292139"/>
              <a:gd name="connsiteX2" fmla="*/ 3060447 w 3060447"/>
              <a:gd name="connsiteY2" fmla="*/ 0 h 292139"/>
              <a:gd name="connsiteX0" fmla="*/ 0 w 3060447"/>
              <a:gd name="connsiteY0" fmla="*/ 148457 h 291360"/>
              <a:gd name="connsiteX1" fmla="*/ 1557572 w 3060447"/>
              <a:gd name="connsiteY1" fmla="*/ 289711 h 291360"/>
              <a:gd name="connsiteX2" fmla="*/ 3060447 w 3060447"/>
              <a:gd name="connsiteY2" fmla="*/ 0 h 291360"/>
              <a:gd name="connsiteX0" fmla="*/ 0 w 3060447"/>
              <a:gd name="connsiteY0" fmla="*/ 148457 h 291360"/>
              <a:gd name="connsiteX1" fmla="*/ 1557572 w 3060447"/>
              <a:gd name="connsiteY1" fmla="*/ 289711 h 291360"/>
              <a:gd name="connsiteX2" fmla="*/ 3060447 w 3060447"/>
              <a:gd name="connsiteY2" fmla="*/ 0 h 291360"/>
              <a:gd name="connsiteX0" fmla="*/ 0 w 3060447"/>
              <a:gd name="connsiteY0" fmla="*/ 148457 h 279438"/>
              <a:gd name="connsiteX1" fmla="*/ 1515904 w 3060447"/>
              <a:gd name="connsiteY1" fmla="*/ 277159 h 279438"/>
              <a:gd name="connsiteX2" fmla="*/ 3060447 w 3060447"/>
              <a:gd name="connsiteY2" fmla="*/ 0 h 279438"/>
              <a:gd name="connsiteX0" fmla="*/ 0 w 3068023"/>
              <a:gd name="connsiteY0" fmla="*/ 148457 h 279438"/>
              <a:gd name="connsiteX1" fmla="*/ 1515904 w 3068023"/>
              <a:gd name="connsiteY1" fmla="*/ 277159 h 279438"/>
              <a:gd name="connsiteX2" fmla="*/ 3068023 w 3068023"/>
              <a:gd name="connsiteY2" fmla="*/ 0 h 279438"/>
              <a:gd name="connsiteX0" fmla="*/ 0 w 3056660"/>
              <a:gd name="connsiteY0" fmla="*/ 156301 h 280048"/>
              <a:gd name="connsiteX1" fmla="*/ 1504541 w 3056660"/>
              <a:gd name="connsiteY1" fmla="*/ 277159 h 280048"/>
              <a:gd name="connsiteX2" fmla="*/ 3056660 w 3056660"/>
              <a:gd name="connsiteY2" fmla="*/ 0 h 280048"/>
            </a:gdLst>
            <a:ahLst/>
            <a:cxnLst>
              <a:cxn ang="0">
                <a:pos x="connsiteX0" y="connsiteY0"/>
              </a:cxn>
              <a:cxn ang="0">
                <a:pos x="connsiteX1" y="connsiteY1"/>
              </a:cxn>
              <a:cxn ang="0">
                <a:pos x="connsiteX2" y="connsiteY2"/>
              </a:cxn>
            </a:cxnLst>
            <a:rect l="l" t="t" r="r" b="b"/>
            <a:pathLst>
              <a:path w="3056660" h="280048">
                <a:moveTo>
                  <a:pt x="0" y="156301"/>
                </a:moveTo>
                <a:cubicBezTo>
                  <a:pt x="592119" y="280941"/>
                  <a:pt x="1009618" y="286213"/>
                  <a:pt x="1504541" y="277159"/>
                </a:cubicBezTo>
                <a:cubicBezTo>
                  <a:pt x="1999464" y="268106"/>
                  <a:pt x="2765440" y="114677"/>
                  <a:pt x="3056660" y="0"/>
                </a:cubicBezTo>
              </a:path>
            </a:pathLst>
          </a:custGeom>
          <a:noFill/>
          <a:ln w="19050" cap="rnd" cmpd="sng" algn="ctr">
            <a:solidFill>
              <a:schemeClr val="bg2"/>
            </a:solidFill>
            <a:prstDash val="solid"/>
            <a:round/>
            <a:headEnd type="triangle" w="med" len="med"/>
            <a:tailEnd type="none" w="med" len="med"/>
          </a:ln>
          <a:effectLst/>
        </p:spPr>
        <p:txBody>
          <a:bodyPr rtlCol="0" anchor="ctr">
            <a:noAutofit/>
          </a:bodyPr>
          <a:lstStyle/>
          <a:p>
            <a:pPr marL="0" marR="0" lvl="0" indent="0" algn="ctr" defTabSz="844083" rtl="0" eaLnBrk="0" fontAlgn="base" latinLnBrk="0" hangingPunct="0">
              <a:lnSpc>
                <a:spcPct val="100000"/>
              </a:lnSpc>
              <a:spcBef>
                <a:spcPct val="0"/>
              </a:spcBef>
              <a:spcAft>
                <a:spcPct val="20000"/>
              </a:spcAft>
              <a:buClrTx/>
              <a:buSzTx/>
              <a:buFontTx/>
              <a:buNone/>
              <a:tabLst/>
              <a:defRPr/>
            </a:pPr>
            <a:endParaRPr kumimoji="0" lang="de-CH" sz="1477" b="0" i="0" u="none" strike="noStrike" kern="1200" cap="none" spc="0" normalizeH="0" baseline="0" noProof="0" dirty="0">
              <a:ln>
                <a:noFill/>
              </a:ln>
              <a:solidFill>
                <a:srgbClr val="0E3666"/>
              </a:solidFill>
              <a:effectLst/>
              <a:uLnTx/>
              <a:uFillTx/>
              <a:latin typeface="Arial" charset="0"/>
              <a:ea typeface="+mn-ea"/>
              <a:cs typeface="+mn-cs"/>
            </a:endParaRPr>
          </a:p>
        </p:txBody>
      </p:sp>
      <p:sp>
        <p:nvSpPr>
          <p:cNvPr id="29" name="Freihandform 28"/>
          <p:cNvSpPr/>
          <p:nvPr/>
        </p:nvSpPr>
        <p:spPr bwMode="auto">
          <a:xfrm rot="20015266">
            <a:off x="2440834" y="2538747"/>
            <a:ext cx="3741958" cy="1931015"/>
          </a:xfrm>
          <a:custGeom>
            <a:avLst/>
            <a:gdLst>
              <a:gd name="connsiteX0" fmla="*/ 0 w 2552132"/>
              <a:gd name="connsiteY0" fmla="*/ 0 h 1255594"/>
              <a:gd name="connsiteX1" fmla="*/ 2552132 w 2552132"/>
              <a:gd name="connsiteY1" fmla="*/ 1255594 h 1255594"/>
              <a:gd name="connsiteX0" fmla="*/ 0 w 2552132"/>
              <a:gd name="connsiteY0" fmla="*/ 0 h 1282890"/>
              <a:gd name="connsiteX1" fmla="*/ 2552132 w 2552132"/>
              <a:gd name="connsiteY1" fmla="*/ 1282890 h 1282890"/>
              <a:gd name="connsiteX0" fmla="*/ 0 w 2552132"/>
              <a:gd name="connsiteY0" fmla="*/ 27959 h 1310849"/>
              <a:gd name="connsiteX1" fmla="*/ 2552132 w 2552132"/>
              <a:gd name="connsiteY1" fmla="*/ 1310849 h 1310849"/>
              <a:gd name="connsiteX0" fmla="*/ 0 w 2470245"/>
              <a:gd name="connsiteY0" fmla="*/ 27657 h 1324195"/>
              <a:gd name="connsiteX1" fmla="*/ 2470245 w 2470245"/>
              <a:gd name="connsiteY1" fmla="*/ 1324195 h 1324195"/>
              <a:gd name="connsiteX0" fmla="*/ 0 w 2470245"/>
              <a:gd name="connsiteY0" fmla="*/ 30890 h 1327428"/>
              <a:gd name="connsiteX1" fmla="*/ 2470245 w 2470245"/>
              <a:gd name="connsiteY1" fmla="*/ 1327428 h 1327428"/>
              <a:gd name="connsiteX0" fmla="*/ 0 w 2552131"/>
              <a:gd name="connsiteY0" fmla="*/ 30523 h 1340709"/>
              <a:gd name="connsiteX1" fmla="*/ 2552131 w 2552131"/>
              <a:gd name="connsiteY1" fmla="*/ 1340709 h 1340709"/>
              <a:gd name="connsiteX0" fmla="*/ 0 w 2552131"/>
              <a:gd name="connsiteY0" fmla="*/ 30523 h 1340709"/>
              <a:gd name="connsiteX1" fmla="*/ 2552131 w 2552131"/>
              <a:gd name="connsiteY1" fmla="*/ 1340709 h 1340709"/>
              <a:gd name="connsiteX0" fmla="*/ 0 w 2552131"/>
              <a:gd name="connsiteY0" fmla="*/ 6839 h 1317025"/>
              <a:gd name="connsiteX1" fmla="*/ 2552131 w 2552131"/>
              <a:gd name="connsiteY1" fmla="*/ 1317025 h 1317025"/>
            </a:gdLst>
            <a:ahLst/>
            <a:cxnLst>
              <a:cxn ang="0">
                <a:pos x="connsiteX0" y="connsiteY0"/>
              </a:cxn>
              <a:cxn ang="0">
                <a:pos x="connsiteX1" y="connsiteY1"/>
              </a:cxn>
            </a:cxnLst>
            <a:rect l="l" t="t" r="r" b="b"/>
            <a:pathLst>
              <a:path w="2552131" h="1317025">
                <a:moveTo>
                  <a:pt x="0" y="6839"/>
                </a:moveTo>
                <a:cubicBezTo>
                  <a:pt x="1219201" y="-84145"/>
                  <a:pt x="2288273" y="752917"/>
                  <a:pt x="2552131" y="1317025"/>
                </a:cubicBezTo>
              </a:path>
            </a:pathLst>
          </a:custGeom>
          <a:noFill/>
          <a:ln w="19050" cap="flat" cmpd="sng" algn="ctr">
            <a:solidFill>
              <a:schemeClr val="bg2"/>
            </a:solidFill>
            <a:prstDash val="dash"/>
            <a:round/>
            <a:headEnd type="none" w="med" len="med"/>
            <a:tailEnd type="none" w="med" len="med"/>
          </a:ln>
          <a:effectLst/>
        </p:spPr>
        <p:txBody>
          <a:bodyPr rtlCol="0" anchor="ctr"/>
          <a:lstStyle/>
          <a:p>
            <a:pPr marL="0" marR="0" lvl="0" indent="0" algn="ctr" defTabSz="844083" rtl="0" eaLnBrk="0" fontAlgn="base" latinLnBrk="0" hangingPunct="0">
              <a:lnSpc>
                <a:spcPct val="100000"/>
              </a:lnSpc>
              <a:spcBef>
                <a:spcPct val="0"/>
              </a:spcBef>
              <a:spcAft>
                <a:spcPct val="20000"/>
              </a:spcAft>
              <a:buClrTx/>
              <a:buSzTx/>
              <a:buFontTx/>
              <a:buNone/>
              <a:tabLst/>
              <a:defRPr/>
            </a:pPr>
            <a:endParaRPr kumimoji="0" lang="de-DE" sz="1477"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7" name="Freihandform 26"/>
          <p:cNvSpPr/>
          <p:nvPr/>
        </p:nvSpPr>
        <p:spPr bwMode="auto">
          <a:xfrm rot="9816457">
            <a:off x="2346399" y="2199864"/>
            <a:ext cx="5249718" cy="2120397"/>
          </a:xfrm>
          <a:custGeom>
            <a:avLst/>
            <a:gdLst>
              <a:gd name="connsiteX0" fmla="*/ 0 w 2552132"/>
              <a:gd name="connsiteY0" fmla="*/ 0 h 1255594"/>
              <a:gd name="connsiteX1" fmla="*/ 2552132 w 2552132"/>
              <a:gd name="connsiteY1" fmla="*/ 1255594 h 1255594"/>
              <a:gd name="connsiteX0" fmla="*/ 0 w 2552132"/>
              <a:gd name="connsiteY0" fmla="*/ 0 h 1282890"/>
              <a:gd name="connsiteX1" fmla="*/ 2552132 w 2552132"/>
              <a:gd name="connsiteY1" fmla="*/ 1282890 h 1282890"/>
              <a:gd name="connsiteX0" fmla="*/ 0 w 2552132"/>
              <a:gd name="connsiteY0" fmla="*/ 27959 h 1310849"/>
              <a:gd name="connsiteX1" fmla="*/ 2552132 w 2552132"/>
              <a:gd name="connsiteY1" fmla="*/ 1310849 h 1310849"/>
              <a:gd name="connsiteX0" fmla="*/ 0 w 2470245"/>
              <a:gd name="connsiteY0" fmla="*/ 27657 h 1324195"/>
              <a:gd name="connsiteX1" fmla="*/ 2470245 w 2470245"/>
              <a:gd name="connsiteY1" fmla="*/ 1324195 h 1324195"/>
              <a:gd name="connsiteX0" fmla="*/ 0 w 2470245"/>
              <a:gd name="connsiteY0" fmla="*/ 30890 h 1327428"/>
              <a:gd name="connsiteX1" fmla="*/ 2470245 w 2470245"/>
              <a:gd name="connsiteY1" fmla="*/ 1327428 h 1327428"/>
              <a:gd name="connsiteX0" fmla="*/ 0 w 2552131"/>
              <a:gd name="connsiteY0" fmla="*/ 30523 h 1340709"/>
              <a:gd name="connsiteX1" fmla="*/ 2552131 w 2552131"/>
              <a:gd name="connsiteY1" fmla="*/ 1340709 h 1340709"/>
              <a:gd name="connsiteX0" fmla="*/ 0 w 2552131"/>
              <a:gd name="connsiteY0" fmla="*/ 30523 h 1340709"/>
              <a:gd name="connsiteX1" fmla="*/ 2552131 w 2552131"/>
              <a:gd name="connsiteY1" fmla="*/ 1340709 h 1340709"/>
              <a:gd name="connsiteX0" fmla="*/ 0 w 2552131"/>
              <a:gd name="connsiteY0" fmla="*/ 6839 h 1317025"/>
              <a:gd name="connsiteX1" fmla="*/ 2552131 w 2552131"/>
              <a:gd name="connsiteY1" fmla="*/ 1317025 h 1317025"/>
              <a:gd name="connsiteX0" fmla="*/ 0 w 2538483"/>
              <a:gd name="connsiteY0" fmla="*/ 482026 h 482026"/>
              <a:gd name="connsiteX1" fmla="*/ 2538483 w 2538483"/>
              <a:gd name="connsiteY1" fmla="*/ 209072 h 482026"/>
              <a:gd name="connsiteX0" fmla="*/ 0 w 2538483"/>
              <a:gd name="connsiteY0" fmla="*/ 289870 h 289870"/>
              <a:gd name="connsiteX1" fmla="*/ 2538483 w 2538483"/>
              <a:gd name="connsiteY1" fmla="*/ 16916 h 289870"/>
              <a:gd name="connsiteX0" fmla="*/ 0 w 2579427"/>
              <a:gd name="connsiteY0" fmla="*/ 342097 h 342097"/>
              <a:gd name="connsiteX1" fmla="*/ 2579427 w 2579427"/>
              <a:gd name="connsiteY1" fmla="*/ 14552 h 342097"/>
              <a:gd name="connsiteX0" fmla="*/ 0 w 2579427"/>
              <a:gd name="connsiteY0" fmla="*/ 355178 h 355178"/>
              <a:gd name="connsiteX1" fmla="*/ 2579427 w 2579427"/>
              <a:gd name="connsiteY1" fmla="*/ 27633 h 355178"/>
              <a:gd name="connsiteX0" fmla="*/ 0 w 2579427"/>
              <a:gd name="connsiteY0" fmla="*/ 360644 h 360644"/>
              <a:gd name="connsiteX1" fmla="*/ 2579427 w 2579427"/>
              <a:gd name="connsiteY1" fmla="*/ 33099 h 360644"/>
              <a:gd name="connsiteX0" fmla="*/ 0 w 3739487"/>
              <a:gd name="connsiteY0" fmla="*/ 47949 h 1016941"/>
              <a:gd name="connsiteX1" fmla="*/ 3739487 w 3739487"/>
              <a:gd name="connsiteY1" fmla="*/ 1016941 h 1016941"/>
              <a:gd name="connsiteX0" fmla="*/ 0 w 3739487"/>
              <a:gd name="connsiteY0" fmla="*/ 24022 h 1360101"/>
              <a:gd name="connsiteX1" fmla="*/ 3739487 w 3739487"/>
              <a:gd name="connsiteY1" fmla="*/ 993014 h 1360101"/>
              <a:gd name="connsiteX0" fmla="*/ 0 w 3739487"/>
              <a:gd name="connsiteY0" fmla="*/ 0 h 1426786"/>
              <a:gd name="connsiteX1" fmla="*/ 3739487 w 3739487"/>
              <a:gd name="connsiteY1" fmla="*/ 968992 h 1426786"/>
              <a:gd name="connsiteX0" fmla="*/ 0 w 3739487"/>
              <a:gd name="connsiteY0" fmla="*/ 0 h 1233141"/>
              <a:gd name="connsiteX1" fmla="*/ 3739487 w 3739487"/>
              <a:gd name="connsiteY1" fmla="*/ 968992 h 1233141"/>
            </a:gdLst>
            <a:ahLst/>
            <a:cxnLst>
              <a:cxn ang="0">
                <a:pos x="connsiteX0" y="connsiteY0"/>
              </a:cxn>
              <a:cxn ang="0">
                <a:pos x="connsiteX1" y="connsiteY1"/>
              </a:cxn>
            </a:cxnLst>
            <a:rect l="l" t="t" r="r" b="b"/>
            <a:pathLst>
              <a:path w="3739487" h="1233141">
                <a:moveTo>
                  <a:pt x="0" y="0"/>
                </a:moveTo>
                <a:cubicBezTo>
                  <a:pt x="318448" y="454927"/>
                  <a:pt x="2069910" y="1796956"/>
                  <a:pt x="3739487" y="968992"/>
                </a:cubicBezTo>
              </a:path>
            </a:pathLst>
          </a:custGeom>
          <a:noFill/>
          <a:ln w="19050" cap="flat" cmpd="sng" algn="ctr">
            <a:solidFill>
              <a:schemeClr val="bg2"/>
            </a:solidFill>
            <a:prstDash val="dash"/>
            <a:round/>
            <a:headEnd type="none" w="med" len="med"/>
            <a:tailEnd type="none" w="med" len="med"/>
          </a:ln>
          <a:effectLst/>
        </p:spPr>
        <p:txBody>
          <a:bodyPr rtlCol="0" anchor="ctr"/>
          <a:lstStyle/>
          <a:p>
            <a:pPr marL="0" marR="0" lvl="0" indent="0" algn="ctr" defTabSz="844083" rtl="0" eaLnBrk="0" fontAlgn="base" latinLnBrk="0" hangingPunct="0">
              <a:lnSpc>
                <a:spcPct val="100000"/>
              </a:lnSpc>
              <a:spcBef>
                <a:spcPct val="0"/>
              </a:spcBef>
              <a:spcAft>
                <a:spcPct val="20000"/>
              </a:spcAft>
              <a:buClrTx/>
              <a:buSzTx/>
              <a:buFontTx/>
              <a:buNone/>
              <a:tabLst/>
              <a:defRPr/>
            </a:pPr>
            <a:endParaRPr kumimoji="0" lang="de-DE" sz="1477"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 name="Ellipse 9"/>
          <p:cNvSpPr/>
          <p:nvPr/>
        </p:nvSpPr>
        <p:spPr bwMode="auto">
          <a:xfrm>
            <a:off x="7667308" y="3517687"/>
            <a:ext cx="166154" cy="166154"/>
          </a:xfrm>
          <a:prstGeom prst="ellipse">
            <a:avLst/>
          </a:prstGeom>
          <a:solidFill>
            <a:srgbClr val="C36D14"/>
          </a:solidFill>
          <a:ln w="9525" cap="flat" cmpd="sng" algn="ctr">
            <a:noFill/>
            <a:prstDash val="solid"/>
            <a:round/>
            <a:headEnd type="none" w="med" len="med"/>
            <a:tailEnd type="none" w="med" len="med"/>
          </a:ln>
          <a:effectLst/>
          <a:scene3d>
            <a:camera prst="orthographicFront"/>
            <a:lightRig rig="soft" dir="t"/>
          </a:scene3d>
          <a:sp3d>
            <a:bevelT w="88900" h="88900"/>
          </a:sp3d>
        </p:spPr>
        <p:txBody>
          <a:bodyPr vert="horz" wrap="square" lIns="33231" tIns="43200" rIns="33231" bIns="43200" numCol="1" rtlCol="0" anchor="ctr" anchorCtr="0" compatLnSpc="1">
            <a:prstTxWarp prst="textNoShape">
              <a:avLst/>
            </a:prstTxWarp>
          </a:bodyPr>
          <a:lstStyle/>
          <a:p>
            <a:pPr marL="0" marR="0" lvl="0" indent="0" algn="ctr" defTabSz="844083" rtl="0" eaLnBrk="0" fontAlgn="base" latinLnBrk="0" hangingPunct="0">
              <a:lnSpc>
                <a:spcPct val="100000"/>
              </a:lnSpc>
              <a:spcBef>
                <a:spcPts val="0"/>
              </a:spcBef>
              <a:spcAft>
                <a:spcPts val="0"/>
              </a:spcAft>
              <a:buClrTx/>
              <a:buSzTx/>
              <a:buFontTx/>
              <a:buNone/>
              <a:tabLst/>
              <a:defRPr/>
            </a:pPr>
            <a:endParaRPr kumimoji="0" lang="de-DE" sz="1108" b="1"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9" name="Ellipse 8"/>
          <p:cNvSpPr/>
          <p:nvPr/>
        </p:nvSpPr>
        <p:spPr bwMode="auto">
          <a:xfrm>
            <a:off x="6318268" y="3517687"/>
            <a:ext cx="166154" cy="166154"/>
          </a:xfrm>
          <a:prstGeom prst="ellipse">
            <a:avLst/>
          </a:prstGeom>
          <a:solidFill>
            <a:srgbClr val="00B050"/>
          </a:solidFill>
          <a:ln w="9525" cap="flat" cmpd="sng" algn="ctr">
            <a:noFill/>
            <a:prstDash val="solid"/>
            <a:round/>
            <a:headEnd type="none" w="med" len="med"/>
            <a:tailEnd type="none" w="med" len="med"/>
          </a:ln>
          <a:effectLst/>
          <a:scene3d>
            <a:camera prst="orthographicFront"/>
            <a:lightRig rig="soft" dir="t"/>
          </a:scene3d>
          <a:sp3d>
            <a:bevelT w="88900" h="88900"/>
          </a:sp3d>
        </p:spPr>
        <p:txBody>
          <a:bodyPr vert="horz" wrap="square" lIns="33231" tIns="43200" rIns="33231" bIns="43200" numCol="1" rtlCol="0" anchor="ctr" anchorCtr="0" compatLnSpc="1">
            <a:prstTxWarp prst="textNoShape">
              <a:avLst/>
            </a:prstTxWarp>
          </a:bodyPr>
          <a:lstStyle/>
          <a:p>
            <a:pPr marL="0" marR="0" lvl="0" indent="0" algn="ctr" defTabSz="844083" rtl="0" eaLnBrk="0" fontAlgn="base" latinLnBrk="0" hangingPunct="0">
              <a:lnSpc>
                <a:spcPct val="100000"/>
              </a:lnSpc>
              <a:spcBef>
                <a:spcPts val="0"/>
              </a:spcBef>
              <a:spcAft>
                <a:spcPts val="0"/>
              </a:spcAft>
              <a:buClrTx/>
              <a:buSzTx/>
              <a:buFontTx/>
              <a:buNone/>
              <a:tabLst/>
              <a:defRPr/>
            </a:pPr>
            <a:endParaRPr kumimoji="0" lang="de-DE" sz="1108" b="1"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7" name="Ellipse 6"/>
          <p:cNvSpPr/>
          <p:nvPr/>
        </p:nvSpPr>
        <p:spPr bwMode="auto">
          <a:xfrm>
            <a:off x="3401359" y="3517687"/>
            <a:ext cx="166154" cy="166154"/>
          </a:xfrm>
          <a:prstGeom prst="ellipse">
            <a:avLst/>
          </a:prstGeom>
          <a:solidFill>
            <a:srgbClr val="65B8DC"/>
          </a:solidFill>
          <a:ln w="9525" cap="flat" cmpd="sng" algn="ctr">
            <a:noFill/>
            <a:prstDash val="solid"/>
            <a:round/>
            <a:headEnd type="none" w="med" len="med"/>
            <a:tailEnd type="none" w="med" len="med"/>
          </a:ln>
          <a:effectLst/>
          <a:scene3d>
            <a:camera prst="orthographicFront"/>
            <a:lightRig rig="soft" dir="t"/>
          </a:scene3d>
          <a:sp3d>
            <a:bevelT w="88900" h="88900"/>
          </a:sp3d>
        </p:spPr>
        <p:txBody>
          <a:bodyPr vert="horz" wrap="square" lIns="33231" tIns="43200" rIns="33231" bIns="43200" numCol="1" rtlCol="0" anchor="ctr" anchorCtr="0" compatLnSpc="1">
            <a:prstTxWarp prst="textNoShape">
              <a:avLst/>
            </a:prstTxWarp>
          </a:bodyPr>
          <a:lstStyle/>
          <a:p>
            <a:pPr marL="0" marR="0" lvl="0" indent="0" algn="ctr" defTabSz="844083" rtl="0" eaLnBrk="0" fontAlgn="base" latinLnBrk="0" hangingPunct="0">
              <a:lnSpc>
                <a:spcPct val="100000"/>
              </a:lnSpc>
              <a:spcBef>
                <a:spcPts val="0"/>
              </a:spcBef>
              <a:spcAft>
                <a:spcPts val="0"/>
              </a:spcAft>
              <a:buClrTx/>
              <a:buSzTx/>
              <a:buFontTx/>
              <a:buNone/>
              <a:tabLst/>
              <a:defRPr/>
            </a:pPr>
            <a:endParaRPr kumimoji="0" lang="de-DE" sz="1108" b="1"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30" name="Freihandform 29"/>
          <p:cNvSpPr/>
          <p:nvPr/>
        </p:nvSpPr>
        <p:spPr bwMode="auto">
          <a:xfrm rot="20015266">
            <a:off x="2350353" y="2872006"/>
            <a:ext cx="2450445" cy="1256261"/>
          </a:xfrm>
          <a:custGeom>
            <a:avLst/>
            <a:gdLst>
              <a:gd name="connsiteX0" fmla="*/ 0 w 2552132"/>
              <a:gd name="connsiteY0" fmla="*/ 0 h 1255594"/>
              <a:gd name="connsiteX1" fmla="*/ 2552132 w 2552132"/>
              <a:gd name="connsiteY1" fmla="*/ 1255594 h 1255594"/>
              <a:gd name="connsiteX0" fmla="*/ 0 w 2552132"/>
              <a:gd name="connsiteY0" fmla="*/ 0 h 1282890"/>
              <a:gd name="connsiteX1" fmla="*/ 2552132 w 2552132"/>
              <a:gd name="connsiteY1" fmla="*/ 1282890 h 1282890"/>
              <a:gd name="connsiteX0" fmla="*/ 0 w 2552132"/>
              <a:gd name="connsiteY0" fmla="*/ 27959 h 1310849"/>
              <a:gd name="connsiteX1" fmla="*/ 2552132 w 2552132"/>
              <a:gd name="connsiteY1" fmla="*/ 1310849 h 1310849"/>
              <a:gd name="connsiteX0" fmla="*/ 0 w 2470245"/>
              <a:gd name="connsiteY0" fmla="*/ 27657 h 1324195"/>
              <a:gd name="connsiteX1" fmla="*/ 2470245 w 2470245"/>
              <a:gd name="connsiteY1" fmla="*/ 1324195 h 1324195"/>
              <a:gd name="connsiteX0" fmla="*/ 0 w 2470245"/>
              <a:gd name="connsiteY0" fmla="*/ 30890 h 1327428"/>
              <a:gd name="connsiteX1" fmla="*/ 2470245 w 2470245"/>
              <a:gd name="connsiteY1" fmla="*/ 1327428 h 1327428"/>
              <a:gd name="connsiteX0" fmla="*/ 0 w 2552131"/>
              <a:gd name="connsiteY0" fmla="*/ 30523 h 1340709"/>
              <a:gd name="connsiteX1" fmla="*/ 2552131 w 2552131"/>
              <a:gd name="connsiteY1" fmla="*/ 1340709 h 1340709"/>
              <a:gd name="connsiteX0" fmla="*/ 0 w 2552131"/>
              <a:gd name="connsiteY0" fmla="*/ 30523 h 1340709"/>
              <a:gd name="connsiteX1" fmla="*/ 2552131 w 2552131"/>
              <a:gd name="connsiteY1" fmla="*/ 1340709 h 1340709"/>
              <a:gd name="connsiteX0" fmla="*/ 0 w 2552131"/>
              <a:gd name="connsiteY0" fmla="*/ 6839 h 1317025"/>
              <a:gd name="connsiteX1" fmla="*/ 2552131 w 2552131"/>
              <a:gd name="connsiteY1" fmla="*/ 1317025 h 1317025"/>
            </a:gdLst>
            <a:ahLst/>
            <a:cxnLst>
              <a:cxn ang="0">
                <a:pos x="connsiteX0" y="connsiteY0"/>
              </a:cxn>
              <a:cxn ang="0">
                <a:pos x="connsiteX1" y="connsiteY1"/>
              </a:cxn>
            </a:cxnLst>
            <a:rect l="l" t="t" r="r" b="b"/>
            <a:pathLst>
              <a:path w="2552131" h="1317025">
                <a:moveTo>
                  <a:pt x="0" y="6839"/>
                </a:moveTo>
                <a:cubicBezTo>
                  <a:pt x="1219201" y="-84145"/>
                  <a:pt x="2288273" y="752917"/>
                  <a:pt x="2552131" y="1317025"/>
                </a:cubicBezTo>
              </a:path>
            </a:pathLst>
          </a:custGeom>
          <a:noFill/>
          <a:ln w="19050" cap="flat" cmpd="sng" algn="ctr">
            <a:solidFill>
              <a:schemeClr val="bg2"/>
            </a:solidFill>
            <a:prstDash val="dash"/>
            <a:round/>
            <a:headEnd type="triangle" w="med" len="med"/>
            <a:tailEnd type="none" w="med" len="med"/>
          </a:ln>
          <a:effectLst/>
        </p:spPr>
        <p:txBody>
          <a:bodyPr rtlCol="0" anchor="ctr"/>
          <a:lstStyle/>
          <a:p>
            <a:pPr marL="0" marR="0" lvl="0" indent="0" algn="ctr" defTabSz="844083" rtl="0" eaLnBrk="0" fontAlgn="base" latinLnBrk="0" hangingPunct="0">
              <a:lnSpc>
                <a:spcPct val="100000"/>
              </a:lnSpc>
              <a:spcBef>
                <a:spcPct val="0"/>
              </a:spcBef>
              <a:spcAft>
                <a:spcPct val="20000"/>
              </a:spcAft>
              <a:buClrTx/>
              <a:buSzTx/>
              <a:buFontTx/>
              <a:buNone/>
              <a:tabLst/>
              <a:defRPr/>
            </a:pPr>
            <a:endParaRPr kumimoji="0" lang="de-DE" sz="1477"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 name="Textfeld 24"/>
          <p:cNvSpPr txBox="1"/>
          <p:nvPr/>
        </p:nvSpPr>
        <p:spPr>
          <a:xfrm>
            <a:off x="8063525" y="3396748"/>
            <a:ext cx="406399" cy="407974"/>
          </a:xfrm>
          <a:prstGeom prst="rect">
            <a:avLst/>
          </a:prstGeom>
          <a:ln algn="ctr"/>
        </p:spPr>
        <p:txBody>
          <a:bodyPr wrap="square" lIns="33231" tIns="33231" rIns="33231" bIns="33231" rtlCol="0" anchor="t">
            <a:spAutoFit/>
          </a:bodyP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0" lang="de-CH" sz="2215" b="1" i="0" u="none" strike="noStrike" kern="0" cap="none" spc="0" normalizeH="0" baseline="0" noProof="0" dirty="0">
                <a:ln>
                  <a:noFill/>
                </a:ln>
                <a:solidFill>
                  <a:srgbClr val="000000"/>
                </a:solidFill>
                <a:effectLst/>
                <a:uLnTx/>
                <a:uFillTx/>
                <a:latin typeface="Calibri"/>
                <a:ea typeface="+mn-ea"/>
                <a:cs typeface="+mn-cs"/>
              </a:rPr>
              <a:t>?</a:t>
            </a:r>
          </a:p>
        </p:txBody>
      </p:sp>
      <p:grpSp>
        <p:nvGrpSpPr>
          <p:cNvPr id="26" name="Gruppieren 25"/>
          <p:cNvGrpSpPr/>
          <p:nvPr/>
        </p:nvGrpSpPr>
        <p:grpSpPr>
          <a:xfrm>
            <a:off x="2049078" y="4154082"/>
            <a:ext cx="6718696" cy="371244"/>
            <a:chOff x="1642831" y="4893276"/>
            <a:chExt cx="7278587" cy="402181"/>
          </a:xfrm>
        </p:grpSpPr>
        <p:pic>
          <p:nvPicPr>
            <p:cNvPr id="28" name="Grafik 27"/>
            <p:cNvPicPr>
              <a:picLocks noChangeAspect="1"/>
            </p:cNvPicPr>
            <p:nvPr/>
          </p:nvPicPr>
          <p:blipFill rotWithShape="1">
            <a:blip r:embed="rId2"/>
            <a:srcRect l="46093" t="-24283" b="-1"/>
            <a:stretch/>
          </p:blipFill>
          <p:spPr>
            <a:xfrm>
              <a:off x="5132173" y="4893276"/>
              <a:ext cx="3789245" cy="401579"/>
            </a:xfrm>
            <a:prstGeom prst="rect">
              <a:avLst/>
            </a:prstGeom>
          </p:spPr>
        </p:pic>
        <p:pic>
          <p:nvPicPr>
            <p:cNvPr id="31" name="Grafik 30"/>
            <p:cNvPicPr>
              <a:picLocks noChangeAspect="1"/>
            </p:cNvPicPr>
            <p:nvPr/>
          </p:nvPicPr>
          <p:blipFill rotWithShape="1">
            <a:blip r:embed="rId3"/>
            <a:srcRect t="39165" r="51084"/>
            <a:stretch/>
          </p:blipFill>
          <p:spPr>
            <a:xfrm>
              <a:off x="1642831" y="5098888"/>
              <a:ext cx="3438449" cy="196569"/>
            </a:xfrm>
            <a:prstGeom prst="rect">
              <a:avLst/>
            </a:prstGeom>
          </p:spPr>
        </p:pic>
      </p:grpSp>
      <p:sp>
        <p:nvSpPr>
          <p:cNvPr id="32" name="Rechteck 241"/>
          <p:cNvSpPr/>
          <p:nvPr/>
        </p:nvSpPr>
        <p:spPr bwMode="auto">
          <a:xfrm rot="18711774">
            <a:off x="5158340" y="4243147"/>
            <a:ext cx="164458" cy="492307"/>
          </a:xfrm>
          <a:custGeom>
            <a:avLst/>
            <a:gdLst>
              <a:gd name="connsiteX0" fmla="*/ 0 w 817381"/>
              <a:gd name="connsiteY0" fmla="*/ 0 h 637956"/>
              <a:gd name="connsiteX1" fmla="*/ 817381 w 817381"/>
              <a:gd name="connsiteY1" fmla="*/ 0 h 637956"/>
              <a:gd name="connsiteX2" fmla="*/ 817381 w 817381"/>
              <a:gd name="connsiteY2" fmla="*/ 637956 h 637956"/>
              <a:gd name="connsiteX3" fmla="*/ 0 w 817381"/>
              <a:gd name="connsiteY3" fmla="*/ 637956 h 637956"/>
              <a:gd name="connsiteX4" fmla="*/ 0 w 817381"/>
              <a:gd name="connsiteY4" fmla="*/ 0 h 637956"/>
              <a:gd name="connsiteX0" fmla="*/ 0 w 817381"/>
              <a:gd name="connsiteY0" fmla="*/ 0 h 637956"/>
              <a:gd name="connsiteX1" fmla="*/ 360181 w 817381"/>
              <a:gd name="connsiteY1" fmla="*/ 281940 h 637956"/>
              <a:gd name="connsiteX2" fmla="*/ 817381 w 817381"/>
              <a:gd name="connsiteY2" fmla="*/ 637956 h 637956"/>
              <a:gd name="connsiteX3" fmla="*/ 0 w 817381"/>
              <a:gd name="connsiteY3" fmla="*/ 637956 h 637956"/>
              <a:gd name="connsiteX4" fmla="*/ 0 w 817381"/>
              <a:gd name="connsiteY4" fmla="*/ 0 h 637956"/>
              <a:gd name="connsiteX0" fmla="*/ 0 w 360181"/>
              <a:gd name="connsiteY0" fmla="*/ 0 h 866556"/>
              <a:gd name="connsiteX1" fmla="*/ 360181 w 360181"/>
              <a:gd name="connsiteY1" fmla="*/ 281940 h 866556"/>
              <a:gd name="connsiteX2" fmla="*/ 352561 w 360181"/>
              <a:gd name="connsiteY2" fmla="*/ 866556 h 866556"/>
              <a:gd name="connsiteX3" fmla="*/ 0 w 360181"/>
              <a:gd name="connsiteY3" fmla="*/ 637956 h 866556"/>
              <a:gd name="connsiteX4" fmla="*/ 0 w 360181"/>
              <a:gd name="connsiteY4" fmla="*/ 0 h 866556"/>
              <a:gd name="connsiteX0" fmla="*/ 0 w 352561"/>
              <a:gd name="connsiteY0" fmla="*/ 0 h 866556"/>
              <a:gd name="connsiteX1" fmla="*/ 223021 w 352561"/>
              <a:gd name="connsiteY1" fmla="*/ 464820 h 866556"/>
              <a:gd name="connsiteX2" fmla="*/ 352561 w 352561"/>
              <a:gd name="connsiteY2" fmla="*/ 866556 h 866556"/>
              <a:gd name="connsiteX3" fmla="*/ 0 w 352561"/>
              <a:gd name="connsiteY3" fmla="*/ 637956 h 866556"/>
              <a:gd name="connsiteX4" fmla="*/ 0 w 352561"/>
              <a:gd name="connsiteY4" fmla="*/ 0 h 866556"/>
              <a:gd name="connsiteX0" fmla="*/ 0 w 352561"/>
              <a:gd name="connsiteY0" fmla="*/ 0 h 866556"/>
              <a:gd name="connsiteX1" fmla="*/ 223021 w 352561"/>
              <a:gd name="connsiteY1" fmla="*/ 464820 h 866556"/>
              <a:gd name="connsiteX2" fmla="*/ 352561 w 352561"/>
              <a:gd name="connsiteY2" fmla="*/ 866556 h 866556"/>
              <a:gd name="connsiteX3" fmla="*/ 91440 w 352561"/>
              <a:gd name="connsiteY3" fmla="*/ 493176 h 866556"/>
              <a:gd name="connsiteX4" fmla="*/ 0 w 352561"/>
              <a:gd name="connsiteY4" fmla="*/ 0 h 866556"/>
              <a:gd name="connsiteX0" fmla="*/ 0 w 472440"/>
              <a:gd name="connsiteY0" fmla="*/ 0 h 866556"/>
              <a:gd name="connsiteX1" fmla="*/ 223021 w 472440"/>
              <a:gd name="connsiteY1" fmla="*/ 464820 h 866556"/>
              <a:gd name="connsiteX2" fmla="*/ 472440 w 472440"/>
              <a:gd name="connsiteY2" fmla="*/ 365661 h 866556"/>
              <a:gd name="connsiteX3" fmla="*/ 352561 w 472440"/>
              <a:gd name="connsiteY3" fmla="*/ 866556 h 866556"/>
              <a:gd name="connsiteX4" fmla="*/ 91440 w 472440"/>
              <a:gd name="connsiteY4" fmla="*/ 493176 h 866556"/>
              <a:gd name="connsiteX5" fmla="*/ 0 w 472440"/>
              <a:gd name="connsiteY5" fmla="*/ 0 h 866556"/>
              <a:gd name="connsiteX0" fmla="*/ 0 w 472440"/>
              <a:gd name="connsiteY0" fmla="*/ 0 h 866556"/>
              <a:gd name="connsiteX1" fmla="*/ 223021 w 472440"/>
              <a:gd name="connsiteY1" fmla="*/ 464820 h 866556"/>
              <a:gd name="connsiteX2" fmla="*/ 472440 w 472440"/>
              <a:gd name="connsiteY2" fmla="*/ 365661 h 866556"/>
              <a:gd name="connsiteX3" fmla="*/ 352561 w 472440"/>
              <a:gd name="connsiteY3" fmla="*/ 866556 h 866556"/>
              <a:gd name="connsiteX4" fmla="*/ 312419 w 472440"/>
              <a:gd name="connsiteY4" fmla="*/ 540921 h 866556"/>
              <a:gd name="connsiteX5" fmla="*/ 91440 w 472440"/>
              <a:gd name="connsiteY5" fmla="*/ 493176 h 866556"/>
              <a:gd name="connsiteX6" fmla="*/ 0 w 472440"/>
              <a:gd name="connsiteY6" fmla="*/ 0 h 866556"/>
              <a:gd name="connsiteX0" fmla="*/ 0 w 472440"/>
              <a:gd name="connsiteY0" fmla="*/ 0 h 866556"/>
              <a:gd name="connsiteX1" fmla="*/ 223021 w 472440"/>
              <a:gd name="connsiteY1" fmla="*/ 464820 h 866556"/>
              <a:gd name="connsiteX2" fmla="*/ 472440 w 472440"/>
              <a:gd name="connsiteY2" fmla="*/ 365661 h 866556"/>
              <a:gd name="connsiteX3" fmla="*/ 352561 w 472440"/>
              <a:gd name="connsiteY3" fmla="*/ 866556 h 866556"/>
              <a:gd name="connsiteX4" fmla="*/ 312419 w 472440"/>
              <a:gd name="connsiteY4" fmla="*/ 540921 h 866556"/>
              <a:gd name="connsiteX5" fmla="*/ 45720 w 472440"/>
              <a:gd name="connsiteY5" fmla="*/ 653196 h 866556"/>
              <a:gd name="connsiteX6" fmla="*/ 0 w 472440"/>
              <a:gd name="connsiteY6" fmla="*/ 0 h 86655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312419 w 472440"/>
              <a:gd name="connsiteY4" fmla="*/ 540921 h 935136"/>
              <a:gd name="connsiteX5" fmla="*/ 45720 w 472440"/>
              <a:gd name="connsiteY5" fmla="*/ 653196 h 935136"/>
              <a:gd name="connsiteX6" fmla="*/ 0 w 472440"/>
              <a:gd name="connsiteY6" fmla="*/ 0 h 93513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0 w 472440"/>
              <a:gd name="connsiteY0" fmla="*/ 0 h 935136"/>
              <a:gd name="connsiteX1" fmla="*/ 146821 w 472440"/>
              <a:gd name="connsiteY1" fmla="*/ 474345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254318 w 426720"/>
              <a:gd name="connsiteY0" fmla="*/ 0 h 954186"/>
              <a:gd name="connsiteX1" fmla="*/ 101101 w 426720"/>
              <a:gd name="connsiteY1" fmla="*/ 493395 h 954186"/>
              <a:gd name="connsiteX2" fmla="*/ 426720 w 426720"/>
              <a:gd name="connsiteY2" fmla="*/ 384711 h 954186"/>
              <a:gd name="connsiteX3" fmla="*/ 55381 w 426720"/>
              <a:gd name="connsiteY3" fmla="*/ 954186 h 954186"/>
              <a:gd name="connsiteX4" fmla="*/ 109537 w 426720"/>
              <a:gd name="connsiteY4" fmla="*/ 621883 h 954186"/>
              <a:gd name="connsiteX5" fmla="*/ 0 w 426720"/>
              <a:gd name="connsiteY5" fmla="*/ 672246 h 954186"/>
              <a:gd name="connsiteX6" fmla="*/ 254318 w 426720"/>
              <a:gd name="connsiteY6" fmla="*/ 0 h 954186"/>
              <a:gd name="connsiteX0" fmla="*/ 254318 w 426720"/>
              <a:gd name="connsiteY0" fmla="*/ 0 h 954186"/>
              <a:gd name="connsiteX1" fmla="*/ 153488 w 426720"/>
              <a:gd name="connsiteY1" fmla="*/ 450533 h 954186"/>
              <a:gd name="connsiteX2" fmla="*/ 426720 w 426720"/>
              <a:gd name="connsiteY2" fmla="*/ 384711 h 954186"/>
              <a:gd name="connsiteX3" fmla="*/ 55381 w 426720"/>
              <a:gd name="connsiteY3" fmla="*/ 954186 h 954186"/>
              <a:gd name="connsiteX4" fmla="*/ 109537 w 426720"/>
              <a:gd name="connsiteY4" fmla="*/ 621883 h 954186"/>
              <a:gd name="connsiteX5" fmla="*/ 0 w 426720"/>
              <a:gd name="connsiteY5" fmla="*/ 672246 h 954186"/>
              <a:gd name="connsiteX6" fmla="*/ 254318 w 426720"/>
              <a:gd name="connsiteY6" fmla="*/ 0 h 954186"/>
              <a:gd name="connsiteX0" fmla="*/ 244793 w 417195"/>
              <a:gd name="connsiteY0" fmla="*/ 0 h 954186"/>
              <a:gd name="connsiteX1" fmla="*/ 143963 w 417195"/>
              <a:gd name="connsiteY1" fmla="*/ 450533 h 954186"/>
              <a:gd name="connsiteX2" fmla="*/ 417195 w 417195"/>
              <a:gd name="connsiteY2" fmla="*/ 384711 h 954186"/>
              <a:gd name="connsiteX3" fmla="*/ 45856 w 417195"/>
              <a:gd name="connsiteY3" fmla="*/ 954186 h 954186"/>
              <a:gd name="connsiteX4" fmla="*/ 100012 w 417195"/>
              <a:gd name="connsiteY4" fmla="*/ 621883 h 954186"/>
              <a:gd name="connsiteX5" fmla="*/ 0 w 417195"/>
              <a:gd name="connsiteY5" fmla="*/ 534134 h 954186"/>
              <a:gd name="connsiteX6" fmla="*/ 244793 w 417195"/>
              <a:gd name="connsiteY6" fmla="*/ 0 h 954186"/>
              <a:gd name="connsiteX0" fmla="*/ 244793 w 417195"/>
              <a:gd name="connsiteY0" fmla="*/ 0 h 954186"/>
              <a:gd name="connsiteX1" fmla="*/ 143963 w 417195"/>
              <a:gd name="connsiteY1" fmla="*/ 450533 h 954186"/>
              <a:gd name="connsiteX2" fmla="*/ 417195 w 417195"/>
              <a:gd name="connsiteY2" fmla="*/ 384711 h 954186"/>
              <a:gd name="connsiteX3" fmla="*/ 45856 w 417195"/>
              <a:gd name="connsiteY3" fmla="*/ 954186 h 954186"/>
              <a:gd name="connsiteX4" fmla="*/ 242887 w 417195"/>
              <a:gd name="connsiteY4" fmla="*/ 521870 h 954186"/>
              <a:gd name="connsiteX5" fmla="*/ 0 w 417195"/>
              <a:gd name="connsiteY5" fmla="*/ 534134 h 954186"/>
              <a:gd name="connsiteX6" fmla="*/ 244793 w 417195"/>
              <a:gd name="connsiteY6" fmla="*/ 0 h 954186"/>
              <a:gd name="connsiteX0" fmla="*/ 244793 w 417195"/>
              <a:gd name="connsiteY0" fmla="*/ 0 h 954186"/>
              <a:gd name="connsiteX1" fmla="*/ 143963 w 417195"/>
              <a:gd name="connsiteY1" fmla="*/ 450533 h 954186"/>
              <a:gd name="connsiteX2" fmla="*/ 417195 w 417195"/>
              <a:gd name="connsiteY2" fmla="*/ 384711 h 954186"/>
              <a:gd name="connsiteX3" fmla="*/ 45856 w 417195"/>
              <a:gd name="connsiteY3" fmla="*/ 954186 h 954186"/>
              <a:gd name="connsiteX4" fmla="*/ 195262 w 417195"/>
              <a:gd name="connsiteY4" fmla="*/ 531395 h 954186"/>
              <a:gd name="connsiteX5" fmla="*/ 0 w 417195"/>
              <a:gd name="connsiteY5" fmla="*/ 534134 h 954186"/>
              <a:gd name="connsiteX6" fmla="*/ 244793 w 417195"/>
              <a:gd name="connsiteY6" fmla="*/ 0 h 954186"/>
              <a:gd name="connsiteX0" fmla="*/ 244793 w 417195"/>
              <a:gd name="connsiteY0" fmla="*/ 0 h 954186"/>
              <a:gd name="connsiteX1" fmla="*/ 148726 w 417195"/>
              <a:gd name="connsiteY1" fmla="*/ 398146 h 954186"/>
              <a:gd name="connsiteX2" fmla="*/ 417195 w 417195"/>
              <a:gd name="connsiteY2" fmla="*/ 384711 h 954186"/>
              <a:gd name="connsiteX3" fmla="*/ 45856 w 417195"/>
              <a:gd name="connsiteY3" fmla="*/ 954186 h 954186"/>
              <a:gd name="connsiteX4" fmla="*/ 195262 w 417195"/>
              <a:gd name="connsiteY4" fmla="*/ 531395 h 954186"/>
              <a:gd name="connsiteX5" fmla="*/ 0 w 417195"/>
              <a:gd name="connsiteY5" fmla="*/ 534134 h 954186"/>
              <a:gd name="connsiteX6" fmla="*/ 244793 w 417195"/>
              <a:gd name="connsiteY6" fmla="*/ 0 h 954186"/>
              <a:gd name="connsiteX0" fmla="*/ 244793 w 355282"/>
              <a:gd name="connsiteY0" fmla="*/ 0 h 954186"/>
              <a:gd name="connsiteX1" fmla="*/ 148726 w 355282"/>
              <a:gd name="connsiteY1" fmla="*/ 398146 h 954186"/>
              <a:gd name="connsiteX2" fmla="*/ 355282 w 355282"/>
              <a:gd name="connsiteY2" fmla="*/ 413286 h 954186"/>
              <a:gd name="connsiteX3" fmla="*/ 45856 w 355282"/>
              <a:gd name="connsiteY3" fmla="*/ 954186 h 954186"/>
              <a:gd name="connsiteX4" fmla="*/ 195262 w 355282"/>
              <a:gd name="connsiteY4" fmla="*/ 531395 h 954186"/>
              <a:gd name="connsiteX5" fmla="*/ 0 w 355282"/>
              <a:gd name="connsiteY5" fmla="*/ 534134 h 954186"/>
              <a:gd name="connsiteX6" fmla="*/ 244793 w 355282"/>
              <a:gd name="connsiteY6" fmla="*/ 0 h 954186"/>
              <a:gd name="connsiteX0" fmla="*/ 244793 w 355282"/>
              <a:gd name="connsiteY0" fmla="*/ 0 h 954186"/>
              <a:gd name="connsiteX1" fmla="*/ 148726 w 355282"/>
              <a:gd name="connsiteY1" fmla="*/ 398146 h 954186"/>
              <a:gd name="connsiteX2" fmla="*/ 355282 w 355282"/>
              <a:gd name="connsiteY2" fmla="*/ 413286 h 954186"/>
              <a:gd name="connsiteX3" fmla="*/ 45856 w 355282"/>
              <a:gd name="connsiteY3" fmla="*/ 954186 h 954186"/>
              <a:gd name="connsiteX4" fmla="*/ 195262 w 355282"/>
              <a:gd name="connsiteY4" fmla="*/ 531395 h 954186"/>
              <a:gd name="connsiteX5" fmla="*/ 0 w 355282"/>
              <a:gd name="connsiteY5" fmla="*/ 596047 h 954186"/>
              <a:gd name="connsiteX6" fmla="*/ 244793 w 355282"/>
              <a:gd name="connsiteY6" fmla="*/ 0 h 954186"/>
              <a:gd name="connsiteX0" fmla="*/ 244793 w 355282"/>
              <a:gd name="connsiteY0" fmla="*/ 0 h 954186"/>
              <a:gd name="connsiteX1" fmla="*/ 148726 w 355282"/>
              <a:gd name="connsiteY1" fmla="*/ 398146 h 954186"/>
              <a:gd name="connsiteX2" fmla="*/ 355282 w 355282"/>
              <a:gd name="connsiteY2" fmla="*/ 413286 h 954186"/>
              <a:gd name="connsiteX3" fmla="*/ 45856 w 355282"/>
              <a:gd name="connsiteY3" fmla="*/ 954186 h 954186"/>
              <a:gd name="connsiteX4" fmla="*/ 209550 w 355282"/>
              <a:gd name="connsiteY4" fmla="*/ 493295 h 954186"/>
              <a:gd name="connsiteX5" fmla="*/ 0 w 355282"/>
              <a:gd name="connsiteY5" fmla="*/ 596047 h 954186"/>
              <a:gd name="connsiteX6" fmla="*/ 244793 w 355282"/>
              <a:gd name="connsiteY6" fmla="*/ 0 h 954186"/>
              <a:gd name="connsiteX0" fmla="*/ 244793 w 355282"/>
              <a:gd name="connsiteY0" fmla="*/ 0 h 954186"/>
              <a:gd name="connsiteX1" fmla="*/ 139201 w 355282"/>
              <a:gd name="connsiteY1" fmla="*/ 431483 h 954186"/>
              <a:gd name="connsiteX2" fmla="*/ 355282 w 355282"/>
              <a:gd name="connsiteY2" fmla="*/ 413286 h 954186"/>
              <a:gd name="connsiteX3" fmla="*/ 45856 w 355282"/>
              <a:gd name="connsiteY3" fmla="*/ 954186 h 954186"/>
              <a:gd name="connsiteX4" fmla="*/ 209550 w 355282"/>
              <a:gd name="connsiteY4" fmla="*/ 493295 h 954186"/>
              <a:gd name="connsiteX5" fmla="*/ 0 w 355282"/>
              <a:gd name="connsiteY5" fmla="*/ 596047 h 954186"/>
              <a:gd name="connsiteX6" fmla="*/ 244793 w 355282"/>
              <a:gd name="connsiteY6" fmla="*/ 0 h 954186"/>
              <a:gd name="connsiteX0" fmla="*/ 244793 w 331469"/>
              <a:gd name="connsiteY0" fmla="*/ 0 h 954186"/>
              <a:gd name="connsiteX1" fmla="*/ 139201 w 331469"/>
              <a:gd name="connsiteY1" fmla="*/ 431483 h 954186"/>
              <a:gd name="connsiteX2" fmla="*/ 331469 w 331469"/>
              <a:gd name="connsiteY2" fmla="*/ 408524 h 954186"/>
              <a:gd name="connsiteX3" fmla="*/ 45856 w 331469"/>
              <a:gd name="connsiteY3" fmla="*/ 954186 h 954186"/>
              <a:gd name="connsiteX4" fmla="*/ 209550 w 331469"/>
              <a:gd name="connsiteY4" fmla="*/ 493295 h 954186"/>
              <a:gd name="connsiteX5" fmla="*/ 0 w 331469"/>
              <a:gd name="connsiteY5" fmla="*/ 596047 h 954186"/>
              <a:gd name="connsiteX6" fmla="*/ 244793 w 331469"/>
              <a:gd name="connsiteY6" fmla="*/ 0 h 954186"/>
              <a:gd name="connsiteX0" fmla="*/ 287655 w 331469"/>
              <a:gd name="connsiteY0" fmla="*/ 0 h 949423"/>
              <a:gd name="connsiteX1" fmla="*/ 139201 w 331469"/>
              <a:gd name="connsiteY1" fmla="*/ 426720 h 949423"/>
              <a:gd name="connsiteX2" fmla="*/ 331469 w 331469"/>
              <a:gd name="connsiteY2" fmla="*/ 403761 h 949423"/>
              <a:gd name="connsiteX3" fmla="*/ 45856 w 331469"/>
              <a:gd name="connsiteY3" fmla="*/ 949423 h 949423"/>
              <a:gd name="connsiteX4" fmla="*/ 209550 w 331469"/>
              <a:gd name="connsiteY4" fmla="*/ 488532 h 949423"/>
              <a:gd name="connsiteX5" fmla="*/ 0 w 331469"/>
              <a:gd name="connsiteY5" fmla="*/ 591284 h 949423"/>
              <a:gd name="connsiteX6" fmla="*/ 287655 w 331469"/>
              <a:gd name="connsiteY6" fmla="*/ 0 h 949423"/>
              <a:gd name="connsiteX0" fmla="*/ 240030 w 331469"/>
              <a:gd name="connsiteY0" fmla="*/ 0 h 977998"/>
              <a:gd name="connsiteX1" fmla="*/ 139201 w 331469"/>
              <a:gd name="connsiteY1" fmla="*/ 455295 h 977998"/>
              <a:gd name="connsiteX2" fmla="*/ 331469 w 331469"/>
              <a:gd name="connsiteY2" fmla="*/ 432336 h 977998"/>
              <a:gd name="connsiteX3" fmla="*/ 45856 w 331469"/>
              <a:gd name="connsiteY3" fmla="*/ 977998 h 977998"/>
              <a:gd name="connsiteX4" fmla="*/ 209550 w 331469"/>
              <a:gd name="connsiteY4" fmla="*/ 517107 h 977998"/>
              <a:gd name="connsiteX5" fmla="*/ 0 w 331469"/>
              <a:gd name="connsiteY5" fmla="*/ 619859 h 977998"/>
              <a:gd name="connsiteX6" fmla="*/ 240030 w 331469"/>
              <a:gd name="connsiteY6" fmla="*/ 0 h 977998"/>
              <a:gd name="connsiteX0" fmla="*/ 240030 w 331469"/>
              <a:gd name="connsiteY0" fmla="*/ 0 h 977998"/>
              <a:gd name="connsiteX1" fmla="*/ 139201 w 331469"/>
              <a:gd name="connsiteY1" fmla="*/ 455295 h 977998"/>
              <a:gd name="connsiteX2" fmla="*/ 331469 w 331469"/>
              <a:gd name="connsiteY2" fmla="*/ 432336 h 977998"/>
              <a:gd name="connsiteX3" fmla="*/ 45856 w 331469"/>
              <a:gd name="connsiteY3" fmla="*/ 977998 h 977998"/>
              <a:gd name="connsiteX4" fmla="*/ 209550 w 331469"/>
              <a:gd name="connsiteY4" fmla="*/ 517107 h 977998"/>
              <a:gd name="connsiteX5" fmla="*/ 0 w 331469"/>
              <a:gd name="connsiteY5" fmla="*/ 619859 h 977998"/>
              <a:gd name="connsiteX6" fmla="*/ 240030 w 331469"/>
              <a:gd name="connsiteY6" fmla="*/ 0 h 977998"/>
              <a:gd name="connsiteX0" fmla="*/ 240030 w 326706"/>
              <a:gd name="connsiteY0" fmla="*/ 0 h 977998"/>
              <a:gd name="connsiteX1" fmla="*/ 139201 w 326706"/>
              <a:gd name="connsiteY1" fmla="*/ 455295 h 977998"/>
              <a:gd name="connsiteX2" fmla="*/ 326706 w 326706"/>
              <a:gd name="connsiteY2" fmla="*/ 389473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39201 w 326706"/>
              <a:gd name="connsiteY1" fmla="*/ 455295 h 977998"/>
              <a:gd name="connsiteX2" fmla="*/ 326706 w 326706"/>
              <a:gd name="connsiteY2" fmla="*/ 389473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20151 w 326706"/>
              <a:gd name="connsiteY1" fmla="*/ 474345 h 977998"/>
              <a:gd name="connsiteX2" fmla="*/ 326706 w 326706"/>
              <a:gd name="connsiteY2" fmla="*/ 389473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20151 w 326706"/>
              <a:gd name="connsiteY1" fmla="*/ 474345 h 977998"/>
              <a:gd name="connsiteX2" fmla="*/ 326706 w 326706"/>
              <a:gd name="connsiteY2" fmla="*/ 394236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20151 w 326706"/>
              <a:gd name="connsiteY1" fmla="*/ 474345 h 977998"/>
              <a:gd name="connsiteX2" fmla="*/ 326706 w 326706"/>
              <a:gd name="connsiteY2" fmla="*/ 394236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6706" h="977998">
                <a:moveTo>
                  <a:pt x="240030" y="0"/>
                </a:moveTo>
                <a:lnTo>
                  <a:pt x="120151" y="474345"/>
                </a:lnTo>
                <a:cubicBezTo>
                  <a:pt x="213903" y="441434"/>
                  <a:pt x="223428" y="434290"/>
                  <a:pt x="326706" y="394236"/>
                </a:cubicBezTo>
                <a:lnTo>
                  <a:pt x="45856" y="977998"/>
                </a:lnTo>
                <a:lnTo>
                  <a:pt x="209550" y="517107"/>
                </a:lnTo>
                <a:lnTo>
                  <a:pt x="0" y="619859"/>
                </a:lnTo>
                <a:lnTo>
                  <a:pt x="240030" y="0"/>
                </a:lnTo>
                <a:close/>
              </a:path>
            </a:pathLst>
          </a:custGeom>
          <a:solidFill>
            <a:schemeClr val="bg2"/>
          </a:solidFill>
          <a:ln w="9525" cap="flat" cmpd="sng" algn="ctr">
            <a:noFill/>
            <a:prstDash val="solid"/>
            <a:round/>
            <a:headEnd type="none" w="med" len="med"/>
            <a:tailEnd type="none" w="med" len="med"/>
          </a:ln>
          <a:effectLst/>
        </p:spPr>
        <p:txBody>
          <a:bodyPr vert="horz" wrap="square" lIns="33231" tIns="43200" rIns="33231" bIns="43200" numCol="1" rtlCol="0" anchor="ctr" anchorCtr="0" compatLnSpc="1">
            <a:prstTxWarp prst="textNoShape">
              <a:avLst/>
            </a:prstTxWarp>
          </a:bodyPr>
          <a:lstStyle/>
          <a:p>
            <a:pPr marL="0" marR="0" lvl="0" indent="0" algn="ctr" defTabSz="844083" rtl="0" eaLnBrk="0" fontAlgn="base" latinLnBrk="0" hangingPunct="0">
              <a:lnSpc>
                <a:spcPct val="100000"/>
              </a:lnSpc>
              <a:spcBef>
                <a:spcPts val="0"/>
              </a:spcBef>
              <a:spcAft>
                <a:spcPts val="0"/>
              </a:spcAft>
              <a:buClrTx/>
              <a:buSzTx/>
              <a:buFontTx/>
              <a:buNone/>
              <a:tabLst/>
              <a:defRPr/>
            </a:pPr>
            <a:endParaRPr kumimoji="0" lang="de-DE" sz="1108" b="1" i="0" u="none" strike="noStrike" kern="1200" cap="none" spc="0" normalizeH="0" baseline="0" noProof="0">
              <a:ln>
                <a:noFill/>
              </a:ln>
              <a:solidFill>
                <a:srgbClr val="FFFFFF"/>
              </a:solidFill>
              <a:effectLst/>
              <a:uLnTx/>
              <a:uFillTx/>
              <a:latin typeface="Arial" charset="0"/>
              <a:ea typeface="+mn-ea"/>
              <a:cs typeface="+mn-cs"/>
            </a:endParaRPr>
          </a:p>
        </p:txBody>
      </p:sp>
      <p:sp>
        <p:nvSpPr>
          <p:cNvPr id="33" name="Rechteck 241"/>
          <p:cNvSpPr/>
          <p:nvPr/>
        </p:nvSpPr>
        <p:spPr bwMode="auto">
          <a:xfrm rot="18711774">
            <a:off x="7262995" y="4059748"/>
            <a:ext cx="219578" cy="657307"/>
          </a:xfrm>
          <a:custGeom>
            <a:avLst/>
            <a:gdLst>
              <a:gd name="connsiteX0" fmla="*/ 0 w 817381"/>
              <a:gd name="connsiteY0" fmla="*/ 0 h 637956"/>
              <a:gd name="connsiteX1" fmla="*/ 817381 w 817381"/>
              <a:gd name="connsiteY1" fmla="*/ 0 h 637956"/>
              <a:gd name="connsiteX2" fmla="*/ 817381 w 817381"/>
              <a:gd name="connsiteY2" fmla="*/ 637956 h 637956"/>
              <a:gd name="connsiteX3" fmla="*/ 0 w 817381"/>
              <a:gd name="connsiteY3" fmla="*/ 637956 h 637956"/>
              <a:gd name="connsiteX4" fmla="*/ 0 w 817381"/>
              <a:gd name="connsiteY4" fmla="*/ 0 h 637956"/>
              <a:gd name="connsiteX0" fmla="*/ 0 w 817381"/>
              <a:gd name="connsiteY0" fmla="*/ 0 h 637956"/>
              <a:gd name="connsiteX1" fmla="*/ 360181 w 817381"/>
              <a:gd name="connsiteY1" fmla="*/ 281940 h 637956"/>
              <a:gd name="connsiteX2" fmla="*/ 817381 w 817381"/>
              <a:gd name="connsiteY2" fmla="*/ 637956 h 637956"/>
              <a:gd name="connsiteX3" fmla="*/ 0 w 817381"/>
              <a:gd name="connsiteY3" fmla="*/ 637956 h 637956"/>
              <a:gd name="connsiteX4" fmla="*/ 0 w 817381"/>
              <a:gd name="connsiteY4" fmla="*/ 0 h 637956"/>
              <a:gd name="connsiteX0" fmla="*/ 0 w 360181"/>
              <a:gd name="connsiteY0" fmla="*/ 0 h 866556"/>
              <a:gd name="connsiteX1" fmla="*/ 360181 w 360181"/>
              <a:gd name="connsiteY1" fmla="*/ 281940 h 866556"/>
              <a:gd name="connsiteX2" fmla="*/ 352561 w 360181"/>
              <a:gd name="connsiteY2" fmla="*/ 866556 h 866556"/>
              <a:gd name="connsiteX3" fmla="*/ 0 w 360181"/>
              <a:gd name="connsiteY3" fmla="*/ 637956 h 866556"/>
              <a:gd name="connsiteX4" fmla="*/ 0 w 360181"/>
              <a:gd name="connsiteY4" fmla="*/ 0 h 866556"/>
              <a:gd name="connsiteX0" fmla="*/ 0 w 352561"/>
              <a:gd name="connsiteY0" fmla="*/ 0 h 866556"/>
              <a:gd name="connsiteX1" fmla="*/ 223021 w 352561"/>
              <a:gd name="connsiteY1" fmla="*/ 464820 h 866556"/>
              <a:gd name="connsiteX2" fmla="*/ 352561 w 352561"/>
              <a:gd name="connsiteY2" fmla="*/ 866556 h 866556"/>
              <a:gd name="connsiteX3" fmla="*/ 0 w 352561"/>
              <a:gd name="connsiteY3" fmla="*/ 637956 h 866556"/>
              <a:gd name="connsiteX4" fmla="*/ 0 w 352561"/>
              <a:gd name="connsiteY4" fmla="*/ 0 h 866556"/>
              <a:gd name="connsiteX0" fmla="*/ 0 w 352561"/>
              <a:gd name="connsiteY0" fmla="*/ 0 h 866556"/>
              <a:gd name="connsiteX1" fmla="*/ 223021 w 352561"/>
              <a:gd name="connsiteY1" fmla="*/ 464820 h 866556"/>
              <a:gd name="connsiteX2" fmla="*/ 352561 w 352561"/>
              <a:gd name="connsiteY2" fmla="*/ 866556 h 866556"/>
              <a:gd name="connsiteX3" fmla="*/ 91440 w 352561"/>
              <a:gd name="connsiteY3" fmla="*/ 493176 h 866556"/>
              <a:gd name="connsiteX4" fmla="*/ 0 w 352561"/>
              <a:gd name="connsiteY4" fmla="*/ 0 h 866556"/>
              <a:gd name="connsiteX0" fmla="*/ 0 w 472440"/>
              <a:gd name="connsiteY0" fmla="*/ 0 h 866556"/>
              <a:gd name="connsiteX1" fmla="*/ 223021 w 472440"/>
              <a:gd name="connsiteY1" fmla="*/ 464820 h 866556"/>
              <a:gd name="connsiteX2" fmla="*/ 472440 w 472440"/>
              <a:gd name="connsiteY2" fmla="*/ 365661 h 866556"/>
              <a:gd name="connsiteX3" fmla="*/ 352561 w 472440"/>
              <a:gd name="connsiteY3" fmla="*/ 866556 h 866556"/>
              <a:gd name="connsiteX4" fmla="*/ 91440 w 472440"/>
              <a:gd name="connsiteY4" fmla="*/ 493176 h 866556"/>
              <a:gd name="connsiteX5" fmla="*/ 0 w 472440"/>
              <a:gd name="connsiteY5" fmla="*/ 0 h 866556"/>
              <a:gd name="connsiteX0" fmla="*/ 0 w 472440"/>
              <a:gd name="connsiteY0" fmla="*/ 0 h 866556"/>
              <a:gd name="connsiteX1" fmla="*/ 223021 w 472440"/>
              <a:gd name="connsiteY1" fmla="*/ 464820 h 866556"/>
              <a:gd name="connsiteX2" fmla="*/ 472440 w 472440"/>
              <a:gd name="connsiteY2" fmla="*/ 365661 h 866556"/>
              <a:gd name="connsiteX3" fmla="*/ 352561 w 472440"/>
              <a:gd name="connsiteY3" fmla="*/ 866556 h 866556"/>
              <a:gd name="connsiteX4" fmla="*/ 312419 w 472440"/>
              <a:gd name="connsiteY4" fmla="*/ 540921 h 866556"/>
              <a:gd name="connsiteX5" fmla="*/ 91440 w 472440"/>
              <a:gd name="connsiteY5" fmla="*/ 493176 h 866556"/>
              <a:gd name="connsiteX6" fmla="*/ 0 w 472440"/>
              <a:gd name="connsiteY6" fmla="*/ 0 h 866556"/>
              <a:gd name="connsiteX0" fmla="*/ 0 w 472440"/>
              <a:gd name="connsiteY0" fmla="*/ 0 h 866556"/>
              <a:gd name="connsiteX1" fmla="*/ 223021 w 472440"/>
              <a:gd name="connsiteY1" fmla="*/ 464820 h 866556"/>
              <a:gd name="connsiteX2" fmla="*/ 472440 w 472440"/>
              <a:gd name="connsiteY2" fmla="*/ 365661 h 866556"/>
              <a:gd name="connsiteX3" fmla="*/ 352561 w 472440"/>
              <a:gd name="connsiteY3" fmla="*/ 866556 h 866556"/>
              <a:gd name="connsiteX4" fmla="*/ 312419 w 472440"/>
              <a:gd name="connsiteY4" fmla="*/ 540921 h 866556"/>
              <a:gd name="connsiteX5" fmla="*/ 45720 w 472440"/>
              <a:gd name="connsiteY5" fmla="*/ 653196 h 866556"/>
              <a:gd name="connsiteX6" fmla="*/ 0 w 472440"/>
              <a:gd name="connsiteY6" fmla="*/ 0 h 86655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312419 w 472440"/>
              <a:gd name="connsiteY4" fmla="*/ 540921 h 935136"/>
              <a:gd name="connsiteX5" fmla="*/ 45720 w 472440"/>
              <a:gd name="connsiteY5" fmla="*/ 653196 h 935136"/>
              <a:gd name="connsiteX6" fmla="*/ 0 w 472440"/>
              <a:gd name="connsiteY6" fmla="*/ 0 h 93513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0 w 472440"/>
              <a:gd name="connsiteY0" fmla="*/ 0 h 935136"/>
              <a:gd name="connsiteX1" fmla="*/ 146821 w 472440"/>
              <a:gd name="connsiteY1" fmla="*/ 474345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254318 w 426720"/>
              <a:gd name="connsiteY0" fmla="*/ 0 h 954186"/>
              <a:gd name="connsiteX1" fmla="*/ 101101 w 426720"/>
              <a:gd name="connsiteY1" fmla="*/ 493395 h 954186"/>
              <a:gd name="connsiteX2" fmla="*/ 426720 w 426720"/>
              <a:gd name="connsiteY2" fmla="*/ 384711 h 954186"/>
              <a:gd name="connsiteX3" fmla="*/ 55381 w 426720"/>
              <a:gd name="connsiteY3" fmla="*/ 954186 h 954186"/>
              <a:gd name="connsiteX4" fmla="*/ 109537 w 426720"/>
              <a:gd name="connsiteY4" fmla="*/ 621883 h 954186"/>
              <a:gd name="connsiteX5" fmla="*/ 0 w 426720"/>
              <a:gd name="connsiteY5" fmla="*/ 672246 h 954186"/>
              <a:gd name="connsiteX6" fmla="*/ 254318 w 426720"/>
              <a:gd name="connsiteY6" fmla="*/ 0 h 954186"/>
              <a:gd name="connsiteX0" fmla="*/ 254318 w 426720"/>
              <a:gd name="connsiteY0" fmla="*/ 0 h 954186"/>
              <a:gd name="connsiteX1" fmla="*/ 153488 w 426720"/>
              <a:gd name="connsiteY1" fmla="*/ 450533 h 954186"/>
              <a:gd name="connsiteX2" fmla="*/ 426720 w 426720"/>
              <a:gd name="connsiteY2" fmla="*/ 384711 h 954186"/>
              <a:gd name="connsiteX3" fmla="*/ 55381 w 426720"/>
              <a:gd name="connsiteY3" fmla="*/ 954186 h 954186"/>
              <a:gd name="connsiteX4" fmla="*/ 109537 w 426720"/>
              <a:gd name="connsiteY4" fmla="*/ 621883 h 954186"/>
              <a:gd name="connsiteX5" fmla="*/ 0 w 426720"/>
              <a:gd name="connsiteY5" fmla="*/ 672246 h 954186"/>
              <a:gd name="connsiteX6" fmla="*/ 254318 w 426720"/>
              <a:gd name="connsiteY6" fmla="*/ 0 h 954186"/>
              <a:gd name="connsiteX0" fmla="*/ 244793 w 417195"/>
              <a:gd name="connsiteY0" fmla="*/ 0 h 954186"/>
              <a:gd name="connsiteX1" fmla="*/ 143963 w 417195"/>
              <a:gd name="connsiteY1" fmla="*/ 450533 h 954186"/>
              <a:gd name="connsiteX2" fmla="*/ 417195 w 417195"/>
              <a:gd name="connsiteY2" fmla="*/ 384711 h 954186"/>
              <a:gd name="connsiteX3" fmla="*/ 45856 w 417195"/>
              <a:gd name="connsiteY3" fmla="*/ 954186 h 954186"/>
              <a:gd name="connsiteX4" fmla="*/ 100012 w 417195"/>
              <a:gd name="connsiteY4" fmla="*/ 621883 h 954186"/>
              <a:gd name="connsiteX5" fmla="*/ 0 w 417195"/>
              <a:gd name="connsiteY5" fmla="*/ 534134 h 954186"/>
              <a:gd name="connsiteX6" fmla="*/ 244793 w 417195"/>
              <a:gd name="connsiteY6" fmla="*/ 0 h 954186"/>
              <a:gd name="connsiteX0" fmla="*/ 244793 w 417195"/>
              <a:gd name="connsiteY0" fmla="*/ 0 h 954186"/>
              <a:gd name="connsiteX1" fmla="*/ 143963 w 417195"/>
              <a:gd name="connsiteY1" fmla="*/ 450533 h 954186"/>
              <a:gd name="connsiteX2" fmla="*/ 417195 w 417195"/>
              <a:gd name="connsiteY2" fmla="*/ 384711 h 954186"/>
              <a:gd name="connsiteX3" fmla="*/ 45856 w 417195"/>
              <a:gd name="connsiteY3" fmla="*/ 954186 h 954186"/>
              <a:gd name="connsiteX4" fmla="*/ 242887 w 417195"/>
              <a:gd name="connsiteY4" fmla="*/ 521870 h 954186"/>
              <a:gd name="connsiteX5" fmla="*/ 0 w 417195"/>
              <a:gd name="connsiteY5" fmla="*/ 534134 h 954186"/>
              <a:gd name="connsiteX6" fmla="*/ 244793 w 417195"/>
              <a:gd name="connsiteY6" fmla="*/ 0 h 954186"/>
              <a:gd name="connsiteX0" fmla="*/ 244793 w 417195"/>
              <a:gd name="connsiteY0" fmla="*/ 0 h 954186"/>
              <a:gd name="connsiteX1" fmla="*/ 143963 w 417195"/>
              <a:gd name="connsiteY1" fmla="*/ 450533 h 954186"/>
              <a:gd name="connsiteX2" fmla="*/ 417195 w 417195"/>
              <a:gd name="connsiteY2" fmla="*/ 384711 h 954186"/>
              <a:gd name="connsiteX3" fmla="*/ 45856 w 417195"/>
              <a:gd name="connsiteY3" fmla="*/ 954186 h 954186"/>
              <a:gd name="connsiteX4" fmla="*/ 195262 w 417195"/>
              <a:gd name="connsiteY4" fmla="*/ 531395 h 954186"/>
              <a:gd name="connsiteX5" fmla="*/ 0 w 417195"/>
              <a:gd name="connsiteY5" fmla="*/ 534134 h 954186"/>
              <a:gd name="connsiteX6" fmla="*/ 244793 w 417195"/>
              <a:gd name="connsiteY6" fmla="*/ 0 h 954186"/>
              <a:gd name="connsiteX0" fmla="*/ 244793 w 417195"/>
              <a:gd name="connsiteY0" fmla="*/ 0 h 954186"/>
              <a:gd name="connsiteX1" fmla="*/ 148726 w 417195"/>
              <a:gd name="connsiteY1" fmla="*/ 398146 h 954186"/>
              <a:gd name="connsiteX2" fmla="*/ 417195 w 417195"/>
              <a:gd name="connsiteY2" fmla="*/ 384711 h 954186"/>
              <a:gd name="connsiteX3" fmla="*/ 45856 w 417195"/>
              <a:gd name="connsiteY3" fmla="*/ 954186 h 954186"/>
              <a:gd name="connsiteX4" fmla="*/ 195262 w 417195"/>
              <a:gd name="connsiteY4" fmla="*/ 531395 h 954186"/>
              <a:gd name="connsiteX5" fmla="*/ 0 w 417195"/>
              <a:gd name="connsiteY5" fmla="*/ 534134 h 954186"/>
              <a:gd name="connsiteX6" fmla="*/ 244793 w 417195"/>
              <a:gd name="connsiteY6" fmla="*/ 0 h 954186"/>
              <a:gd name="connsiteX0" fmla="*/ 244793 w 355282"/>
              <a:gd name="connsiteY0" fmla="*/ 0 h 954186"/>
              <a:gd name="connsiteX1" fmla="*/ 148726 w 355282"/>
              <a:gd name="connsiteY1" fmla="*/ 398146 h 954186"/>
              <a:gd name="connsiteX2" fmla="*/ 355282 w 355282"/>
              <a:gd name="connsiteY2" fmla="*/ 413286 h 954186"/>
              <a:gd name="connsiteX3" fmla="*/ 45856 w 355282"/>
              <a:gd name="connsiteY3" fmla="*/ 954186 h 954186"/>
              <a:gd name="connsiteX4" fmla="*/ 195262 w 355282"/>
              <a:gd name="connsiteY4" fmla="*/ 531395 h 954186"/>
              <a:gd name="connsiteX5" fmla="*/ 0 w 355282"/>
              <a:gd name="connsiteY5" fmla="*/ 534134 h 954186"/>
              <a:gd name="connsiteX6" fmla="*/ 244793 w 355282"/>
              <a:gd name="connsiteY6" fmla="*/ 0 h 954186"/>
              <a:gd name="connsiteX0" fmla="*/ 244793 w 355282"/>
              <a:gd name="connsiteY0" fmla="*/ 0 h 954186"/>
              <a:gd name="connsiteX1" fmla="*/ 148726 w 355282"/>
              <a:gd name="connsiteY1" fmla="*/ 398146 h 954186"/>
              <a:gd name="connsiteX2" fmla="*/ 355282 w 355282"/>
              <a:gd name="connsiteY2" fmla="*/ 413286 h 954186"/>
              <a:gd name="connsiteX3" fmla="*/ 45856 w 355282"/>
              <a:gd name="connsiteY3" fmla="*/ 954186 h 954186"/>
              <a:gd name="connsiteX4" fmla="*/ 195262 w 355282"/>
              <a:gd name="connsiteY4" fmla="*/ 531395 h 954186"/>
              <a:gd name="connsiteX5" fmla="*/ 0 w 355282"/>
              <a:gd name="connsiteY5" fmla="*/ 596047 h 954186"/>
              <a:gd name="connsiteX6" fmla="*/ 244793 w 355282"/>
              <a:gd name="connsiteY6" fmla="*/ 0 h 954186"/>
              <a:gd name="connsiteX0" fmla="*/ 244793 w 355282"/>
              <a:gd name="connsiteY0" fmla="*/ 0 h 954186"/>
              <a:gd name="connsiteX1" fmla="*/ 148726 w 355282"/>
              <a:gd name="connsiteY1" fmla="*/ 398146 h 954186"/>
              <a:gd name="connsiteX2" fmla="*/ 355282 w 355282"/>
              <a:gd name="connsiteY2" fmla="*/ 413286 h 954186"/>
              <a:gd name="connsiteX3" fmla="*/ 45856 w 355282"/>
              <a:gd name="connsiteY3" fmla="*/ 954186 h 954186"/>
              <a:gd name="connsiteX4" fmla="*/ 209550 w 355282"/>
              <a:gd name="connsiteY4" fmla="*/ 493295 h 954186"/>
              <a:gd name="connsiteX5" fmla="*/ 0 w 355282"/>
              <a:gd name="connsiteY5" fmla="*/ 596047 h 954186"/>
              <a:gd name="connsiteX6" fmla="*/ 244793 w 355282"/>
              <a:gd name="connsiteY6" fmla="*/ 0 h 954186"/>
              <a:gd name="connsiteX0" fmla="*/ 244793 w 355282"/>
              <a:gd name="connsiteY0" fmla="*/ 0 h 954186"/>
              <a:gd name="connsiteX1" fmla="*/ 139201 w 355282"/>
              <a:gd name="connsiteY1" fmla="*/ 431483 h 954186"/>
              <a:gd name="connsiteX2" fmla="*/ 355282 w 355282"/>
              <a:gd name="connsiteY2" fmla="*/ 413286 h 954186"/>
              <a:gd name="connsiteX3" fmla="*/ 45856 w 355282"/>
              <a:gd name="connsiteY3" fmla="*/ 954186 h 954186"/>
              <a:gd name="connsiteX4" fmla="*/ 209550 w 355282"/>
              <a:gd name="connsiteY4" fmla="*/ 493295 h 954186"/>
              <a:gd name="connsiteX5" fmla="*/ 0 w 355282"/>
              <a:gd name="connsiteY5" fmla="*/ 596047 h 954186"/>
              <a:gd name="connsiteX6" fmla="*/ 244793 w 355282"/>
              <a:gd name="connsiteY6" fmla="*/ 0 h 954186"/>
              <a:gd name="connsiteX0" fmla="*/ 244793 w 331469"/>
              <a:gd name="connsiteY0" fmla="*/ 0 h 954186"/>
              <a:gd name="connsiteX1" fmla="*/ 139201 w 331469"/>
              <a:gd name="connsiteY1" fmla="*/ 431483 h 954186"/>
              <a:gd name="connsiteX2" fmla="*/ 331469 w 331469"/>
              <a:gd name="connsiteY2" fmla="*/ 408524 h 954186"/>
              <a:gd name="connsiteX3" fmla="*/ 45856 w 331469"/>
              <a:gd name="connsiteY3" fmla="*/ 954186 h 954186"/>
              <a:gd name="connsiteX4" fmla="*/ 209550 w 331469"/>
              <a:gd name="connsiteY4" fmla="*/ 493295 h 954186"/>
              <a:gd name="connsiteX5" fmla="*/ 0 w 331469"/>
              <a:gd name="connsiteY5" fmla="*/ 596047 h 954186"/>
              <a:gd name="connsiteX6" fmla="*/ 244793 w 331469"/>
              <a:gd name="connsiteY6" fmla="*/ 0 h 954186"/>
              <a:gd name="connsiteX0" fmla="*/ 287655 w 331469"/>
              <a:gd name="connsiteY0" fmla="*/ 0 h 949423"/>
              <a:gd name="connsiteX1" fmla="*/ 139201 w 331469"/>
              <a:gd name="connsiteY1" fmla="*/ 426720 h 949423"/>
              <a:gd name="connsiteX2" fmla="*/ 331469 w 331469"/>
              <a:gd name="connsiteY2" fmla="*/ 403761 h 949423"/>
              <a:gd name="connsiteX3" fmla="*/ 45856 w 331469"/>
              <a:gd name="connsiteY3" fmla="*/ 949423 h 949423"/>
              <a:gd name="connsiteX4" fmla="*/ 209550 w 331469"/>
              <a:gd name="connsiteY4" fmla="*/ 488532 h 949423"/>
              <a:gd name="connsiteX5" fmla="*/ 0 w 331469"/>
              <a:gd name="connsiteY5" fmla="*/ 591284 h 949423"/>
              <a:gd name="connsiteX6" fmla="*/ 287655 w 331469"/>
              <a:gd name="connsiteY6" fmla="*/ 0 h 949423"/>
              <a:gd name="connsiteX0" fmla="*/ 240030 w 331469"/>
              <a:gd name="connsiteY0" fmla="*/ 0 h 977998"/>
              <a:gd name="connsiteX1" fmla="*/ 139201 w 331469"/>
              <a:gd name="connsiteY1" fmla="*/ 455295 h 977998"/>
              <a:gd name="connsiteX2" fmla="*/ 331469 w 331469"/>
              <a:gd name="connsiteY2" fmla="*/ 432336 h 977998"/>
              <a:gd name="connsiteX3" fmla="*/ 45856 w 331469"/>
              <a:gd name="connsiteY3" fmla="*/ 977998 h 977998"/>
              <a:gd name="connsiteX4" fmla="*/ 209550 w 331469"/>
              <a:gd name="connsiteY4" fmla="*/ 517107 h 977998"/>
              <a:gd name="connsiteX5" fmla="*/ 0 w 331469"/>
              <a:gd name="connsiteY5" fmla="*/ 619859 h 977998"/>
              <a:gd name="connsiteX6" fmla="*/ 240030 w 331469"/>
              <a:gd name="connsiteY6" fmla="*/ 0 h 977998"/>
              <a:gd name="connsiteX0" fmla="*/ 240030 w 331469"/>
              <a:gd name="connsiteY0" fmla="*/ 0 h 977998"/>
              <a:gd name="connsiteX1" fmla="*/ 139201 w 331469"/>
              <a:gd name="connsiteY1" fmla="*/ 455295 h 977998"/>
              <a:gd name="connsiteX2" fmla="*/ 331469 w 331469"/>
              <a:gd name="connsiteY2" fmla="*/ 432336 h 977998"/>
              <a:gd name="connsiteX3" fmla="*/ 45856 w 331469"/>
              <a:gd name="connsiteY3" fmla="*/ 977998 h 977998"/>
              <a:gd name="connsiteX4" fmla="*/ 209550 w 331469"/>
              <a:gd name="connsiteY4" fmla="*/ 517107 h 977998"/>
              <a:gd name="connsiteX5" fmla="*/ 0 w 331469"/>
              <a:gd name="connsiteY5" fmla="*/ 619859 h 977998"/>
              <a:gd name="connsiteX6" fmla="*/ 240030 w 331469"/>
              <a:gd name="connsiteY6" fmla="*/ 0 h 977998"/>
              <a:gd name="connsiteX0" fmla="*/ 240030 w 326706"/>
              <a:gd name="connsiteY0" fmla="*/ 0 h 977998"/>
              <a:gd name="connsiteX1" fmla="*/ 139201 w 326706"/>
              <a:gd name="connsiteY1" fmla="*/ 455295 h 977998"/>
              <a:gd name="connsiteX2" fmla="*/ 326706 w 326706"/>
              <a:gd name="connsiteY2" fmla="*/ 389473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39201 w 326706"/>
              <a:gd name="connsiteY1" fmla="*/ 455295 h 977998"/>
              <a:gd name="connsiteX2" fmla="*/ 326706 w 326706"/>
              <a:gd name="connsiteY2" fmla="*/ 389473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20151 w 326706"/>
              <a:gd name="connsiteY1" fmla="*/ 474345 h 977998"/>
              <a:gd name="connsiteX2" fmla="*/ 326706 w 326706"/>
              <a:gd name="connsiteY2" fmla="*/ 389473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20151 w 326706"/>
              <a:gd name="connsiteY1" fmla="*/ 474345 h 977998"/>
              <a:gd name="connsiteX2" fmla="*/ 326706 w 326706"/>
              <a:gd name="connsiteY2" fmla="*/ 394236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20151 w 326706"/>
              <a:gd name="connsiteY1" fmla="*/ 474345 h 977998"/>
              <a:gd name="connsiteX2" fmla="*/ 326706 w 326706"/>
              <a:gd name="connsiteY2" fmla="*/ 394236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6706" h="977998">
                <a:moveTo>
                  <a:pt x="240030" y="0"/>
                </a:moveTo>
                <a:lnTo>
                  <a:pt x="120151" y="474345"/>
                </a:lnTo>
                <a:cubicBezTo>
                  <a:pt x="213903" y="441434"/>
                  <a:pt x="223428" y="434290"/>
                  <a:pt x="326706" y="394236"/>
                </a:cubicBezTo>
                <a:lnTo>
                  <a:pt x="45856" y="977998"/>
                </a:lnTo>
                <a:lnTo>
                  <a:pt x="209550" y="517107"/>
                </a:lnTo>
                <a:lnTo>
                  <a:pt x="0" y="619859"/>
                </a:lnTo>
                <a:lnTo>
                  <a:pt x="240030" y="0"/>
                </a:lnTo>
                <a:close/>
              </a:path>
            </a:pathLst>
          </a:custGeom>
          <a:solidFill>
            <a:schemeClr val="bg2"/>
          </a:solidFill>
          <a:ln w="9525" cap="flat" cmpd="sng" algn="ctr">
            <a:noFill/>
            <a:prstDash val="solid"/>
            <a:round/>
            <a:headEnd type="none" w="med" len="med"/>
            <a:tailEnd type="none" w="med" len="med"/>
          </a:ln>
          <a:effectLst/>
        </p:spPr>
        <p:txBody>
          <a:bodyPr vert="horz" wrap="square" lIns="33231" tIns="43200" rIns="33231" bIns="43200" numCol="1" rtlCol="0" anchor="ctr" anchorCtr="0" compatLnSpc="1">
            <a:prstTxWarp prst="textNoShape">
              <a:avLst/>
            </a:prstTxWarp>
          </a:bodyPr>
          <a:lstStyle/>
          <a:p>
            <a:pPr marL="0" marR="0" lvl="0" indent="0" algn="ctr" defTabSz="844083" rtl="0" eaLnBrk="0" fontAlgn="base" latinLnBrk="0" hangingPunct="0">
              <a:lnSpc>
                <a:spcPct val="100000"/>
              </a:lnSpc>
              <a:spcBef>
                <a:spcPts val="0"/>
              </a:spcBef>
              <a:spcAft>
                <a:spcPts val="0"/>
              </a:spcAft>
              <a:buClrTx/>
              <a:buSzTx/>
              <a:buFontTx/>
              <a:buNone/>
              <a:tabLst/>
              <a:defRPr/>
            </a:pPr>
            <a:endParaRPr kumimoji="0" lang="de-DE" sz="1108" b="1" i="0" u="none" strike="noStrike" kern="1200" cap="none" spc="0" normalizeH="0" baseline="0" noProof="0">
              <a:ln>
                <a:noFill/>
              </a:ln>
              <a:solidFill>
                <a:srgbClr val="FFFFFF"/>
              </a:solidFill>
              <a:effectLst/>
              <a:uLnTx/>
              <a:uFillTx/>
              <a:latin typeface="Arial" charset="0"/>
              <a:ea typeface="+mn-ea"/>
              <a:cs typeface="+mn-cs"/>
            </a:endParaRPr>
          </a:p>
        </p:txBody>
      </p:sp>
      <p:sp>
        <p:nvSpPr>
          <p:cNvPr id="34" name="Rechteck 241"/>
          <p:cNvSpPr/>
          <p:nvPr/>
        </p:nvSpPr>
        <p:spPr bwMode="auto">
          <a:xfrm rot="18711774">
            <a:off x="7239488" y="3895026"/>
            <a:ext cx="219578" cy="657307"/>
          </a:xfrm>
          <a:custGeom>
            <a:avLst/>
            <a:gdLst>
              <a:gd name="connsiteX0" fmla="*/ 0 w 817381"/>
              <a:gd name="connsiteY0" fmla="*/ 0 h 637956"/>
              <a:gd name="connsiteX1" fmla="*/ 817381 w 817381"/>
              <a:gd name="connsiteY1" fmla="*/ 0 h 637956"/>
              <a:gd name="connsiteX2" fmla="*/ 817381 w 817381"/>
              <a:gd name="connsiteY2" fmla="*/ 637956 h 637956"/>
              <a:gd name="connsiteX3" fmla="*/ 0 w 817381"/>
              <a:gd name="connsiteY3" fmla="*/ 637956 h 637956"/>
              <a:gd name="connsiteX4" fmla="*/ 0 w 817381"/>
              <a:gd name="connsiteY4" fmla="*/ 0 h 637956"/>
              <a:gd name="connsiteX0" fmla="*/ 0 w 817381"/>
              <a:gd name="connsiteY0" fmla="*/ 0 h 637956"/>
              <a:gd name="connsiteX1" fmla="*/ 360181 w 817381"/>
              <a:gd name="connsiteY1" fmla="*/ 281940 h 637956"/>
              <a:gd name="connsiteX2" fmla="*/ 817381 w 817381"/>
              <a:gd name="connsiteY2" fmla="*/ 637956 h 637956"/>
              <a:gd name="connsiteX3" fmla="*/ 0 w 817381"/>
              <a:gd name="connsiteY3" fmla="*/ 637956 h 637956"/>
              <a:gd name="connsiteX4" fmla="*/ 0 w 817381"/>
              <a:gd name="connsiteY4" fmla="*/ 0 h 637956"/>
              <a:gd name="connsiteX0" fmla="*/ 0 w 360181"/>
              <a:gd name="connsiteY0" fmla="*/ 0 h 866556"/>
              <a:gd name="connsiteX1" fmla="*/ 360181 w 360181"/>
              <a:gd name="connsiteY1" fmla="*/ 281940 h 866556"/>
              <a:gd name="connsiteX2" fmla="*/ 352561 w 360181"/>
              <a:gd name="connsiteY2" fmla="*/ 866556 h 866556"/>
              <a:gd name="connsiteX3" fmla="*/ 0 w 360181"/>
              <a:gd name="connsiteY3" fmla="*/ 637956 h 866556"/>
              <a:gd name="connsiteX4" fmla="*/ 0 w 360181"/>
              <a:gd name="connsiteY4" fmla="*/ 0 h 866556"/>
              <a:gd name="connsiteX0" fmla="*/ 0 w 352561"/>
              <a:gd name="connsiteY0" fmla="*/ 0 h 866556"/>
              <a:gd name="connsiteX1" fmla="*/ 223021 w 352561"/>
              <a:gd name="connsiteY1" fmla="*/ 464820 h 866556"/>
              <a:gd name="connsiteX2" fmla="*/ 352561 w 352561"/>
              <a:gd name="connsiteY2" fmla="*/ 866556 h 866556"/>
              <a:gd name="connsiteX3" fmla="*/ 0 w 352561"/>
              <a:gd name="connsiteY3" fmla="*/ 637956 h 866556"/>
              <a:gd name="connsiteX4" fmla="*/ 0 w 352561"/>
              <a:gd name="connsiteY4" fmla="*/ 0 h 866556"/>
              <a:gd name="connsiteX0" fmla="*/ 0 w 352561"/>
              <a:gd name="connsiteY0" fmla="*/ 0 h 866556"/>
              <a:gd name="connsiteX1" fmla="*/ 223021 w 352561"/>
              <a:gd name="connsiteY1" fmla="*/ 464820 h 866556"/>
              <a:gd name="connsiteX2" fmla="*/ 352561 w 352561"/>
              <a:gd name="connsiteY2" fmla="*/ 866556 h 866556"/>
              <a:gd name="connsiteX3" fmla="*/ 91440 w 352561"/>
              <a:gd name="connsiteY3" fmla="*/ 493176 h 866556"/>
              <a:gd name="connsiteX4" fmla="*/ 0 w 352561"/>
              <a:gd name="connsiteY4" fmla="*/ 0 h 866556"/>
              <a:gd name="connsiteX0" fmla="*/ 0 w 472440"/>
              <a:gd name="connsiteY0" fmla="*/ 0 h 866556"/>
              <a:gd name="connsiteX1" fmla="*/ 223021 w 472440"/>
              <a:gd name="connsiteY1" fmla="*/ 464820 h 866556"/>
              <a:gd name="connsiteX2" fmla="*/ 472440 w 472440"/>
              <a:gd name="connsiteY2" fmla="*/ 365661 h 866556"/>
              <a:gd name="connsiteX3" fmla="*/ 352561 w 472440"/>
              <a:gd name="connsiteY3" fmla="*/ 866556 h 866556"/>
              <a:gd name="connsiteX4" fmla="*/ 91440 w 472440"/>
              <a:gd name="connsiteY4" fmla="*/ 493176 h 866556"/>
              <a:gd name="connsiteX5" fmla="*/ 0 w 472440"/>
              <a:gd name="connsiteY5" fmla="*/ 0 h 866556"/>
              <a:gd name="connsiteX0" fmla="*/ 0 w 472440"/>
              <a:gd name="connsiteY0" fmla="*/ 0 h 866556"/>
              <a:gd name="connsiteX1" fmla="*/ 223021 w 472440"/>
              <a:gd name="connsiteY1" fmla="*/ 464820 h 866556"/>
              <a:gd name="connsiteX2" fmla="*/ 472440 w 472440"/>
              <a:gd name="connsiteY2" fmla="*/ 365661 h 866556"/>
              <a:gd name="connsiteX3" fmla="*/ 352561 w 472440"/>
              <a:gd name="connsiteY3" fmla="*/ 866556 h 866556"/>
              <a:gd name="connsiteX4" fmla="*/ 312419 w 472440"/>
              <a:gd name="connsiteY4" fmla="*/ 540921 h 866556"/>
              <a:gd name="connsiteX5" fmla="*/ 91440 w 472440"/>
              <a:gd name="connsiteY5" fmla="*/ 493176 h 866556"/>
              <a:gd name="connsiteX6" fmla="*/ 0 w 472440"/>
              <a:gd name="connsiteY6" fmla="*/ 0 h 866556"/>
              <a:gd name="connsiteX0" fmla="*/ 0 w 472440"/>
              <a:gd name="connsiteY0" fmla="*/ 0 h 866556"/>
              <a:gd name="connsiteX1" fmla="*/ 223021 w 472440"/>
              <a:gd name="connsiteY1" fmla="*/ 464820 h 866556"/>
              <a:gd name="connsiteX2" fmla="*/ 472440 w 472440"/>
              <a:gd name="connsiteY2" fmla="*/ 365661 h 866556"/>
              <a:gd name="connsiteX3" fmla="*/ 352561 w 472440"/>
              <a:gd name="connsiteY3" fmla="*/ 866556 h 866556"/>
              <a:gd name="connsiteX4" fmla="*/ 312419 w 472440"/>
              <a:gd name="connsiteY4" fmla="*/ 540921 h 866556"/>
              <a:gd name="connsiteX5" fmla="*/ 45720 w 472440"/>
              <a:gd name="connsiteY5" fmla="*/ 653196 h 866556"/>
              <a:gd name="connsiteX6" fmla="*/ 0 w 472440"/>
              <a:gd name="connsiteY6" fmla="*/ 0 h 86655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312419 w 472440"/>
              <a:gd name="connsiteY4" fmla="*/ 540921 h 935136"/>
              <a:gd name="connsiteX5" fmla="*/ 45720 w 472440"/>
              <a:gd name="connsiteY5" fmla="*/ 653196 h 935136"/>
              <a:gd name="connsiteX6" fmla="*/ 0 w 472440"/>
              <a:gd name="connsiteY6" fmla="*/ 0 h 93513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0 w 472440"/>
              <a:gd name="connsiteY0" fmla="*/ 0 h 935136"/>
              <a:gd name="connsiteX1" fmla="*/ 223021 w 472440"/>
              <a:gd name="connsiteY1" fmla="*/ 464820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0 w 472440"/>
              <a:gd name="connsiteY0" fmla="*/ 0 h 935136"/>
              <a:gd name="connsiteX1" fmla="*/ 146821 w 472440"/>
              <a:gd name="connsiteY1" fmla="*/ 474345 h 935136"/>
              <a:gd name="connsiteX2" fmla="*/ 472440 w 472440"/>
              <a:gd name="connsiteY2" fmla="*/ 365661 h 935136"/>
              <a:gd name="connsiteX3" fmla="*/ 101101 w 472440"/>
              <a:gd name="connsiteY3" fmla="*/ 935136 h 935136"/>
              <a:gd name="connsiteX4" fmla="*/ 155257 w 472440"/>
              <a:gd name="connsiteY4" fmla="*/ 602833 h 935136"/>
              <a:gd name="connsiteX5" fmla="*/ 45720 w 472440"/>
              <a:gd name="connsiteY5" fmla="*/ 653196 h 935136"/>
              <a:gd name="connsiteX6" fmla="*/ 0 w 472440"/>
              <a:gd name="connsiteY6" fmla="*/ 0 h 935136"/>
              <a:gd name="connsiteX0" fmla="*/ 254318 w 426720"/>
              <a:gd name="connsiteY0" fmla="*/ 0 h 954186"/>
              <a:gd name="connsiteX1" fmla="*/ 101101 w 426720"/>
              <a:gd name="connsiteY1" fmla="*/ 493395 h 954186"/>
              <a:gd name="connsiteX2" fmla="*/ 426720 w 426720"/>
              <a:gd name="connsiteY2" fmla="*/ 384711 h 954186"/>
              <a:gd name="connsiteX3" fmla="*/ 55381 w 426720"/>
              <a:gd name="connsiteY3" fmla="*/ 954186 h 954186"/>
              <a:gd name="connsiteX4" fmla="*/ 109537 w 426720"/>
              <a:gd name="connsiteY4" fmla="*/ 621883 h 954186"/>
              <a:gd name="connsiteX5" fmla="*/ 0 w 426720"/>
              <a:gd name="connsiteY5" fmla="*/ 672246 h 954186"/>
              <a:gd name="connsiteX6" fmla="*/ 254318 w 426720"/>
              <a:gd name="connsiteY6" fmla="*/ 0 h 954186"/>
              <a:gd name="connsiteX0" fmla="*/ 254318 w 426720"/>
              <a:gd name="connsiteY0" fmla="*/ 0 h 954186"/>
              <a:gd name="connsiteX1" fmla="*/ 153488 w 426720"/>
              <a:gd name="connsiteY1" fmla="*/ 450533 h 954186"/>
              <a:gd name="connsiteX2" fmla="*/ 426720 w 426720"/>
              <a:gd name="connsiteY2" fmla="*/ 384711 h 954186"/>
              <a:gd name="connsiteX3" fmla="*/ 55381 w 426720"/>
              <a:gd name="connsiteY3" fmla="*/ 954186 h 954186"/>
              <a:gd name="connsiteX4" fmla="*/ 109537 w 426720"/>
              <a:gd name="connsiteY4" fmla="*/ 621883 h 954186"/>
              <a:gd name="connsiteX5" fmla="*/ 0 w 426720"/>
              <a:gd name="connsiteY5" fmla="*/ 672246 h 954186"/>
              <a:gd name="connsiteX6" fmla="*/ 254318 w 426720"/>
              <a:gd name="connsiteY6" fmla="*/ 0 h 954186"/>
              <a:gd name="connsiteX0" fmla="*/ 244793 w 417195"/>
              <a:gd name="connsiteY0" fmla="*/ 0 h 954186"/>
              <a:gd name="connsiteX1" fmla="*/ 143963 w 417195"/>
              <a:gd name="connsiteY1" fmla="*/ 450533 h 954186"/>
              <a:gd name="connsiteX2" fmla="*/ 417195 w 417195"/>
              <a:gd name="connsiteY2" fmla="*/ 384711 h 954186"/>
              <a:gd name="connsiteX3" fmla="*/ 45856 w 417195"/>
              <a:gd name="connsiteY3" fmla="*/ 954186 h 954186"/>
              <a:gd name="connsiteX4" fmla="*/ 100012 w 417195"/>
              <a:gd name="connsiteY4" fmla="*/ 621883 h 954186"/>
              <a:gd name="connsiteX5" fmla="*/ 0 w 417195"/>
              <a:gd name="connsiteY5" fmla="*/ 534134 h 954186"/>
              <a:gd name="connsiteX6" fmla="*/ 244793 w 417195"/>
              <a:gd name="connsiteY6" fmla="*/ 0 h 954186"/>
              <a:gd name="connsiteX0" fmla="*/ 244793 w 417195"/>
              <a:gd name="connsiteY0" fmla="*/ 0 h 954186"/>
              <a:gd name="connsiteX1" fmla="*/ 143963 w 417195"/>
              <a:gd name="connsiteY1" fmla="*/ 450533 h 954186"/>
              <a:gd name="connsiteX2" fmla="*/ 417195 w 417195"/>
              <a:gd name="connsiteY2" fmla="*/ 384711 h 954186"/>
              <a:gd name="connsiteX3" fmla="*/ 45856 w 417195"/>
              <a:gd name="connsiteY3" fmla="*/ 954186 h 954186"/>
              <a:gd name="connsiteX4" fmla="*/ 242887 w 417195"/>
              <a:gd name="connsiteY4" fmla="*/ 521870 h 954186"/>
              <a:gd name="connsiteX5" fmla="*/ 0 w 417195"/>
              <a:gd name="connsiteY5" fmla="*/ 534134 h 954186"/>
              <a:gd name="connsiteX6" fmla="*/ 244793 w 417195"/>
              <a:gd name="connsiteY6" fmla="*/ 0 h 954186"/>
              <a:gd name="connsiteX0" fmla="*/ 244793 w 417195"/>
              <a:gd name="connsiteY0" fmla="*/ 0 h 954186"/>
              <a:gd name="connsiteX1" fmla="*/ 143963 w 417195"/>
              <a:gd name="connsiteY1" fmla="*/ 450533 h 954186"/>
              <a:gd name="connsiteX2" fmla="*/ 417195 w 417195"/>
              <a:gd name="connsiteY2" fmla="*/ 384711 h 954186"/>
              <a:gd name="connsiteX3" fmla="*/ 45856 w 417195"/>
              <a:gd name="connsiteY3" fmla="*/ 954186 h 954186"/>
              <a:gd name="connsiteX4" fmla="*/ 195262 w 417195"/>
              <a:gd name="connsiteY4" fmla="*/ 531395 h 954186"/>
              <a:gd name="connsiteX5" fmla="*/ 0 w 417195"/>
              <a:gd name="connsiteY5" fmla="*/ 534134 h 954186"/>
              <a:gd name="connsiteX6" fmla="*/ 244793 w 417195"/>
              <a:gd name="connsiteY6" fmla="*/ 0 h 954186"/>
              <a:gd name="connsiteX0" fmla="*/ 244793 w 417195"/>
              <a:gd name="connsiteY0" fmla="*/ 0 h 954186"/>
              <a:gd name="connsiteX1" fmla="*/ 148726 w 417195"/>
              <a:gd name="connsiteY1" fmla="*/ 398146 h 954186"/>
              <a:gd name="connsiteX2" fmla="*/ 417195 w 417195"/>
              <a:gd name="connsiteY2" fmla="*/ 384711 h 954186"/>
              <a:gd name="connsiteX3" fmla="*/ 45856 w 417195"/>
              <a:gd name="connsiteY3" fmla="*/ 954186 h 954186"/>
              <a:gd name="connsiteX4" fmla="*/ 195262 w 417195"/>
              <a:gd name="connsiteY4" fmla="*/ 531395 h 954186"/>
              <a:gd name="connsiteX5" fmla="*/ 0 w 417195"/>
              <a:gd name="connsiteY5" fmla="*/ 534134 h 954186"/>
              <a:gd name="connsiteX6" fmla="*/ 244793 w 417195"/>
              <a:gd name="connsiteY6" fmla="*/ 0 h 954186"/>
              <a:gd name="connsiteX0" fmla="*/ 244793 w 355282"/>
              <a:gd name="connsiteY0" fmla="*/ 0 h 954186"/>
              <a:gd name="connsiteX1" fmla="*/ 148726 w 355282"/>
              <a:gd name="connsiteY1" fmla="*/ 398146 h 954186"/>
              <a:gd name="connsiteX2" fmla="*/ 355282 w 355282"/>
              <a:gd name="connsiteY2" fmla="*/ 413286 h 954186"/>
              <a:gd name="connsiteX3" fmla="*/ 45856 w 355282"/>
              <a:gd name="connsiteY3" fmla="*/ 954186 h 954186"/>
              <a:gd name="connsiteX4" fmla="*/ 195262 w 355282"/>
              <a:gd name="connsiteY4" fmla="*/ 531395 h 954186"/>
              <a:gd name="connsiteX5" fmla="*/ 0 w 355282"/>
              <a:gd name="connsiteY5" fmla="*/ 534134 h 954186"/>
              <a:gd name="connsiteX6" fmla="*/ 244793 w 355282"/>
              <a:gd name="connsiteY6" fmla="*/ 0 h 954186"/>
              <a:gd name="connsiteX0" fmla="*/ 244793 w 355282"/>
              <a:gd name="connsiteY0" fmla="*/ 0 h 954186"/>
              <a:gd name="connsiteX1" fmla="*/ 148726 w 355282"/>
              <a:gd name="connsiteY1" fmla="*/ 398146 h 954186"/>
              <a:gd name="connsiteX2" fmla="*/ 355282 w 355282"/>
              <a:gd name="connsiteY2" fmla="*/ 413286 h 954186"/>
              <a:gd name="connsiteX3" fmla="*/ 45856 w 355282"/>
              <a:gd name="connsiteY3" fmla="*/ 954186 h 954186"/>
              <a:gd name="connsiteX4" fmla="*/ 195262 w 355282"/>
              <a:gd name="connsiteY4" fmla="*/ 531395 h 954186"/>
              <a:gd name="connsiteX5" fmla="*/ 0 w 355282"/>
              <a:gd name="connsiteY5" fmla="*/ 596047 h 954186"/>
              <a:gd name="connsiteX6" fmla="*/ 244793 w 355282"/>
              <a:gd name="connsiteY6" fmla="*/ 0 h 954186"/>
              <a:gd name="connsiteX0" fmla="*/ 244793 w 355282"/>
              <a:gd name="connsiteY0" fmla="*/ 0 h 954186"/>
              <a:gd name="connsiteX1" fmla="*/ 148726 w 355282"/>
              <a:gd name="connsiteY1" fmla="*/ 398146 h 954186"/>
              <a:gd name="connsiteX2" fmla="*/ 355282 w 355282"/>
              <a:gd name="connsiteY2" fmla="*/ 413286 h 954186"/>
              <a:gd name="connsiteX3" fmla="*/ 45856 w 355282"/>
              <a:gd name="connsiteY3" fmla="*/ 954186 h 954186"/>
              <a:gd name="connsiteX4" fmla="*/ 209550 w 355282"/>
              <a:gd name="connsiteY4" fmla="*/ 493295 h 954186"/>
              <a:gd name="connsiteX5" fmla="*/ 0 w 355282"/>
              <a:gd name="connsiteY5" fmla="*/ 596047 h 954186"/>
              <a:gd name="connsiteX6" fmla="*/ 244793 w 355282"/>
              <a:gd name="connsiteY6" fmla="*/ 0 h 954186"/>
              <a:gd name="connsiteX0" fmla="*/ 244793 w 355282"/>
              <a:gd name="connsiteY0" fmla="*/ 0 h 954186"/>
              <a:gd name="connsiteX1" fmla="*/ 139201 w 355282"/>
              <a:gd name="connsiteY1" fmla="*/ 431483 h 954186"/>
              <a:gd name="connsiteX2" fmla="*/ 355282 w 355282"/>
              <a:gd name="connsiteY2" fmla="*/ 413286 h 954186"/>
              <a:gd name="connsiteX3" fmla="*/ 45856 w 355282"/>
              <a:gd name="connsiteY3" fmla="*/ 954186 h 954186"/>
              <a:gd name="connsiteX4" fmla="*/ 209550 w 355282"/>
              <a:gd name="connsiteY4" fmla="*/ 493295 h 954186"/>
              <a:gd name="connsiteX5" fmla="*/ 0 w 355282"/>
              <a:gd name="connsiteY5" fmla="*/ 596047 h 954186"/>
              <a:gd name="connsiteX6" fmla="*/ 244793 w 355282"/>
              <a:gd name="connsiteY6" fmla="*/ 0 h 954186"/>
              <a:gd name="connsiteX0" fmla="*/ 244793 w 331469"/>
              <a:gd name="connsiteY0" fmla="*/ 0 h 954186"/>
              <a:gd name="connsiteX1" fmla="*/ 139201 w 331469"/>
              <a:gd name="connsiteY1" fmla="*/ 431483 h 954186"/>
              <a:gd name="connsiteX2" fmla="*/ 331469 w 331469"/>
              <a:gd name="connsiteY2" fmla="*/ 408524 h 954186"/>
              <a:gd name="connsiteX3" fmla="*/ 45856 w 331469"/>
              <a:gd name="connsiteY3" fmla="*/ 954186 h 954186"/>
              <a:gd name="connsiteX4" fmla="*/ 209550 w 331469"/>
              <a:gd name="connsiteY4" fmla="*/ 493295 h 954186"/>
              <a:gd name="connsiteX5" fmla="*/ 0 w 331469"/>
              <a:gd name="connsiteY5" fmla="*/ 596047 h 954186"/>
              <a:gd name="connsiteX6" fmla="*/ 244793 w 331469"/>
              <a:gd name="connsiteY6" fmla="*/ 0 h 954186"/>
              <a:gd name="connsiteX0" fmla="*/ 287655 w 331469"/>
              <a:gd name="connsiteY0" fmla="*/ 0 h 949423"/>
              <a:gd name="connsiteX1" fmla="*/ 139201 w 331469"/>
              <a:gd name="connsiteY1" fmla="*/ 426720 h 949423"/>
              <a:gd name="connsiteX2" fmla="*/ 331469 w 331469"/>
              <a:gd name="connsiteY2" fmla="*/ 403761 h 949423"/>
              <a:gd name="connsiteX3" fmla="*/ 45856 w 331469"/>
              <a:gd name="connsiteY3" fmla="*/ 949423 h 949423"/>
              <a:gd name="connsiteX4" fmla="*/ 209550 w 331469"/>
              <a:gd name="connsiteY4" fmla="*/ 488532 h 949423"/>
              <a:gd name="connsiteX5" fmla="*/ 0 w 331469"/>
              <a:gd name="connsiteY5" fmla="*/ 591284 h 949423"/>
              <a:gd name="connsiteX6" fmla="*/ 287655 w 331469"/>
              <a:gd name="connsiteY6" fmla="*/ 0 h 949423"/>
              <a:gd name="connsiteX0" fmla="*/ 240030 w 331469"/>
              <a:gd name="connsiteY0" fmla="*/ 0 h 977998"/>
              <a:gd name="connsiteX1" fmla="*/ 139201 w 331469"/>
              <a:gd name="connsiteY1" fmla="*/ 455295 h 977998"/>
              <a:gd name="connsiteX2" fmla="*/ 331469 w 331469"/>
              <a:gd name="connsiteY2" fmla="*/ 432336 h 977998"/>
              <a:gd name="connsiteX3" fmla="*/ 45856 w 331469"/>
              <a:gd name="connsiteY3" fmla="*/ 977998 h 977998"/>
              <a:gd name="connsiteX4" fmla="*/ 209550 w 331469"/>
              <a:gd name="connsiteY4" fmla="*/ 517107 h 977998"/>
              <a:gd name="connsiteX5" fmla="*/ 0 w 331469"/>
              <a:gd name="connsiteY5" fmla="*/ 619859 h 977998"/>
              <a:gd name="connsiteX6" fmla="*/ 240030 w 331469"/>
              <a:gd name="connsiteY6" fmla="*/ 0 h 977998"/>
              <a:gd name="connsiteX0" fmla="*/ 240030 w 331469"/>
              <a:gd name="connsiteY0" fmla="*/ 0 h 977998"/>
              <a:gd name="connsiteX1" fmla="*/ 139201 w 331469"/>
              <a:gd name="connsiteY1" fmla="*/ 455295 h 977998"/>
              <a:gd name="connsiteX2" fmla="*/ 331469 w 331469"/>
              <a:gd name="connsiteY2" fmla="*/ 432336 h 977998"/>
              <a:gd name="connsiteX3" fmla="*/ 45856 w 331469"/>
              <a:gd name="connsiteY3" fmla="*/ 977998 h 977998"/>
              <a:gd name="connsiteX4" fmla="*/ 209550 w 331469"/>
              <a:gd name="connsiteY4" fmla="*/ 517107 h 977998"/>
              <a:gd name="connsiteX5" fmla="*/ 0 w 331469"/>
              <a:gd name="connsiteY5" fmla="*/ 619859 h 977998"/>
              <a:gd name="connsiteX6" fmla="*/ 240030 w 331469"/>
              <a:gd name="connsiteY6" fmla="*/ 0 h 977998"/>
              <a:gd name="connsiteX0" fmla="*/ 240030 w 326706"/>
              <a:gd name="connsiteY0" fmla="*/ 0 h 977998"/>
              <a:gd name="connsiteX1" fmla="*/ 139201 w 326706"/>
              <a:gd name="connsiteY1" fmla="*/ 455295 h 977998"/>
              <a:gd name="connsiteX2" fmla="*/ 326706 w 326706"/>
              <a:gd name="connsiteY2" fmla="*/ 389473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39201 w 326706"/>
              <a:gd name="connsiteY1" fmla="*/ 455295 h 977998"/>
              <a:gd name="connsiteX2" fmla="*/ 326706 w 326706"/>
              <a:gd name="connsiteY2" fmla="*/ 389473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20151 w 326706"/>
              <a:gd name="connsiteY1" fmla="*/ 474345 h 977998"/>
              <a:gd name="connsiteX2" fmla="*/ 326706 w 326706"/>
              <a:gd name="connsiteY2" fmla="*/ 389473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20151 w 326706"/>
              <a:gd name="connsiteY1" fmla="*/ 474345 h 977998"/>
              <a:gd name="connsiteX2" fmla="*/ 326706 w 326706"/>
              <a:gd name="connsiteY2" fmla="*/ 394236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 name="connsiteX0" fmla="*/ 240030 w 326706"/>
              <a:gd name="connsiteY0" fmla="*/ 0 h 977998"/>
              <a:gd name="connsiteX1" fmla="*/ 120151 w 326706"/>
              <a:gd name="connsiteY1" fmla="*/ 474345 h 977998"/>
              <a:gd name="connsiteX2" fmla="*/ 326706 w 326706"/>
              <a:gd name="connsiteY2" fmla="*/ 394236 h 977998"/>
              <a:gd name="connsiteX3" fmla="*/ 45856 w 326706"/>
              <a:gd name="connsiteY3" fmla="*/ 977998 h 977998"/>
              <a:gd name="connsiteX4" fmla="*/ 209550 w 326706"/>
              <a:gd name="connsiteY4" fmla="*/ 517107 h 977998"/>
              <a:gd name="connsiteX5" fmla="*/ 0 w 326706"/>
              <a:gd name="connsiteY5" fmla="*/ 619859 h 977998"/>
              <a:gd name="connsiteX6" fmla="*/ 240030 w 326706"/>
              <a:gd name="connsiteY6" fmla="*/ 0 h 97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6706" h="977998">
                <a:moveTo>
                  <a:pt x="240030" y="0"/>
                </a:moveTo>
                <a:lnTo>
                  <a:pt x="120151" y="474345"/>
                </a:lnTo>
                <a:cubicBezTo>
                  <a:pt x="213903" y="441434"/>
                  <a:pt x="223428" y="434290"/>
                  <a:pt x="326706" y="394236"/>
                </a:cubicBezTo>
                <a:lnTo>
                  <a:pt x="45856" y="977998"/>
                </a:lnTo>
                <a:lnTo>
                  <a:pt x="209550" y="517107"/>
                </a:lnTo>
                <a:lnTo>
                  <a:pt x="0" y="619859"/>
                </a:lnTo>
                <a:lnTo>
                  <a:pt x="240030" y="0"/>
                </a:lnTo>
                <a:close/>
              </a:path>
            </a:pathLst>
          </a:custGeom>
          <a:solidFill>
            <a:schemeClr val="bg2"/>
          </a:solidFill>
          <a:ln w="9525" cap="flat" cmpd="sng" algn="ctr">
            <a:noFill/>
            <a:prstDash val="solid"/>
            <a:round/>
            <a:headEnd type="none" w="med" len="med"/>
            <a:tailEnd type="none" w="med" len="med"/>
          </a:ln>
          <a:effectLst/>
        </p:spPr>
        <p:txBody>
          <a:bodyPr vert="horz" wrap="square" lIns="33231" tIns="43200" rIns="33231" bIns="43200" numCol="1" rtlCol="0" anchor="ctr" anchorCtr="0" compatLnSpc="1">
            <a:prstTxWarp prst="textNoShape">
              <a:avLst/>
            </a:prstTxWarp>
          </a:bodyPr>
          <a:lstStyle/>
          <a:p>
            <a:pPr marL="0" marR="0" lvl="0" indent="0" algn="ctr" defTabSz="844083" rtl="0" eaLnBrk="0" fontAlgn="base" latinLnBrk="0" hangingPunct="0">
              <a:lnSpc>
                <a:spcPct val="100000"/>
              </a:lnSpc>
              <a:spcBef>
                <a:spcPts val="0"/>
              </a:spcBef>
              <a:spcAft>
                <a:spcPts val="0"/>
              </a:spcAft>
              <a:buClrTx/>
              <a:buSzTx/>
              <a:buFontTx/>
              <a:buNone/>
              <a:tabLst/>
              <a:defRPr/>
            </a:pPr>
            <a:endParaRPr kumimoji="0" lang="de-DE" sz="1108" b="1" i="0" u="none" strike="noStrike" kern="1200" cap="none" spc="0" normalizeH="0" baseline="0" noProof="0">
              <a:ln>
                <a:noFill/>
              </a:ln>
              <a:solidFill>
                <a:srgbClr val="FFFFFF"/>
              </a:solidFill>
              <a:effectLst/>
              <a:uLnTx/>
              <a:uFillTx/>
              <a:latin typeface="Arial" charset="0"/>
              <a:ea typeface="+mn-ea"/>
              <a:cs typeface="+mn-cs"/>
            </a:endParaRPr>
          </a:p>
        </p:txBody>
      </p:sp>
      <p:grpSp>
        <p:nvGrpSpPr>
          <p:cNvPr id="38" name="Gruppieren 37"/>
          <p:cNvGrpSpPr/>
          <p:nvPr/>
        </p:nvGrpSpPr>
        <p:grpSpPr>
          <a:xfrm>
            <a:off x="189734" y="510488"/>
            <a:ext cx="1504978" cy="940955"/>
            <a:chOff x="174051" y="735480"/>
            <a:chExt cx="1630393" cy="1019368"/>
          </a:xfrm>
        </p:grpSpPr>
        <p:sp>
          <p:nvSpPr>
            <p:cNvPr id="39" name="Abgerundetes Rechteck 38"/>
            <p:cNvSpPr/>
            <p:nvPr/>
          </p:nvSpPr>
          <p:spPr bwMode="auto">
            <a:xfrm>
              <a:off x="174051" y="735480"/>
              <a:ext cx="1630393" cy="1019368"/>
            </a:xfrm>
            <a:prstGeom prst="round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33231" tIns="43200" rIns="33231" bIns="43200" numCol="1" rtlCol="0" anchor="ctr" anchorCtr="0" compatLnSpc="1">
              <a:prstTxWarp prst="textNoShape">
                <a:avLst/>
              </a:prstTxWarp>
            </a:bodyPr>
            <a:lstStyle/>
            <a:p>
              <a:pPr marL="0" marR="0" lvl="0" indent="0" algn="ctr" defTabSz="844083" rtl="0" eaLnBrk="0" fontAlgn="base" latinLnBrk="0" hangingPunct="0">
                <a:lnSpc>
                  <a:spcPct val="100000"/>
                </a:lnSpc>
                <a:spcBef>
                  <a:spcPts val="0"/>
                </a:spcBef>
                <a:spcAft>
                  <a:spcPts val="0"/>
                </a:spcAft>
                <a:buClrTx/>
                <a:buSzTx/>
                <a:buFontTx/>
                <a:buNone/>
                <a:tabLst/>
                <a:defRPr/>
              </a:pPr>
              <a:endParaRPr kumimoji="0" lang="en-GB" sz="1108" b="1" i="0" u="none" strike="noStrike" kern="1200" cap="none" spc="0" normalizeH="0" baseline="0" noProof="0" dirty="0" err="1">
                <a:ln>
                  <a:noFill/>
                </a:ln>
                <a:solidFill>
                  <a:srgbClr val="000000"/>
                </a:solidFill>
                <a:effectLst/>
                <a:uLnTx/>
                <a:uFillTx/>
                <a:latin typeface="Calibri"/>
                <a:ea typeface="+mn-ea"/>
                <a:cs typeface="+mn-cs"/>
              </a:endParaRPr>
            </a:p>
          </p:txBody>
        </p:sp>
        <p:pic>
          <p:nvPicPr>
            <p:cNvPr id="40" name="Grafik 39"/>
            <p:cNvPicPr>
              <a:picLocks noChangeAspect="1"/>
            </p:cNvPicPr>
            <p:nvPr/>
          </p:nvPicPr>
          <p:blipFill>
            <a:blip r:embed="rId4"/>
            <a:stretch>
              <a:fillRect/>
            </a:stretch>
          </p:blipFill>
          <p:spPr>
            <a:xfrm>
              <a:off x="281782" y="797762"/>
              <a:ext cx="1414929" cy="957086"/>
            </a:xfrm>
            <a:prstGeom prst="rect">
              <a:avLst/>
            </a:prstGeom>
          </p:spPr>
        </p:pic>
      </p:grpSp>
    </p:spTree>
    <p:extLst>
      <p:ext uri="{BB962C8B-B14F-4D97-AF65-F5344CB8AC3E}">
        <p14:creationId xmlns:p14="http://schemas.microsoft.com/office/powerpoint/2010/main" val="28680105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25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1250"/>
                                        <p:tgtEl>
                                          <p:spTgt spid="1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wipe(left)">
                                      <p:cBhvr>
                                        <p:cTn id="23" dur="1250"/>
                                        <p:tgtEl>
                                          <p:spTgt spid="1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wipe(left)">
                                      <p:cBhvr>
                                        <p:cTn id="31" dur="1250"/>
                                        <p:tgtEl>
                                          <p:spTgt spid="1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500"/>
                                        <p:tgtEl>
                                          <p:spTgt spid="10"/>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2" fill="hold" grpId="0" nodeType="click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wipe(right)">
                                      <p:cBhvr>
                                        <p:cTn id="39" dur="1250"/>
                                        <p:tgtEl>
                                          <p:spTgt spid="17"/>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2" fill="hold" grpId="0" nodeType="click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wipe(right)">
                                      <p:cBhvr>
                                        <p:cTn id="44" dur="1250"/>
                                        <p:tgtEl>
                                          <p:spTgt spid="18"/>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2" fill="hold" grpId="0" nodeType="click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wipe(right)">
                                      <p:cBhvr>
                                        <p:cTn id="49" dur="1250"/>
                                        <p:tgtEl>
                                          <p:spTgt spid="30"/>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2" fill="hold" grpId="0" nodeType="click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wipe(right)">
                                      <p:cBhvr>
                                        <p:cTn id="54" dur="1250"/>
                                        <p:tgtEl>
                                          <p:spTgt spid="22"/>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2" fill="hold" grpId="1" nodeType="click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wipe(right)">
                                      <p:cBhvr>
                                        <p:cTn id="59" dur="1250"/>
                                        <p:tgtEl>
                                          <p:spTgt spid="30"/>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2" fill="hold" grpId="0" nodeType="clickEffect">
                                  <p:stCondLst>
                                    <p:cond delay="0"/>
                                  </p:stCondLst>
                                  <p:childTnLst>
                                    <p:set>
                                      <p:cBhvr>
                                        <p:cTn id="63" dur="1" fill="hold">
                                          <p:stCondLst>
                                            <p:cond delay="0"/>
                                          </p:stCondLst>
                                        </p:cTn>
                                        <p:tgtEl>
                                          <p:spTgt spid="29"/>
                                        </p:tgtEl>
                                        <p:attrNameLst>
                                          <p:attrName>style.visibility</p:attrName>
                                        </p:attrNameLst>
                                      </p:cBhvr>
                                      <p:to>
                                        <p:strVal val="visible"/>
                                      </p:to>
                                    </p:set>
                                    <p:animEffect transition="in" filter="wipe(right)">
                                      <p:cBhvr>
                                        <p:cTn id="64" dur="1250"/>
                                        <p:tgtEl>
                                          <p:spTgt spid="29"/>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2" fill="hold" grpId="0" nodeType="clickEffect">
                                  <p:stCondLst>
                                    <p:cond delay="0"/>
                                  </p:stCondLst>
                                  <p:childTnLst>
                                    <p:set>
                                      <p:cBhvr>
                                        <p:cTn id="68" dur="1" fill="hold">
                                          <p:stCondLst>
                                            <p:cond delay="0"/>
                                          </p:stCondLst>
                                        </p:cTn>
                                        <p:tgtEl>
                                          <p:spTgt spid="23"/>
                                        </p:tgtEl>
                                        <p:attrNameLst>
                                          <p:attrName>style.visibility</p:attrName>
                                        </p:attrNameLst>
                                      </p:cBhvr>
                                      <p:to>
                                        <p:strVal val="visible"/>
                                      </p:to>
                                    </p:set>
                                    <p:animEffect transition="in" filter="wipe(right)">
                                      <p:cBhvr>
                                        <p:cTn id="69" dur="1250"/>
                                        <p:tgtEl>
                                          <p:spTgt spid="23"/>
                                        </p:tgtEl>
                                      </p:cBhvr>
                                    </p:animEffect>
                                  </p:childTnLst>
                                </p:cTn>
                              </p:par>
                            </p:childTnLst>
                          </p:cTn>
                        </p:par>
                      </p:childTnLst>
                    </p:cTn>
                  </p:par>
                  <p:par>
                    <p:cTn id="70" fill="hold">
                      <p:stCondLst>
                        <p:cond delay="indefinite"/>
                      </p:stCondLst>
                      <p:childTnLst>
                        <p:par>
                          <p:cTn id="71" fill="hold">
                            <p:stCondLst>
                              <p:cond delay="0"/>
                            </p:stCondLst>
                            <p:childTnLst>
                              <p:par>
                                <p:cTn id="72" presetID="22" presetClass="entr" presetSubtype="2" fill="hold" grpId="1" nodeType="clickEffect">
                                  <p:stCondLst>
                                    <p:cond delay="0"/>
                                  </p:stCondLst>
                                  <p:childTnLst>
                                    <p:set>
                                      <p:cBhvr>
                                        <p:cTn id="73" dur="1" fill="hold">
                                          <p:stCondLst>
                                            <p:cond delay="0"/>
                                          </p:stCondLst>
                                        </p:cTn>
                                        <p:tgtEl>
                                          <p:spTgt spid="29"/>
                                        </p:tgtEl>
                                        <p:attrNameLst>
                                          <p:attrName>style.visibility</p:attrName>
                                        </p:attrNameLst>
                                      </p:cBhvr>
                                      <p:to>
                                        <p:strVal val="visible"/>
                                      </p:to>
                                    </p:set>
                                    <p:animEffect transition="in" filter="wipe(right)">
                                      <p:cBhvr>
                                        <p:cTn id="74" dur="1250"/>
                                        <p:tgtEl>
                                          <p:spTgt spid="29"/>
                                        </p:tgtEl>
                                      </p:cBhvr>
                                    </p:animEffect>
                                  </p:childTnLst>
                                </p:cTn>
                              </p:par>
                            </p:childTnLst>
                          </p:cTn>
                        </p:par>
                      </p:childTnLst>
                    </p:cTn>
                  </p:par>
                  <p:par>
                    <p:cTn id="75" fill="hold">
                      <p:stCondLst>
                        <p:cond delay="indefinite"/>
                      </p:stCondLst>
                      <p:childTnLst>
                        <p:par>
                          <p:cTn id="76" fill="hold">
                            <p:stCondLst>
                              <p:cond delay="0"/>
                            </p:stCondLst>
                            <p:childTnLst>
                              <p:par>
                                <p:cTn id="77" presetID="22" presetClass="entr" presetSubtype="2" fill="hold" grpId="0" nodeType="clickEffect">
                                  <p:stCondLst>
                                    <p:cond delay="0"/>
                                  </p:stCondLst>
                                  <p:childTnLst>
                                    <p:set>
                                      <p:cBhvr>
                                        <p:cTn id="78" dur="1" fill="hold">
                                          <p:stCondLst>
                                            <p:cond delay="0"/>
                                          </p:stCondLst>
                                        </p:cTn>
                                        <p:tgtEl>
                                          <p:spTgt spid="27"/>
                                        </p:tgtEl>
                                        <p:attrNameLst>
                                          <p:attrName>style.visibility</p:attrName>
                                        </p:attrNameLst>
                                      </p:cBhvr>
                                      <p:to>
                                        <p:strVal val="visible"/>
                                      </p:to>
                                    </p:set>
                                    <p:animEffect transition="in" filter="wipe(right)">
                                      <p:cBhvr>
                                        <p:cTn id="79" dur="1250"/>
                                        <p:tgtEl>
                                          <p:spTgt spid="27"/>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25"/>
                                        </p:tgtEl>
                                        <p:attrNameLst>
                                          <p:attrName>style.visibility</p:attrName>
                                        </p:attrNameLst>
                                      </p:cBhvr>
                                      <p:to>
                                        <p:strVal val="visible"/>
                                      </p:to>
                                    </p:set>
                                    <p:animEffect transition="in" filter="fade">
                                      <p:cBhvr>
                                        <p:cTn id="84" dur="500"/>
                                        <p:tgtEl>
                                          <p:spTgt spid="25"/>
                                        </p:tgtEl>
                                      </p:cBhvr>
                                    </p:animEffect>
                                  </p:childTnLst>
                                </p:cTn>
                              </p:par>
                            </p:childTnLst>
                          </p:cTn>
                        </p:par>
                      </p:childTnLst>
                    </p:cTn>
                  </p:par>
                  <p:par>
                    <p:cTn id="85" fill="hold">
                      <p:stCondLst>
                        <p:cond delay="indefinite"/>
                      </p:stCondLst>
                      <p:childTnLst>
                        <p:par>
                          <p:cTn id="86" fill="hold">
                            <p:stCondLst>
                              <p:cond delay="0"/>
                            </p:stCondLst>
                            <p:childTnLst>
                              <p:par>
                                <p:cTn id="87" presetID="10" presetClass="entr" presetSubtype="0" fill="hold" grpId="0" nodeType="clickEffect">
                                  <p:stCondLst>
                                    <p:cond delay="0"/>
                                  </p:stCondLst>
                                  <p:childTnLst>
                                    <p:set>
                                      <p:cBhvr>
                                        <p:cTn id="88" dur="1" fill="hold">
                                          <p:stCondLst>
                                            <p:cond delay="0"/>
                                          </p:stCondLst>
                                        </p:cTn>
                                        <p:tgtEl>
                                          <p:spTgt spid="32"/>
                                        </p:tgtEl>
                                        <p:attrNameLst>
                                          <p:attrName>style.visibility</p:attrName>
                                        </p:attrNameLst>
                                      </p:cBhvr>
                                      <p:to>
                                        <p:strVal val="visible"/>
                                      </p:to>
                                    </p:set>
                                    <p:animEffect transition="in" filter="fade">
                                      <p:cBhvr>
                                        <p:cTn id="89" dur="500"/>
                                        <p:tgtEl>
                                          <p:spTgt spid="32"/>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33"/>
                                        </p:tgtEl>
                                        <p:attrNameLst>
                                          <p:attrName>style.visibility</p:attrName>
                                        </p:attrNameLst>
                                      </p:cBhvr>
                                      <p:to>
                                        <p:strVal val="visible"/>
                                      </p:to>
                                    </p:set>
                                    <p:animEffect transition="in" filter="fade">
                                      <p:cBhvr>
                                        <p:cTn id="92" dur="500"/>
                                        <p:tgtEl>
                                          <p:spTgt spid="33"/>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34"/>
                                        </p:tgtEl>
                                        <p:attrNameLst>
                                          <p:attrName>style.visibility</p:attrName>
                                        </p:attrNameLst>
                                      </p:cBhvr>
                                      <p:to>
                                        <p:strVal val="visible"/>
                                      </p:to>
                                    </p:set>
                                    <p:animEffect transition="in" filter="fade">
                                      <p:cBhvr>
                                        <p:cTn id="95"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8" grpId="0" animBg="1"/>
      <p:bldP spid="18" grpId="0" animBg="1"/>
      <p:bldP spid="22" grpId="0" animBg="1"/>
      <p:bldP spid="23" grpId="0" animBg="1"/>
      <p:bldP spid="29" grpId="0" animBg="1"/>
      <p:bldP spid="29" grpId="1" animBg="1"/>
      <p:bldP spid="27" grpId="0" animBg="1"/>
      <p:bldP spid="10" grpId="0" animBg="1"/>
      <p:bldP spid="9" grpId="0" animBg="1"/>
      <p:bldP spid="7" grpId="0" animBg="1"/>
      <p:bldP spid="30" grpId="0" animBg="1"/>
      <p:bldP spid="30" grpId="1" animBg="1"/>
      <p:bldP spid="25" grpId="0" animBg="1"/>
      <p:bldP spid="32" grpId="0" animBg="1"/>
      <p:bldP spid="33" grpId="0" animBg="1"/>
      <p:bldP spid="34"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0278" y="1773115"/>
            <a:ext cx="7977554" cy="1776535"/>
          </a:xfrm>
        </p:spPr>
        <p:txBody>
          <a:bodyPr/>
          <a:lstStyle/>
          <a:p>
            <a:r>
              <a:rPr lang="de-DE" sz="2000" dirty="0"/>
              <a:t>Neue Herausforderung „Komplexität“</a:t>
            </a:r>
            <a:br>
              <a:rPr lang="de-DE" sz="2000" dirty="0"/>
            </a:br>
            <a:r>
              <a:rPr lang="de-DE" sz="2000" dirty="0"/>
              <a:t>Die Folge der Digitalisierung ist Vernetzung. </a:t>
            </a:r>
            <a:br>
              <a:rPr lang="de-DE" sz="2000" dirty="0"/>
            </a:br>
            <a:r>
              <a:rPr lang="de-DE" sz="2000" dirty="0"/>
              <a:t>Und aus Vernetzung entsteht Komplexität</a:t>
            </a:r>
            <a:br>
              <a:rPr lang="de-DE" sz="2000" dirty="0"/>
            </a:br>
            <a:r>
              <a:rPr lang="de-DE" sz="2000" dirty="0"/>
              <a:t/>
            </a:r>
            <a:br>
              <a:rPr lang="de-DE" sz="2000" dirty="0"/>
            </a:br>
            <a:r>
              <a:rPr lang="de-DE" sz="2000" dirty="0"/>
              <a:t/>
            </a:r>
            <a:br>
              <a:rPr lang="de-DE" sz="2000" dirty="0"/>
            </a:br>
            <a:r>
              <a:rPr lang="de-DE" sz="2000" dirty="0"/>
              <a:t>Soll man sie reduzieren? </a:t>
            </a:r>
            <a:br>
              <a:rPr lang="de-DE" sz="2000" dirty="0"/>
            </a:br>
            <a:r>
              <a:rPr lang="de-DE" sz="2000" dirty="0"/>
              <a:t>Oder verstärken und nutzen</a:t>
            </a:r>
            <a:r>
              <a:rPr lang="de-DE" sz="2000" dirty="0" smtClean="0"/>
              <a:t>!</a:t>
            </a:r>
            <a:br>
              <a:rPr lang="de-DE" sz="2000" dirty="0" smtClean="0"/>
            </a:br>
            <a:r>
              <a:rPr lang="de-DE" sz="2000" dirty="0"/>
              <a:t/>
            </a:r>
            <a:br>
              <a:rPr lang="de-DE" sz="2000" dirty="0"/>
            </a:br>
            <a:r>
              <a:rPr lang="de-DE" sz="2000" dirty="0" smtClean="0"/>
              <a:t>Komplexität ist der neue Rohstoff der neuen Welt</a:t>
            </a:r>
            <a:br>
              <a:rPr lang="de-DE" sz="2000" dirty="0" smtClean="0"/>
            </a:br>
            <a:r>
              <a:rPr lang="de-DE" sz="2000" dirty="0" smtClean="0"/>
              <a:t>Komplexität ist die Quelle für Intelligenz und Kreativität</a:t>
            </a:r>
            <a:br>
              <a:rPr lang="de-DE" sz="2000" dirty="0" smtClean="0"/>
            </a:br>
            <a:r>
              <a:rPr lang="de-DE" sz="2000" dirty="0" smtClean="0"/>
              <a:t>Sie liefert neue Lösungen für bisher unlösbare Herausforderungen</a:t>
            </a:r>
            <a:r>
              <a:rPr lang="de-DE" sz="2585" dirty="0" smtClean="0"/>
              <a:t/>
            </a:r>
            <a:br>
              <a:rPr lang="de-DE" sz="2585" dirty="0" smtClean="0"/>
            </a:br>
            <a:endParaRPr lang="de-DE" sz="2585" dirty="0"/>
          </a:p>
        </p:txBody>
      </p:sp>
      <p:sp>
        <p:nvSpPr>
          <p:cNvPr id="3" name="Textplatzhalter 2"/>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1248133569"/>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9" name="Rechteck 4"/>
          <p:cNvSpPr>
            <a:spLocks noGrp="1" noChangeArrowheads="1"/>
          </p:cNvSpPr>
          <p:nvPr>
            <p:ph type="title"/>
          </p:nvPr>
        </p:nvSpPr>
        <p:spPr/>
        <p:txBody>
          <a:bodyPr wrap="none"/>
          <a:lstStyle/>
          <a:p>
            <a:r>
              <a:rPr lang="de-DE" sz="1800" dirty="0" err="1" smtClean="0"/>
              <a:t>ecopolicyade</a:t>
            </a:r>
            <a:r>
              <a:rPr lang="de-DE" sz="1800" dirty="0" smtClean="0"/>
              <a:t>® </a:t>
            </a:r>
            <a:br>
              <a:rPr lang="de-DE" sz="1800" dirty="0" smtClean="0"/>
            </a:br>
            <a:r>
              <a:rPr lang="de-DE" sz="1800" dirty="0" err="1" smtClean="0"/>
              <a:t>Germanywide</a:t>
            </a:r>
            <a:r>
              <a:rPr lang="de-DE" sz="1800" dirty="0" smtClean="0"/>
              <a:t> Finals in </a:t>
            </a:r>
            <a:r>
              <a:rPr lang="de-DE" sz="1800" dirty="0" err="1" smtClean="0"/>
              <a:t>the</a:t>
            </a:r>
            <a:r>
              <a:rPr lang="de-DE" sz="1800" dirty="0" smtClean="0"/>
              <a:t> German </a:t>
            </a:r>
            <a:r>
              <a:rPr lang="de-DE" sz="1800" dirty="0" err="1" smtClean="0"/>
              <a:t>Parliament</a:t>
            </a:r>
            <a:r>
              <a:rPr lang="de-DE" sz="1800" dirty="0" smtClean="0"/>
              <a:t>, Berlin 2010</a:t>
            </a:r>
          </a:p>
        </p:txBody>
      </p:sp>
      <p:pic>
        <p:nvPicPr>
          <p:cNvPr id="297986" name="Inhaltsplatzhalter 3" descr="Finale Berlin 2010 Gruppenfoto.JPG"/>
          <p:cNvPicPr>
            <a:picLocks noGrp="1" noChangeAspect="1"/>
          </p:cNvPicPr>
          <p:nvPr>
            <p:ph idx="4294967295"/>
          </p:nvPr>
        </p:nvPicPr>
        <p:blipFill>
          <a:blip r:embed="rId2" cstate="print"/>
          <a:srcRect b="22723"/>
          <a:stretch>
            <a:fillRect/>
          </a:stretch>
        </p:blipFill>
        <p:spPr>
          <a:xfrm>
            <a:off x="0" y="1417638"/>
            <a:ext cx="8361363" cy="4843462"/>
          </a:xfrm>
          <a:prstGeom prst="rect">
            <a:avLst/>
          </a:prstGeom>
        </p:spPr>
      </p:pic>
      <p:pic>
        <p:nvPicPr>
          <p:cNvPr id="297987" name="Grafik 5" descr="Finale 2010 Berlin Gesamtblick Bundestag.JPG"/>
          <p:cNvPicPr>
            <a:picLocks noChangeAspect="1"/>
          </p:cNvPicPr>
          <p:nvPr/>
        </p:nvPicPr>
        <p:blipFill>
          <a:blip r:embed="rId3" cstate="print"/>
          <a:srcRect/>
          <a:stretch>
            <a:fillRect/>
          </a:stretch>
        </p:blipFill>
        <p:spPr bwMode="auto">
          <a:xfrm>
            <a:off x="6854189" y="4416725"/>
            <a:ext cx="2991426" cy="2242877"/>
          </a:xfrm>
          <a:prstGeom prst="rect">
            <a:avLst/>
          </a:prstGeom>
          <a:noFill/>
          <a:ln w="9525">
            <a:noFill/>
            <a:miter lim="800000"/>
            <a:headEnd/>
            <a:tailEnd/>
          </a:ln>
        </p:spPr>
      </p:pic>
      <p:pic>
        <p:nvPicPr>
          <p:cNvPr id="297988" name="Grafik 6" descr="Finale 2010_Siegerteam aus NRW.JPG"/>
          <p:cNvPicPr>
            <a:picLocks noChangeAspect="1"/>
          </p:cNvPicPr>
          <p:nvPr/>
        </p:nvPicPr>
        <p:blipFill>
          <a:blip r:embed="rId4" cstate="print"/>
          <a:srcRect/>
          <a:stretch>
            <a:fillRect/>
          </a:stretch>
        </p:blipFill>
        <p:spPr bwMode="auto">
          <a:xfrm>
            <a:off x="0" y="4067238"/>
            <a:ext cx="3597275" cy="2697162"/>
          </a:xfrm>
          <a:prstGeom prst="rect">
            <a:avLst/>
          </a:prstGeom>
          <a:noFill/>
          <a:ln w="9525">
            <a:noFill/>
            <a:miter lim="800000"/>
            <a:headEnd/>
            <a:tailEnd/>
          </a:ln>
        </p:spPr>
      </p:pic>
    </p:spTree>
    <p:extLst>
      <p:ext uri="{BB962C8B-B14F-4D97-AF65-F5344CB8AC3E}">
        <p14:creationId xmlns:p14="http://schemas.microsoft.com/office/powerpoint/2010/main" val="2609098112"/>
      </p:ext>
    </p:extLst>
  </p:cSld>
  <p:clrMapOvr>
    <a:masterClrMapping/>
  </p:clrMapOvr>
  <p:transition spd="slow"/>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2"/>
          </p:nvPr>
        </p:nvSpPr>
        <p:spPr>
          <a:xfrm>
            <a:off x="636587" y="1621200"/>
            <a:ext cx="8654062" cy="2275200"/>
          </a:xfrm>
        </p:spPr>
        <p:txBody>
          <a:bodyPr/>
          <a:lstStyle/>
          <a:p>
            <a:pPr marL="0" lvl="0" indent="0" algn="ctr"/>
            <a:r>
              <a:rPr lang="en-US" b="1" dirty="0"/>
              <a:t>“Die Grosse Transformation21</a:t>
            </a:r>
            <a:r>
              <a:rPr lang="en-US" b="1" dirty="0" smtClean="0"/>
              <a:t>” und </a:t>
            </a:r>
            <a:r>
              <a:rPr lang="en-US" b="1" dirty="0"/>
              <a:t>der </a:t>
            </a:r>
            <a:r>
              <a:rPr lang="en-US" b="1" dirty="0" err="1"/>
              <a:t>Klimawandel</a:t>
            </a:r>
            <a:r>
              <a:rPr lang="en-US" b="1" dirty="0"/>
              <a:t> </a:t>
            </a:r>
            <a:r>
              <a:rPr lang="en-US" b="1" dirty="0" err="1" smtClean="0"/>
              <a:t>Herausforderungen</a:t>
            </a:r>
            <a:r>
              <a:rPr lang="en-US" b="1" dirty="0" smtClean="0"/>
              <a:t> </a:t>
            </a:r>
            <a:r>
              <a:rPr lang="en-US" b="1" dirty="0"/>
              <a:t>und </a:t>
            </a:r>
            <a:r>
              <a:rPr lang="en-US" b="1" dirty="0" err="1"/>
              <a:t>Lösungen</a:t>
            </a:r>
            <a:r>
              <a:rPr lang="en-US" b="1" dirty="0"/>
              <a:t> </a:t>
            </a:r>
            <a:endParaRPr lang="en-US" b="1" dirty="0" smtClean="0">
              <a:solidFill>
                <a:srgbClr val="000000"/>
              </a:solidFill>
            </a:endParaRPr>
          </a:p>
          <a:p>
            <a:pPr marL="0" lvl="0" indent="0" algn="ctr"/>
            <a:r>
              <a:rPr lang="en-US" b="1" dirty="0" smtClean="0">
                <a:solidFill>
                  <a:srgbClr val="000000"/>
                </a:solidFill>
              </a:rPr>
              <a:t/>
            </a:r>
            <a:br>
              <a:rPr lang="en-US" b="1" dirty="0" smtClean="0">
                <a:solidFill>
                  <a:srgbClr val="000000"/>
                </a:solidFill>
              </a:rPr>
            </a:br>
            <a:r>
              <a:rPr lang="en-US" b="1" dirty="0" smtClean="0">
                <a:solidFill>
                  <a:srgbClr val="000000"/>
                </a:solidFill>
              </a:rPr>
              <a:t>Prof</a:t>
            </a:r>
            <a:r>
              <a:rPr lang="en-US" b="1" dirty="0">
                <a:solidFill>
                  <a:srgbClr val="000000"/>
                </a:solidFill>
              </a:rPr>
              <a:t>. Dr. </a:t>
            </a:r>
            <a:r>
              <a:rPr lang="en-US" b="1" dirty="0" err="1">
                <a:solidFill>
                  <a:srgbClr val="000000"/>
                </a:solidFill>
              </a:rPr>
              <a:t>Fredmund</a:t>
            </a:r>
            <a:r>
              <a:rPr lang="en-US" b="1" dirty="0">
                <a:solidFill>
                  <a:srgbClr val="000000"/>
                </a:solidFill>
              </a:rPr>
              <a:t> </a:t>
            </a:r>
            <a:r>
              <a:rPr lang="en-US" b="1" dirty="0" smtClean="0">
                <a:solidFill>
                  <a:srgbClr val="000000"/>
                </a:solidFill>
              </a:rPr>
              <a:t>Malik</a:t>
            </a:r>
            <a:br>
              <a:rPr lang="en-US" b="1" dirty="0" smtClean="0">
                <a:solidFill>
                  <a:srgbClr val="000000"/>
                </a:solidFill>
              </a:rPr>
            </a:br>
            <a:r>
              <a:rPr lang="en-US" b="1" dirty="0" err="1" smtClean="0">
                <a:solidFill>
                  <a:srgbClr val="000000"/>
                </a:solidFill>
              </a:rPr>
              <a:t>Malik</a:t>
            </a:r>
            <a:r>
              <a:rPr lang="en-US" b="1" dirty="0" smtClean="0">
                <a:solidFill>
                  <a:srgbClr val="000000"/>
                </a:solidFill>
              </a:rPr>
              <a:t> </a:t>
            </a:r>
            <a:r>
              <a:rPr lang="en-US" b="1" dirty="0" err="1">
                <a:solidFill>
                  <a:srgbClr val="000000"/>
                </a:solidFill>
              </a:rPr>
              <a:t>Institut</a:t>
            </a:r>
            <a:r>
              <a:rPr lang="en-US" b="1" dirty="0">
                <a:solidFill>
                  <a:srgbClr val="000000"/>
                </a:solidFill>
              </a:rPr>
              <a:t>, St. </a:t>
            </a:r>
            <a:r>
              <a:rPr lang="en-US" b="1" dirty="0" err="1">
                <a:solidFill>
                  <a:srgbClr val="000000"/>
                </a:solidFill>
              </a:rPr>
              <a:t>Gallen</a:t>
            </a:r>
            <a:r>
              <a:rPr lang="en-US" b="1" dirty="0">
                <a:solidFill>
                  <a:srgbClr val="000000"/>
                </a:solidFill>
              </a:rPr>
              <a:t/>
            </a:r>
            <a:br>
              <a:rPr lang="en-US" b="1" dirty="0">
                <a:solidFill>
                  <a:srgbClr val="000000"/>
                </a:solidFill>
              </a:rPr>
            </a:br>
            <a:r>
              <a:rPr lang="en-US" b="1" dirty="0">
                <a:solidFill>
                  <a:srgbClr val="000000"/>
                </a:solidFill>
              </a:rPr>
              <a:t>Malik International AG </a:t>
            </a:r>
            <a:br>
              <a:rPr lang="en-US" b="1" dirty="0">
                <a:solidFill>
                  <a:srgbClr val="000000"/>
                </a:solidFill>
              </a:rPr>
            </a:br>
            <a:r>
              <a:rPr lang="en-US" b="1" dirty="0">
                <a:solidFill>
                  <a:srgbClr val="000000"/>
                </a:solidFill>
              </a:rPr>
              <a:t>Management-</a:t>
            </a:r>
            <a:r>
              <a:rPr lang="en-US" b="1" dirty="0" err="1">
                <a:solidFill>
                  <a:srgbClr val="000000"/>
                </a:solidFill>
              </a:rPr>
              <a:t>Lösungen</a:t>
            </a:r>
            <a:r>
              <a:rPr lang="en-US" b="1" dirty="0">
                <a:solidFill>
                  <a:srgbClr val="000000"/>
                </a:solidFill>
              </a:rPr>
              <a:t> </a:t>
            </a:r>
            <a:r>
              <a:rPr lang="en-US" b="1" dirty="0" err="1">
                <a:solidFill>
                  <a:srgbClr val="000000"/>
                </a:solidFill>
              </a:rPr>
              <a:t>für</a:t>
            </a:r>
            <a:r>
              <a:rPr lang="en-US" b="1" dirty="0">
                <a:solidFill>
                  <a:srgbClr val="000000"/>
                </a:solidFill>
              </a:rPr>
              <a:t> </a:t>
            </a:r>
            <a:r>
              <a:rPr lang="en-US" b="1" dirty="0" err="1">
                <a:solidFill>
                  <a:srgbClr val="000000"/>
                </a:solidFill>
              </a:rPr>
              <a:t>Ökosysteme</a:t>
            </a:r>
            <a:r>
              <a:rPr lang="en-US" b="1" dirty="0">
                <a:solidFill>
                  <a:srgbClr val="000000"/>
                </a:solidFill>
              </a:rPr>
              <a:t>, </a:t>
            </a:r>
            <a:r>
              <a:rPr lang="en-US" b="1" dirty="0" err="1">
                <a:solidFill>
                  <a:srgbClr val="000000"/>
                </a:solidFill>
              </a:rPr>
              <a:t>Komplexität</a:t>
            </a:r>
            <a:r>
              <a:rPr lang="en-US" b="1" dirty="0">
                <a:solidFill>
                  <a:srgbClr val="000000"/>
                </a:solidFill>
              </a:rPr>
              <a:t> und </a:t>
            </a:r>
            <a:r>
              <a:rPr lang="en-US" b="1" dirty="0" err="1">
                <a:solidFill>
                  <a:srgbClr val="000000"/>
                </a:solidFill>
              </a:rPr>
              <a:t>Vernetzung</a:t>
            </a:r>
            <a:r>
              <a:rPr lang="en-US" b="1" dirty="0">
                <a:solidFill>
                  <a:srgbClr val="000000"/>
                </a:solidFill>
              </a:rPr>
              <a:t>  </a:t>
            </a:r>
          </a:p>
          <a:p>
            <a:pPr lvl="0" algn="ctr"/>
            <a:r>
              <a:rPr lang="en-US" b="1" dirty="0" err="1">
                <a:solidFill>
                  <a:srgbClr val="000000"/>
                </a:solidFill>
              </a:rPr>
              <a:t>Ende</a:t>
            </a:r>
            <a:r>
              <a:rPr lang="en-US" b="1" dirty="0">
                <a:solidFill>
                  <a:srgbClr val="000000"/>
                </a:solidFill>
              </a:rPr>
              <a:t> </a:t>
            </a:r>
          </a:p>
          <a:p>
            <a:endParaRPr lang="en-GB" dirty="0"/>
          </a:p>
        </p:txBody>
      </p:sp>
      <p:sp>
        <p:nvSpPr>
          <p:cNvPr id="2" name="Titel 1"/>
          <p:cNvSpPr>
            <a:spLocks noGrp="1"/>
          </p:cNvSpPr>
          <p:nvPr>
            <p:ph type="title" idx="4294967295"/>
          </p:nvPr>
        </p:nvSpPr>
        <p:spPr>
          <a:xfrm>
            <a:off x="1265238" y="2884488"/>
            <a:ext cx="8640762" cy="376237"/>
          </a:xfrm>
        </p:spPr>
        <p:txBody>
          <a:bodyPr/>
          <a:lstStyle/>
          <a:p>
            <a:r>
              <a:rPr lang="en-US" dirty="0" smtClean="0"/>
              <a:t/>
            </a:r>
            <a:br>
              <a:rPr lang="en-US" dirty="0" smtClean="0"/>
            </a:br>
            <a:r>
              <a:rPr lang="en-US" dirty="0"/>
              <a:t/>
            </a:r>
            <a:br>
              <a:rPr lang="en-US" dirty="0"/>
            </a:br>
            <a:endParaRPr lang="en-US" dirty="0"/>
          </a:p>
        </p:txBody>
      </p:sp>
    </p:spTree>
    <p:extLst>
      <p:ext uri="{BB962C8B-B14F-4D97-AF65-F5344CB8AC3E}">
        <p14:creationId xmlns:p14="http://schemas.microsoft.com/office/powerpoint/2010/main" val="2593170992"/>
      </p:ext>
    </p:extLst>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7571" name="Picture 4"/>
          <p:cNvPicPr>
            <a:picLocks noChangeAspect="1" noChangeArrowheads="1"/>
          </p:cNvPicPr>
          <p:nvPr/>
        </p:nvPicPr>
        <p:blipFill>
          <a:blip r:embed="rId3" cstate="print"/>
          <a:srcRect l="626"/>
          <a:stretch>
            <a:fillRect/>
          </a:stretch>
        </p:blipFill>
        <p:spPr bwMode="auto">
          <a:xfrm>
            <a:off x="5627688" y="5927725"/>
            <a:ext cx="3897312" cy="592138"/>
          </a:xfrm>
          <a:prstGeom prst="rect">
            <a:avLst/>
          </a:prstGeom>
          <a:noFill/>
          <a:ln w="9525" algn="ctr">
            <a:noFill/>
            <a:miter lim="800000"/>
            <a:headEnd/>
            <a:tailEnd/>
          </a:ln>
        </p:spPr>
      </p:pic>
      <p:pic>
        <p:nvPicPr>
          <p:cNvPr id="237572" name="Grafik 6" descr="P1010312_Bundestagsgebäude gegenüber.JPG"/>
          <p:cNvPicPr>
            <a:picLocks noChangeAspect="1"/>
          </p:cNvPicPr>
          <p:nvPr/>
        </p:nvPicPr>
        <p:blipFill>
          <a:blip r:embed="rId4" cstate="print"/>
          <a:srcRect/>
          <a:stretch>
            <a:fillRect/>
          </a:stretch>
        </p:blipFill>
        <p:spPr bwMode="auto">
          <a:xfrm>
            <a:off x="5486400" y="2686050"/>
            <a:ext cx="4205288" cy="3154363"/>
          </a:xfrm>
          <a:prstGeom prst="rect">
            <a:avLst/>
          </a:prstGeom>
          <a:noFill/>
          <a:ln w="9525">
            <a:noFill/>
            <a:miter lim="800000"/>
            <a:headEnd/>
            <a:tailEnd/>
          </a:ln>
        </p:spPr>
      </p:pic>
      <p:pic>
        <p:nvPicPr>
          <p:cNvPr id="237573" name="Grafik 8" descr="IMG_1577.JPG"/>
          <p:cNvPicPr>
            <a:picLocks noChangeAspect="1"/>
          </p:cNvPicPr>
          <p:nvPr/>
        </p:nvPicPr>
        <p:blipFill>
          <a:blip r:embed="rId5" cstate="print"/>
          <a:srcRect/>
          <a:stretch>
            <a:fillRect/>
          </a:stretch>
        </p:blipFill>
        <p:spPr bwMode="auto">
          <a:xfrm>
            <a:off x="128588" y="2686050"/>
            <a:ext cx="5213350" cy="3910013"/>
          </a:xfrm>
          <a:prstGeom prst="rect">
            <a:avLst/>
          </a:prstGeom>
          <a:noFill/>
          <a:ln w="9525">
            <a:noFill/>
            <a:miter lim="800000"/>
            <a:headEnd/>
            <a:tailEnd/>
          </a:ln>
        </p:spPr>
      </p:pic>
      <p:pic>
        <p:nvPicPr>
          <p:cNvPr id="237574" name="Grafik 9" descr="IMG_1768 Gruppenbild Sieger1-3.JPG"/>
          <p:cNvPicPr>
            <a:picLocks noChangeAspect="1"/>
          </p:cNvPicPr>
          <p:nvPr/>
        </p:nvPicPr>
        <p:blipFill>
          <a:blip r:embed="rId6" cstate="print"/>
          <a:srcRect t="23492" b="47513"/>
          <a:stretch>
            <a:fillRect/>
          </a:stretch>
        </p:blipFill>
        <p:spPr bwMode="auto">
          <a:xfrm>
            <a:off x="381000" y="1385046"/>
            <a:ext cx="9144000" cy="1989137"/>
          </a:xfrm>
          <a:prstGeom prst="rect">
            <a:avLst/>
          </a:prstGeom>
          <a:noFill/>
          <a:ln w="9525">
            <a:noFill/>
            <a:miter lim="800000"/>
            <a:headEnd/>
            <a:tailEnd/>
          </a:ln>
        </p:spPr>
      </p:pic>
      <p:sp>
        <p:nvSpPr>
          <p:cNvPr id="2" name="Titel 1"/>
          <p:cNvSpPr>
            <a:spLocks noGrp="1"/>
          </p:cNvSpPr>
          <p:nvPr>
            <p:ph type="title"/>
          </p:nvPr>
        </p:nvSpPr>
        <p:spPr/>
        <p:txBody>
          <a:bodyPr/>
          <a:lstStyle/>
          <a:p>
            <a:r>
              <a:rPr lang="de-DE" sz="1800" kern="1200" dirty="0" err="1">
                <a:latin typeface="Arial" charset="0"/>
              </a:rPr>
              <a:t>ecopolicyade</a:t>
            </a:r>
            <a:r>
              <a:rPr lang="de-DE" sz="1800" kern="1200" dirty="0">
                <a:latin typeface="Arial" charset="0"/>
              </a:rPr>
              <a:t>® Contest 2009</a:t>
            </a:r>
            <a:br>
              <a:rPr lang="de-DE" sz="1800" kern="1200" dirty="0">
                <a:latin typeface="Arial" charset="0"/>
              </a:rPr>
            </a:br>
            <a:r>
              <a:rPr lang="de-DE" sz="1800" kern="1200" dirty="0">
                <a:latin typeface="Arial" charset="0"/>
              </a:rPr>
              <a:t>The Finals </a:t>
            </a:r>
            <a:r>
              <a:rPr lang="de-DE" sz="1800" kern="1200" dirty="0" err="1">
                <a:latin typeface="Arial" charset="0"/>
              </a:rPr>
              <a:t>and</a:t>
            </a:r>
            <a:r>
              <a:rPr lang="de-DE" sz="1800" kern="1200" dirty="0">
                <a:latin typeface="Arial" charset="0"/>
              </a:rPr>
              <a:t> </a:t>
            </a:r>
            <a:r>
              <a:rPr lang="de-DE" sz="1800" kern="1200" dirty="0" err="1">
                <a:latin typeface="Arial" charset="0"/>
              </a:rPr>
              <a:t>the</a:t>
            </a:r>
            <a:r>
              <a:rPr lang="de-DE" sz="1800" kern="1200" dirty="0">
                <a:latin typeface="Arial" charset="0"/>
              </a:rPr>
              <a:t> </a:t>
            </a:r>
            <a:r>
              <a:rPr lang="de-DE" sz="1800" kern="1200" dirty="0" err="1">
                <a:latin typeface="Arial" charset="0"/>
              </a:rPr>
              <a:t>Winning</a:t>
            </a:r>
            <a:r>
              <a:rPr lang="de-DE" sz="1800" kern="1200" dirty="0">
                <a:latin typeface="Arial" charset="0"/>
              </a:rPr>
              <a:t> Teams in </a:t>
            </a:r>
            <a:r>
              <a:rPr lang="de-DE" sz="1800" kern="1200" dirty="0" err="1">
                <a:latin typeface="Arial" charset="0"/>
              </a:rPr>
              <a:t>the</a:t>
            </a:r>
            <a:r>
              <a:rPr lang="de-DE" sz="1800" kern="1200" dirty="0">
                <a:latin typeface="Arial" charset="0"/>
              </a:rPr>
              <a:t> German </a:t>
            </a:r>
            <a:r>
              <a:rPr lang="de-DE" sz="1800" kern="1200" dirty="0" err="1">
                <a:latin typeface="Arial" charset="0"/>
              </a:rPr>
              <a:t>Parliament</a:t>
            </a:r>
            <a:r>
              <a:rPr lang="de-DE" sz="1800" kern="1200" dirty="0">
                <a:latin typeface="Arial" charset="0"/>
              </a:rPr>
              <a:t/>
            </a:r>
            <a:br>
              <a:rPr lang="de-DE" sz="1800" kern="1200" dirty="0">
                <a:latin typeface="Arial" charset="0"/>
              </a:rPr>
            </a:br>
            <a:endParaRPr lang="en-GB" sz="1800" dirty="0"/>
          </a:p>
        </p:txBody>
      </p:sp>
    </p:spTree>
    <p:extLst>
      <p:ext uri="{BB962C8B-B14F-4D97-AF65-F5344CB8AC3E}">
        <p14:creationId xmlns:p14="http://schemas.microsoft.com/office/powerpoint/2010/main" val="2183022667"/>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sz="1800" dirty="0" smtClean="0"/>
              <a:t>Excited students at the Final competition of one School</a:t>
            </a:r>
            <a:endParaRPr lang="en-GB" sz="1800" dirty="0"/>
          </a:p>
        </p:txBody>
      </p:sp>
      <p:pic>
        <p:nvPicPr>
          <p:cNvPr id="3" name="Grafik 2"/>
          <p:cNvPicPr>
            <a:picLocks noChangeAspect="1"/>
          </p:cNvPicPr>
          <p:nvPr/>
        </p:nvPicPr>
        <p:blipFill rotWithShape="1">
          <a:blip r:embed="rId2"/>
          <a:srcRect b="699"/>
          <a:stretch/>
        </p:blipFill>
        <p:spPr>
          <a:xfrm>
            <a:off x="1499379" y="1478891"/>
            <a:ext cx="6648450" cy="4369818"/>
          </a:xfrm>
          <a:prstGeom prst="rect">
            <a:avLst/>
          </a:prstGeom>
        </p:spPr>
      </p:pic>
    </p:spTree>
    <p:extLst>
      <p:ext uri="{BB962C8B-B14F-4D97-AF65-F5344CB8AC3E}">
        <p14:creationId xmlns:p14="http://schemas.microsoft.com/office/powerpoint/2010/main" val="682229606"/>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sz="1800" dirty="0" smtClean="0"/>
              <a:t>Listening in silence </a:t>
            </a:r>
            <a:endParaRPr lang="en-GB" sz="1800" dirty="0"/>
          </a:p>
        </p:txBody>
      </p:sp>
      <p:pic>
        <p:nvPicPr>
          <p:cNvPr id="3" name="Grafik 2"/>
          <p:cNvPicPr>
            <a:picLocks noChangeAspect="1"/>
          </p:cNvPicPr>
          <p:nvPr/>
        </p:nvPicPr>
        <p:blipFill>
          <a:blip r:embed="rId2"/>
          <a:stretch>
            <a:fillRect/>
          </a:stretch>
        </p:blipFill>
        <p:spPr>
          <a:xfrm>
            <a:off x="1539875" y="1516361"/>
            <a:ext cx="6819900" cy="4429125"/>
          </a:xfrm>
          <a:prstGeom prst="rect">
            <a:avLst/>
          </a:prstGeom>
        </p:spPr>
      </p:pic>
    </p:spTree>
    <p:extLst>
      <p:ext uri="{BB962C8B-B14F-4D97-AF65-F5344CB8AC3E}">
        <p14:creationId xmlns:p14="http://schemas.microsoft.com/office/powerpoint/2010/main" val="1844256184"/>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kern="1200" dirty="0" err="1">
                <a:latin typeface="Arial"/>
              </a:rPr>
              <a:t>ecopolicyade</a:t>
            </a:r>
            <a:r>
              <a:rPr lang="de-CH" kern="1200" baseline="30000" dirty="0">
                <a:latin typeface="Arial"/>
              </a:rPr>
              <a:t>®</a:t>
            </a:r>
            <a:r>
              <a:rPr lang="de-CH" kern="1200" dirty="0">
                <a:latin typeface="Arial"/>
              </a:rPr>
              <a:t> </a:t>
            </a:r>
            <a:br>
              <a:rPr lang="de-CH" kern="1200" dirty="0">
                <a:latin typeface="Arial"/>
              </a:rPr>
            </a:br>
            <a:r>
              <a:rPr lang="de-CH" kern="1200" dirty="0">
                <a:latin typeface="Arial"/>
              </a:rPr>
              <a:t>2005 - 2008 - 2010 - 2011 - 2014 - bundesweit &amp; international</a:t>
            </a:r>
            <a:br>
              <a:rPr lang="de-CH" kern="1200" dirty="0">
                <a:latin typeface="Arial"/>
              </a:rPr>
            </a:br>
            <a:endParaRPr lang="en-GB" dirty="0"/>
          </a:p>
        </p:txBody>
      </p:sp>
      <p:sp>
        <p:nvSpPr>
          <p:cNvPr id="21506" name="Inhaltsplatzhalter 2"/>
          <p:cNvSpPr>
            <a:spLocks noGrp="1"/>
          </p:cNvSpPr>
          <p:nvPr>
            <p:ph idx="4294967295"/>
          </p:nvPr>
        </p:nvSpPr>
        <p:spPr>
          <a:xfrm>
            <a:off x="0" y="1781175"/>
            <a:ext cx="8839200" cy="4683125"/>
          </a:xfrm>
        </p:spPr>
        <p:txBody>
          <a:bodyPr/>
          <a:lstStyle/>
          <a:p>
            <a:endParaRPr lang="de-CH" altLang="de-DE" sz="2400" smtClean="0"/>
          </a:p>
          <a:p>
            <a:endParaRPr lang="de-CH" altLang="de-DE" sz="2400" smtClean="0"/>
          </a:p>
          <a:p>
            <a:endParaRPr lang="de-CH" altLang="de-DE" sz="2400" smtClean="0"/>
          </a:p>
          <a:p>
            <a:endParaRPr lang="de-CH" altLang="de-DE" sz="2400" smtClean="0"/>
          </a:p>
          <a:p>
            <a:endParaRPr lang="de-CH" altLang="de-DE" sz="2400" smtClean="0"/>
          </a:p>
        </p:txBody>
      </p:sp>
      <p:sp>
        <p:nvSpPr>
          <p:cNvPr id="21508" name="Inhaltsplatzhalter 2"/>
          <p:cNvSpPr txBox="1">
            <a:spLocks/>
          </p:cNvSpPr>
          <p:nvPr/>
        </p:nvSpPr>
        <p:spPr bwMode="auto">
          <a:xfrm>
            <a:off x="298810" y="1550988"/>
            <a:ext cx="9512300" cy="4913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85750" indent="-285750">
              <a:spcAft>
                <a:spcPct val="20000"/>
              </a:spcAft>
              <a:buClr>
                <a:srgbClr val="000000"/>
              </a:buClr>
              <a:defRPr sz="1600">
                <a:solidFill>
                  <a:schemeClr val="tx1"/>
                </a:solidFill>
                <a:latin typeface="Arial" panose="020B0604020202020204" pitchFamily="34" charset="0"/>
              </a:defRPr>
            </a:lvl1pPr>
            <a:lvl2pPr marL="279400" indent="-279400">
              <a:buClr>
                <a:srgbClr val="000000"/>
              </a:buClr>
              <a:buFont typeface="Arial" panose="020B0604020202020204" pitchFamily="34" charset="0"/>
              <a:buAutoNum type="arabicPeriod"/>
              <a:tabLst>
                <a:tab pos="361950" algn="l"/>
              </a:tabLst>
              <a:defRPr sz="1600">
                <a:solidFill>
                  <a:schemeClr val="tx1"/>
                </a:solidFill>
                <a:latin typeface="Arial" panose="020B0604020202020204" pitchFamily="34" charset="0"/>
              </a:defRPr>
            </a:lvl2pPr>
            <a:lvl3pPr marL="539750" indent="-269875" defTabSz="889000">
              <a:buClr>
                <a:srgbClr val="000000"/>
              </a:buClr>
              <a:buFont typeface="Arial" panose="020B0604020202020204" pitchFamily="34" charset="0"/>
              <a:buAutoNum type="alphaLcPeriod"/>
              <a:defRPr sz="1600">
                <a:solidFill>
                  <a:schemeClr val="tx1"/>
                </a:solidFill>
                <a:latin typeface="Arial" panose="020B0604020202020204" pitchFamily="34" charset="0"/>
              </a:defRPr>
            </a:lvl3pPr>
            <a:lvl4pPr marL="863600" indent="-269875">
              <a:buClr>
                <a:srgbClr val="000000"/>
              </a:buClr>
              <a:buFont typeface="Arial" panose="020B0604020202020204" pitchFamily="34" charset="0"/>
              <a:buAutoNum type="romanLcPeriod"/>
              <a:defRPr sz="1600">
                <a:solidFill>
                  <a:schemeClr val="tx1"/>
                </a:solidFill>
                <a:latin typeface="Arial" panose="020B0604020202020204" pitchFamily="34" charset="0"/>
              </a:defRPr>
            </a:lvl4pPr>
            <a:lvl5pPr marL="1346200" indent="-177800">
              <a:spcAft>
                <a:spcPct val="20000"/>
              </a:spcAft>
              <a:buClr>
                <a:schemeClr val="tx1"/>
              </a:buClr>
              <a:buChar char="-"/>
              <a:defRPr sz="1600">
                <a:solidFill>
                  <a:schemeClr val="tx1"/>
                </a:solidFill>
                <a:latin typeface="Arial" panose="020B0604020202020204" pitchFamily="34" charset="0"/>
              </a:defRPr>
            </a:lvl5pPr>
            <a:lvl6pPr marL="1803400" indent="-177800" eaLnBrk="0" fontAlgn="base" hangingPunct="0">
              <a:spcBef>
                <a:spcPct val="0"/>
              </a:spcBef>
              <a:spcAft>
                <a:spcPct val="20000"/>
              </a:spcAft>
              <a:buClr>
                <a:schemeClr val="tx1"/>
              </a:buClr>
              <a:buChar char="-"/>
              <a:defRPr sz="1600">
                <a:solidFill>
                  <a:schemeClr val="tx1"/>
                </a:solidFill>
                <a:latin typeface="Arial" panose="020B0604020202020204" pitchFamily="34" charset="0"/>
              </a:defRPr>
            </a:lvl6pPr>
            <a:lvl7pPr marL="2260600" indent="-177800" eaLnBrk="0" fontAlgn="base" hangingPunct="0">
              <a:spcBef>
                <a:spcPct val="0"/>
              </a:spcBef>
              <a:spcAft>
                <a:spcPct val="20000"/>
              </a:spcAft>
              <a:buClr>
                <a:schemeClr val="tx1"/>
              </a:buClr>
              <a:buChar char="-"/>
              <a:defRPr sz="1600">
                <a:solidFill>
                  <a:schemeClr val="tx1"/>
                </a:solidFill>
                <a:latin typeface="Arial" panose="020B0604020202020204" pitchFamily="34" charset="0"/>
              </a:defRPr>
            </a:lvl7pPr>
            <a:lvl8pPr marL="2717800" indent="-177800" eaLnBrk="0" fontAlgn="base" hangingPunct="0">
              <a:spcBef>
                <a:spcPct val="0"/>
              </a:spcBef>
              <a:spcAft>
                <a:spcPct val="20000"/>
              </a:spcAft>
              <a:buClr>
                <a:schemeClr val="tx1"/>
              </a:buClr>
              <a:buChar char="-"/>
              <a:defRPr sz="1600">
                <a:solidFill>
                  <a:schemeClr val="tx1"/>
                </a:solidFill>
                <a:latin typeface="Arial" panose="020B0604020202020204" pitchFamily="34" charset="0"/>
              </a:defRPr>
            </a:lvl8pPr>
            <a:lvl9pPr marL="3175000" indent="-177800" eaLnBrk="0" fontAlgn="base" hangingPunct="0">
              <a:spcBef>
                <a:spcPct val="0"/>
              </a:spcBef>
              <a:spcAft>
                <a:spcPct val="20000"/>
              </a:spcAft>
              <a:buClr>
                <a:schemeClr val="tx1"/>
              </a:buClr>
              <a:buChar char="-"/>
              <a:defRPr sz="1600">
                <a:solidFill>
                  <a:schemeClr val="tx1"/>
                </a:solidFill>
                <a:latin typeface="Arial" panose="020B0604020202020204" pitchFamily="34" charset="0"/>
              </a:defRPr>
            </a:lvl9pPr>
          </a:lstStyle>
          <a:p>
            <a:pPr marL="285750" marR="0" lvl="0" indent="-285750" algn="l" defTabSz="914400" rtl="0" eaLnBrk="1" fontAlgn="base" latinLnBrk="0" hangingPunct="1">
              <a:lnSpc>
                <a:spcPct val="100000"/>
              </a:lnSpc>
              <a:spcBef>
                <a:spcPct val="0"/>
              </a:spcBef>
              <a:spcAft>
                <a:spcPct val="20000"/>
              </a:spcAft>
              <a:buClr>
                <a:srgbClr val="000000"/>
              </a:buClr>
              <a:buSzTx/>
              <a:buFontTx/>
              <a:buChar char="•"/>
              <a:tabLst/>
              <a:defRPr/>
            </a:pPr>
            <a: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Schülerwettbewerb im Vernetzten Denken mit dem Spiel </a:t>
            </a:r>
            <a:r>
              <a:rPr kumimoji="0" lang="de-CH" altLang="de-DE" sz="18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ecopolicy</a:t>
            </a:r>
            <a:r>
              <a:rPr kumimoji="0" lang="de-DE" altLang="de-DE" sz="1800" b="1" i="0" u="none" strike="noStrike" kern="1200" cap="none" spc="0" normalizeH="0" baseline="30000" noProof="0" dirty="0" smtClean="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de-CH" altLang="de-DE" sz="18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base" latinLnBrk="0" hangingPunct="1">
              <a:lnSpc>
                <a:spcPct val="100000"/>
              </a:lnSpc>
              <a:spcBef>
                <a:spcPct val="0"/>
              </a:spcBef>
              <a:spcAft>
                <a:spcPct val="20000"/>
              </a:spcAft>
              <a:buClr>
                <a:srgbClr val="000000"/>
              </a:buClr>
              <a:buSzTx/>
              <a:buFontTx/>
              <a:buChar char="•"/>
              <a:tabLst/>
              <a:defRPr/>
            </a:pPr>
            <a: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2005 ca. 5.000 Teams in mehreren Bundesländern</a:t>
            </a:r>
            <a:b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br>
            <a: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Schleswig-Holstein, Niedersachsen, Nord-Rhein-Westfalen)</a:t>
            </a:r>
          </a:p>
          <a:p>
            <a:pPr marL="285750" marR="0" lvl="0" indent="-285750" algn="l" defTabSz="914400" rtl="0" eaLnBrk="1" fontAlgn="base" latinLnBrk="0" hangingPunct="1">
              <a:lnSpc>
                <a:spcPct val="100000"/>
              </a:lnSpc>
              <a:spcBef>
                <a:spcPct val="0"/>
              </a:spcBef>
              <a:spcAft>
                <a:spcPct val="20000"/>
              </a:spcAft>
              <a:buClr>
                <a:srgbClr val="000000"/>
              </a:buClr>
              <a:buSzTx/>
              <a:buFontTx/>
              <a:buChar char="•"/>
              <a:tabLst/>
              <a:defRPr/>
            </a:pPr>
            <a: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Finalrunden mit Politikern in Landtag und Bundestag</a:t>
            </a:r>
          </a:p>
          <a:p>
            <a:pPr marL="285750" marR="0" lvl="0" indent="-285750" algn="l" defTabSz="914400" rtl="0" eaLnBrk="1" fontAlgn="base" latinLnBrk="0" hangingPunct="1">
              <a:lnSpc>
                <a:spcPct val="100000"/>
              </a:lnSpc>
              <a:spcBef>
                <a:spcPct val="0"/>
              </a:spcBef>
              <a:spcAft>
                <a:spcPct val="20000"/>
              </a:spcAft>
              <a:buClr>
                <a:srgbClr val="000000"/>
              </a:buClr>
              <a:buSzTx/>
              <a:buFontTx/>
              <a:buChar char="•"/>
              <a:tabLst/>
              <a:defRPr/>
            </a:pPr>
            <a: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2008 deutschlandweit (Einladung an 16.800 Schulen) </a:t>
            </a:r>
          </a:p>
          <a:p>
            <a:pPr marL="285750" marR="0" lvl="0" indent="-285750" algn="l" defTabSz="914400" rtl="0" eaLnBrk="1" fontAlgn="base" latinLnBrk="0" hangingPunct="1">
              <a:lnSpc>
                <a:spcPct val="100000"/>
              </a:lnSpc>
              <a:spcBef>
                <a:spcPct val="0"/>
              </a:spcBef>
              <a:spcAft>
                <a:spcPct val="20000"/>
              </a:spcAft>
              <a:buClr>
                <a:srgbClr val="000000"/>
              </a:buClr>
              <a:buSzTx/>
              <a:buFontTx/>
              <a:buChar char="•"/>
              <a:tabLst/>
              <a:defRPr/>
            </a:pPr>
            <a: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Unterstützung d. Bundeszentrale für politische Bildung</a:t>
            </a:r>
          </a:p>
          <a:p>
            <a:pPr marL="285750" marR="0" lvl="0" indent="-285750" algn="l" defTabSz="914400" rtl="0" eaLnBrk="1" fontAlgn="base" latinLnBrk="0" hangingPunct="1">
              <a:lnSpc>
                <a:spcPct val="100000"/>
              </a:lnSpc>
              <a:spcBef>
                <a:spcPct val="0"/>
              </a:spcBef>
              <a:spcAft>
                <a:spcPct val="20000"/>
              </a:spcAft>
              <a:buClr>
                <a:srgbClr val="000000"/>
              </a:buClr>
              <a:buSzTx/>
              <a:buFontTx/>
              <a:buChar char="•"/>
              <a:tabLst/>
              <a:defRPr/>
            </a:pPr>
            <a: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Sponsoren und Schirmherren u.a.</a:t>
            </a:r>
            <a:b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br>
            <a: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Regierender Bürgermeister Klaus Wowereit, Berlin</a:t>
            </a:r>
            <a:b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br>
            <a: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Ministerpräsident Matthias Platzeck, Brandenburg</a:t>
            </a:r>
            <a:b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br>
            <a: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Oberbürgermeister Christian Ude, München</a:t>
            </a:r>
            <a:b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br>
            <a: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Zahlreiche Abgeordnete, Politiker &amp; Unternehmen wie</a:t>
            </a:r>
            <a:b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br>
            <a: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Fa. </a:t>
            </a:r>
            <a:r>
              <a:rPr kumimoji="0" lang="de-CH" altLang="de-DE" sz="18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Staedtler</a:t>
            </a:r>
            <a: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Nürnberg, Berliner Stadtreinigung, u.v.a.</a:t>
            </a:r>
            <a:b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br>
            <a: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Über 175.000 Schüler von 2005 – 2012 in Deutschland</a:t>
            </a:r>
          </a:p>
          <a:p>
            <a:pPr marL="285750" marR="0" lvl="0" indent="-285750" algn="l" defTabSz="914400" rtl="0" eaLnBrk="1" fontAlgn="base" latinLnBrk="0" hangingPunct="1">
              <a:lnSpc>
                <a:spcPct val="100000"/>
              </a:lnSpc>
              <a:spcBef>
                <a:spcPct val="0"/>
              </a:spcBef>
              <a:spcAft>
                <a:spcPct val="20000"/>
              </a:spcAft>
              <a:buClr>
                <a:srgbClr val="000000"/>
              </a:buClr>
              <a:buSzTx/>
              <a:buFontTx/>
              <a:buChar char="•"/>
              <a:tabLst/>
              <a:defRPr/>
            </a:pPr>
            <a: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Drei Finalwettbewerbe im Deutschen Bundestag Berlin</a:t>
            </a:r>
          </a:p>
          <a:p>
            <a:pPr marL="285750" marR="0" lvl="0" indent="-285750" algn="l" defTabSz="914400" rtl="0" eaLnBrk="1" fontAlgn="base" latinLnBrk="0" hangingPunct="1">
              <a:lnSpc>
                <a:spcPct val="100000"/>
              </a:lnSpc>
              <a:spcBef>
                <a:spcPct val="0"/>
              </a:spcBef>
              <a:spcAft>
                <a:spcPct val="20000"/>
              </a:spcAft>
              <a:buClr>
                <a:srgbClr val="000000"/>
              </a:buClr>
              <a:buSzTx/>
              <a:buFontTx/>
              <a:buChar char="•"/>
              <a:tabLst/>
              <a:defRPr/>
            </a:pPr>
            <a: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2013 - 2014 Malik </a:t>
            </a:r>
            <a:r>
              <a:rPr kumimoji="0" lang="de-CH" altLang="de-DE" sz="18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iniitiert</a:t>
            </a:r>
            <a: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internationale Pilotprojekte, mit Einsatz von ecopolicy und dem Sensitivitätsmodell. Jugendliche und Politiker modellieren lokale Entwicklungsprojekte: Niederlande, Österreich, Italien, Australien, Vietnam</a:t>
            </a:r>
          </a:p>
          <a:p>
            <a:pPr marL="285750" marR="0" lvl="0" indent="-285750" algn="l" defTabSz="914400" rtl="0" eaLnBrk="1" fontAlgn="base" latinLnBrk="0" hangingPunct="1">
              <a:lnSpc>
                <a:spcPct val="100000"/>
              </a:lnSpc>
              <a:spcBef>
                <a:spcPct val="0"/>
              </a:spcBef>
              <a:spcAft>
                <a:spcPct val="20000"/>
              </a:spcAft>
              <a:buClr>
                <a:srgbClr val="000000"/>
              </a:buClr>
              <a:buSzTx/>
              <a:buFontTx/>
              <a:buNone/>
              <a:tabLst/>
              <a:defRPr/>
            </a:pPr>
            <a:r>
              <a:rPr kumimoji="0" lang="de-CH" altLang="de-DE" sz="18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de-CH" altLang="de-DE" sz="18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endParaRPr kumimoji="0" lang="de-CH" altLang="de-DE" sz="18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21509" name="Picture 2"/>
          <p:cNvPicPr>
            <a:picLocks noChangeAspect="1" noChangeArrowheads="1"/>
          </p:cNvPicPr>
          <p:nvPr/>
        </p:nvPicPr>
        <p:blipFill>
          <a:blip r:embed="rId2">
            <a:extLst>
              <a:ext uri="{28A0092B-C50C-407E-A947-70E740481C1C}">
                <a14:useLocalDpi xmlns:a14="http://schemas.microsoft.com/office/drawing/2010/main" val="0"/>
              </a:ext>
            </a:extLst>
          </a:blip>
          <a:srcRect l="7709" t="37589" r="51794" b="34441"/>
          <a:stretch>
            <a:fillRect/>
          </a:stretch>
        </p:blipFill>
        <p:spPr bwMode="auto">
          <a:xfrm>
            <a:off x="6130925" y="2651125"/>
            <a:ext cx="3775075" cy="1751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34463472"/>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txBox="1">
            <a:spLocks noChangeAspect="1" noChangeArrowheads="1"/>
          </p:cNvSpPr>
          <p:nvPr/>
        </p:nvSpPr>
        <p:spPr bwMode="auto">
          <a:xfrm>
            <a:off x="580560" y="1446213"/>
            <a:ext cx="2219325" cy="49561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20000"/>
              </a:spcAft>
              <a:buClr>
                <a:srgbClr val="000000"/>
              </a:buClr>
              <a:buSzTx/>
              <a:buFontTx/>
              <a:buNone/>
              <a:tabLst/>
              <a:defRPr/>
            </a:pPr>
            <a:r>
              <a:rPr kumimoji="0" lang="de-DE" sz="1600" b="0" i="0" u="none" strike="noStrike" kern="0" cap="none" spc="0" normalizeH="0" baseline="0" noProof="0" dirty="0" smtClean="0">
                <a:ln>
                  <a:noFill/>
                </a:ln>
                <a:solidFill>
                  <a:srgbClr val="000000"/>
                </a:solidFill>
                <a:effectLst/>
                <a:uLnTx/>
                <a:uFillTx/>
                <a:latin typeface="Arial"/>
                <a:ea typeface="+mn-ea"/>
                <a:cs typeface="+mn-cs"/>
              </a:rPr>
              <a:t>City Hall </a:t>
            </a:r>
            <a:r>
              <a:rPr kumimoji="0" lang="de-DE" sz="1600" b="0" i="0" u="none" strike="noStrike" kern="0" cap="none" spc="0" normalizeH="0" baseline="0" noProof="0" dirty="0" err="1" smtClean="0">
                <a:ln>
                  <a:noFill/>
                </a:ln>
                <a:solidFill>
                  <a:srgbClr val="000000"/>
                </a:solidFill>
                <a:effectLst/>
                <a:uLnTx/>
                <a:uFillTx/>
                <a:latin typeface="Arial"/>
                <a:ea typeface="+mn-ea"/>
                <a:cs typeface="+mn-cs"/>
              </a:rPr>
              <a:t>of</a:t>
            </a:r>
            <a:r>
              <a:rPr kumimoji="0" lang="de-DE" sz="1600" b="0" i="0" u="none" strike="noStrike" kern="0" cap="none" spc="0" normalizeH="0" baseline="0" noProof="0" dirty="0" smtClean="0">
                <a:ln>
                  <a:noFill/>
                </a:ln>
                <a:solidFill>
                  <a:srgbClr val="000000"/>
                </a:solidFill>
                <a:effectLst/>
                <a:uLnTx/>
                <a:uFillTx/>
                <a:latin typeface="Arial"/>
                <a:ea typeface="+mn-ea"/>
                <a:cs typeface="+mn-cs"/>
              </a:rPr>
              <a:t> Berlin</a:t>
            </a:r>
          </a:p>
          <a:p>
            <a:pPr marL="0" marR="0" lvl="0" indent="0" algn="l" defTabSz="914400" rtl="0" eaLnBrk="1" fontAlgn="base" latinLnBrk="0" hangingPunct="1">
              <a:lnSpc>
                <a:spcPct val="100000"/>
              </a:lnSpc>
              <a:spcBef>
                <a:spcPct val="0"/>
              </a:spcBef>
              <a:spcAft>
                <a:spcPct val="20000"/>
              </a:spcAft>
              <a:buClr>
                <a:srgbClr val="000000"/>
              </a:buClr>
              <a:buSzTx/>
              <a:buFontTx/>
              <a:buNone/>
              <a:tabLst/>
              <a:defRPr/>
            </a:pPr>
            <a:endParaRPr kumimoji="0" lang="de-DE" sz="1600" b="0"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20000"/>
              </a:spcAft>
              <a:buClr>
                <a:srgbClr val="000000"/>
              </a:buClr>
              <a:buSzTx/>
              <a:buFontTx/>
              <a:buNone/>
              <a:tabLst/>
              <a:defRPr/>
            </a:pPr>
            <a:r>
              <a:rPr kumimoji="0" lang="de-DE" sz="1600" b="1" i="0" u="none" strike="noStrike" kern="0" cap="none" spc="0" normalizeH="0" baseline="0" noProof="0" dirty="0" smtClean="0">
                <a:ln>
                  <a:noFill/>
                </a:ln>
                <a:solidFill>
                  <a:srgbClr val="000000"/>
                </a:solidFill>
                <a:effectLst/>
                <a:uLnTx/>
                <a:uFillTx/>
                <a:latin typeface="Arial"/>
                <a:ea typeface="+mn-ea"/>
                <a:cs typeface="+mn-cs"/>
              </a:rPr>
              <a:t>Patronage:</a:t>
            </a:r>
            <a:br>
              <a:rPr kumimoji="0" lang="de-DE" sz="1600" b="1" i="0" u="none" strike="noStrike" kern="0" cap="none" spc="0" normalizeH="0" baseline="0" noProof="0" dirty="0" smtClean="0">
                <a:ln>
                  <a:noFill/>
                </a:ln>
                <a:solidFill>
                  <a:srgbClr val="000000"/>
                </a:solidFill>
                <a:effectLst/>
                <a:uLnTx/>
                <a:uFillTx/>
                <a:latin typeface="Arial"/>
                <a:ea typeface="+mn-ea"/>
                <a:cs typeface="+mn-cs"/>
              </a:rPr>
            </a:br>
            <a:r>
              <a:rPr kumimoji="0" lang="de-DE" sz="1600" b="0" i="0" u="none" strike="noStrike" kern="0" cap="none" spc="0" normalizeH="0" baseline="0" noProof="0" dirty="0" err="1" smtClean="0">
                <a:ln>
                  <a:noFill/>
                </a:ln>
                <a:solidFill>
                  <a:srgbClr val="000000"/>
                </a:solidFill>
                <a:effectLst/>
                <a:uLnTx/>
                <a:uFillTx/>
                <a:latin typeface="Arial"/>
                <a:ea typeface="+mn-ea"/>
                <a:cs typeface="+mn-cs"/>
              </a:rPr>
              <a:t>Governing</a:t>
            </a:r>
            <a:r>
              <a:rPr kumimoji="0" lang="de-DE" sz="1600" b="0" i="0" u="none" strike="noStrike" kern="0" cap="none" spc="0" normalizeH="0" baseline="0" noProof="0" dirty="0" smtClean="0">
                <a:ln>
                  <a:noFill/>
                </a:ln>
                <a:solidFill>
                  <a:srgbClr val="000000"/>
                </a:solidFill>
                <a:effectLst/>
                <a:uLnTx/>
                <a:uFillTx/>
                <a:latin typeface="Arial"/>
                <a:ea typeface="+mn-ea"/>
                <a:cs typeface="+mn-cs"/>
              </a:rPr>
              <a:t> Lord Mayor</a:t>
            </a:r>
            <a:br>
              <a:rPr kumimoji="0" lang="de-DE" sz="1600" b="0" i="0" u="none" strike="noStrike" kern="0" cap="none" spc="0" normalizeH="0" baseline="0" noProof="0" dirty="0" smtClean="0">
                <a:ln>
                  <a:noFill/>
                </a:ln>
                <a:solidFill>
                  <a:srgbClr val="000000"/>
                </a:solidFill>
                <a:effectLst/>
                <a:uLnTx/>
                <a:uFillTx/>
                <a:latin typeface="Arial"/>
                <a:ea typeface="+mn-ea"/>
                <a:cs typeface="+mn-cs"/>
              </a:rPr>
            </a:br>
            <a:r>
              <a:rPr kumimoji="0" lang="de-DE" sz="1600" b="0" i="0" u="none" strike="noStrike" kern="0" cap="none" spc="0" normalizeH="0" baseline="0" noProof="0" dirty="0" smtClean="0">
                <a:ln>
                  <a:noFill/>
                </a:ln>
                <a:solidFill>
                  <a:srgbClr val="000000"/>
                </a:solidFill>
                <a:effectLst/>
                <a:uLnTx/>
                <a:uFillTx/>
                <a:latin typeface="Arial"/>
                <a:ea typeface="+mn-ea"/>
                <a:cs typeface="+mn-cs"/>
              </a:rPr>
              <a:t>Berlin, Klaus Wowereit</a:t>
            </a:r>
            <a:br>
              <a:rPr kumimoji="0" lang="de-DE" sz="1600" b="0" i="0" u="none" strike="noStrike" kern="0" cap="none" spc="0" normalizeH="0" baseline="0" noProof="0" dirty="0" smtClean="0">
                <a:ln>
                  <a:noFill/>
                </a:ln>
                <a:solidFill>
                  <a:srgbClr val="000000"/>
                </a:solidFill>
                <a:effectLst/>
                <a:uLnTx/>
                <a:uFillTx/>
                <a:latin typeface="Arial"/>
                <a:ea typeface="+mn-ea"/>
                <a:cs typeface="+mn-cs"/>
              </a:rPr>
            </a:br>
            <a:endParaRPr kumimoji="0" lang="de-DE" sz="1600" b="0"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20000"/>
              </a:spcAft>
              <a:buClr>
                <a:srgbClr val="000000"/>
              </a:buClr>
              <a:buSzTx/>
              <a:buFontTx/>
              <a:buNone/>
              <a:tabLst/>
              <a:defRPr/>
            </a:pPr>
            <a:r>
              <a:rPr kumimoji="0" lang="de-DE" sz="1600" b="0" i="0" u="none" strike="noStrike" kern="0" cap="none" spc="0" normalizeH="0" baseline="0" noProof="0" dirty="0" smtClean="0">
                <a:ln>
                  <a:noFill/>
                </a:ln>
                <a:solidFill>
                  <a:srgbClr val="000000"/>
                </a:solidFill>
                <a:effectLst/>
                <a:uLnTx/>
                <a:uFillTx/>
                <a:latin typeface="Arial"/>
                <a:ea typeface="+mn-ea"/>
                <a:cs typeface="+mn-cs"/>
              </a:rPr>
              <a:t> </a:t>
            </a:r>
          </a:p>
          <a:p>
            <a:pPr marL="0" marR="0" lvl="0" indent="0" algn="l" defTabSz="914400" rtl="0" eaLnBrk="1" fontAlgn="base" latinLnBrk="0" hangingPunct="1">
              <a:lnSpc>
                <a:spcPct val="100000"/>
              </a:lnSpc>
              <a:spcBef>
                <a:spcPct val="0"/>
              </a:spcBef>
              <a:spcAft>
                <a:spcPct val="20000"/>
              </a:spcAft>
              <a:buClr>
                <a:srgbClr val="000000"/>
              </a:buClr>
              <a:buSzTx/>
              <a:buFontTx/>
              <a:buNone/>
              <a:tabLst/>
              <a:defRPr/>
            </a:pPr>
            <a:r>
              <a:rPr kumimoji="0" lang="de-DE" sz="1600" b="1" i="0" u="none" strike="noStrike" kern="0" cap="none" spc="0" normalizeH="0" baseline="0" noProof="0" dirty="0" smtClean="0">
                <a:ln>
                  <a:noFill/>
                </a:ln>
                <a:solidFill>
                  <a:srgbClr val="000000"/>
                </a:solidFill>
                <a:effectLst/>
                <a:uLnTx/>
                <a:uFillTx/>
                <a:latin typeface="Arial"/>
                <a:ea typeface="+mn-ea"/>
                <a:cs typeface="+mn-cs"/>
              </a:rPr>
              <a:t>Team </a:t>
            </a:r>
            <a:r>
              <a:rPr kumimoji="0" lang="de-DE" sz="1600" b="1" i="0" u="none" strike="noStrike" kern="0" cap="none" spc="0" normalizeH="0" baseline="0" noProof="0" dirty="0" err="1" smtClean="0">
                <a:ln>
                  <a:noFill/>
                </a:ln>
                <a:solidFill>
                  <a:srgbClr val="000000"/>
                </a:solidFill>
                <a:effectLst/>
                <a:uLnTx/>
                <a:uFillTx/>
                <a:latin typeface="Arial"/>
                <a:ea typeface="+mn-ea"/>
                <a:cs typeface="+mn-cs"/>
              </a:rPr>
              <a:t>of</a:t>
            </a:r>
            <a:r>
              <a:rPr kumimoji="0" lang="de-DE" sz="1600" b="1" i="0" u="none" strike="noStrike" kern="0" cap="none" spc="0" normalizeH="0" baseline="0" noProof="0" dirty="0" smtClean="0">
                <a:ln>
                  <a:noFill/>
                </a:ln>
                <a:solidFill>
                  <a:srgbClr val="000000"/>
                </a:solidFill>
                <a:effectLst/>
                <a:uLnTx/>
                <a:uFillTx/>
                <a:latin typeface="Arial"/>
                <a:ea typeface="+mn-ea"/>
                <a:cs typeface="+mn-cs"/>
              </a:rPr>
              <a:t> </a:t>
            </a:r>
            <a:r>
              <a:rPr kumimoji="0" lang="de-DE" sz="1600" b="1" i="0" u="none" strike="noStrike" kern="0" cap="none" spc="0" normalizeH="0" baseline="0" noProof="0" dirty="0" err="1" smtClean="0">
                <a:ln>
                  <a:noFill/>
                </a:ln>
                <a:solidFill>
                  <a:srgbClr val="000000"/>
                </a:solidFill>
                <a:effectLst/>
                <a:uLnTx/>
                <a:uFillTx/>
                <a:latin typeface="Arial"/>
                <a:ea typeface="+mn-ea"/>
                <a:cs typeface="+mn-cs"/>
              </a:rPr>
              <a:t>Politicians</a:t>
            </a:r>
            <a:r>
              <a:rPr kumimoji="0" lang="de-DE" sz="1600" b="1" i="0" u="none" strike="noStrike" kern="0" cap="none" spc="0" normalizeH="0" baseline="0" noProof="0" dirty="0" smtClean="0">
                <a:ln>
                  <a:noFill/>
                </a:ln>
                <a:solidFill>
                  <a:srgbClr val="000000"/>
                </a:solidFill>
                <a:effectLst/>
                <a:uLnTx/>
                <a:uFillTx/>
                <a:latin typeface="Arial"/>
                <a:ea typeface="+mn-ea"/>
                <a:cs typeface="+mn-cs"/>
              </a:rPr>
              <a:t/>
            </a:r>
            <a:br>
              <a:rPr kumimoji="0" lang="de-DE" sz="1600" b="1" i="0" u="none" strike="noStrike" kern="0" cap="none" spc="0" normalizeH="0" baseline="0" noProof="0" dirty="0" smtClean="0">
                <a:ln>
                  <a:noFill/>
                </a:ln>
                <a:solidFill>
                  <a:srgbClr val="000000"/>
                </a:solidFill>
                <a:effectLst/>
                <a:uLnTx/>
                <a:uFillTx/>
                <a:latin typeface="Arial"/>
                <a:ea typeface="+mn-ea"/>
                <a:cs typeface="+mn-cs"/>
              </a:rPr>
            </a:br>
            <a:endParaRPr kumimoji="0" lang="de-DE" sz="16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20000"/>
              </a:spcAft>
              <a:buClr>
                <a:srgbClr val="000000"/>
              </a:buClr>
              <a:buSzTx/>
              <a:buFontTx/>
              <a:buNone/>
              <a:tabLst/>
              <a:defRPr/>
            </a:pPr>
            <a:r>
              <a:rPr kumimoji="0" lang="de-DE" sz="1600" b="0" i="0" u="none" strike="noStrike" kern="0" cap="none" spc="0" normalizeH="0" baseline="0" noProof="0" dirty="0" smtClean="0">
                <a:ln>
                  <a:noFill/>
                </a:ln>
                <a:solidFill>
                  <a:srgbClr val="000000"/>
                </a:solidFill>
                <a:effectLst/>
                <a:uLnTx/>
                <a:uFillTx/>
                <a:latin typeface="Arial"/>
                <a:ea typeface="+mn-ea"/>
                <a:cs typeface="+mn-cs"/>
              </a:rPr>
              <a:t>Berliner Stadtreinigung Personalvorstand Andreas Scholz-Fleischmann; </a:t>
            </a:r>
            <a:br>
              <a:rPr kumimoji="0" lang="de-DE" sz="1600" b="0" i="0" u="none" strike="noStrike" kern="0" cap="none" spc="0" normalizeH="0" baseline="0" noProof="0" dirty="0" smtClean="0">
                <a:ln>
                  <a:noFill/>
                </a:ln>
                <a:solidFill>
                  <a:srgbClr val="000000"/>
                </a:solidFill>
                <a:effectLst/>
                <a:uLnTx/>
                <a:uFillTx/>
                <a:latin typeface="Arial"/>
                <a:ea typeface="+mn-ea"/>
                <a:cs typeface="+mn-cs"/>
              </a:rPr>
            </a:br>
            <a:r>
              <a:rPr kumimoji="0" lang="de-DE" sz="1600" b="0" i="0" u="none" strike="noStrike" kern="0" cap="none" spc="0" normalizeH="0" baseline="0" noProof="0" dirty="0" smtClean="0">
                <a:ln>
                  <a:noFill/>
                </a:ln>
                <a:solidFill>
                  <a:srgbClr val="000000"/>
                </a:solidFill>
                <a:effectLst/>
                <a:uLnTx/>
                <a:uFillTx/>
                <a:latin typeface="Arial"/>
                <a:ea typeface="+mn-ea"/>
                <a:cs typeface="+mn-cs"/>
              </a:rPr>
              <a:t>Petra Merkel MdB SPD</a:t>
            </a:r>
            <a:br>
              <a:rPr kumimoji="0" lang="de-DE" sz="1600" b="0" i="0" u="none" strike="noStrike" kern="0" cap="none" spc="0" normalizeH="0" baseline="0" noProof="0" dirty="0" smtClean="0">
                <a:ln>
                  <a:noFill/>
                </a:ln>
                <a:solidFill>
                  <a:srgbClr val="000000"/>
                </a:solidFill>
                <a:effectLst/>
                <a:uLnTx/>
                <a:uFillTx/>
                <a:latin typeface="Arial"/>
                <a:ea typeface="+mn-ea"/>
                <a:cs typeface="+mn-cs"/>
              </a:rPr>
            </a:br>
            <a:r>
              <a:rPr kumimoji="0" lang="de-DE" sz="1600" b="0" i="0" u="none" strike="noStrike" kern="0" cap="none" spc="0" normalizeH="0" baseline="0" noProof="0" dirty="0" smtClean="0">
                <a:ln>
                  <a:noFill/>
                </a:ln>
                <a:solidFill>
                  <a:srgbClr val="000000"/>
                </a:solidFill>
                <a:effectLst/>
                <a:uLnTx/>
                <a:uFillTx/>
                <a:latin typeface="Arial"/>
                <a:ea typeface="+mn-ea"/>
                <a:cs typeface="+mn-cs"/>
              </a:rPr>
              <a:t>Berliner Landesschulrat Hans-Jürgen </a:t>
            </a:r>
            <a:r>
              <a:rPr kumimoji="0" lang="de-DE" sz="1600" b="0" i="0" u="none" strike="noStrike" kern="0" cap="none" spc="0" normalizeH="0" baseline="0" noProof="0" dirty="0" err="1" smtClean="0">
                <a:ln>
                  <a:noFill/>
                </a:ln>
                <a:solidFill>
                  <a:srgbClr val="000000"/>
                </a:solidFill>
                <a:effectLst/>
                <a:uLnTx/>
                <a:uFillTx/>
                <a:latin typeface="Arial"/>
                <a:ea typeface="+mn-ea"/>
                <a:cs typeface="+mn-cs"/>
              </a:rPr>
              <a:t>Pokall</a:t>
            </a:r>
            <a:endParaRPr kumimoji="0" lang="de-DE" sz="1600" b="0"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20000"/>
              </a:spcAft>
              <a:buClr>
                <a:srgbClr val="000000"/>
              </a:buClr>
              <a:buSzTx/>
              <a:buFontTx/>
              <a:buNone/>
              <a:tabLst/>
              <a:defRPr/>
            </a:pPr>
            <a:endParaRPr kumimoji="0" lang="de-DE" sz="1600" b="0"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20000"/>
              </a:spcAft>
              <a:buClr>
                <a:srgbClr val="000000"/>
              </a:buClr>
              <a:buSzTx/>
              <a:buFontTx/>
              <a:buNone/>
              <a:tabLst/>
              <a:defRPr/>
            </a:pPr>
            <a:endParaRPr kumimoji="0" lang="de-DE" sz="1600" b="0" i="0" u="none" strike="noStrike" kern="0" cap="none" spc="0" normalizeH="0" baseline="0" noProof="0" dirty="0" smtClean="0">
              <a:ln>
                <a:noFill/>
              </a:ln>
              <a:solidFill>
                <a:srgbClr val="000000"/>
              </a:solidFill>
              <a:effectLst/>
              <a:uLnTx/>
              <a:uFillTx/>
              <a:latin typeface="Arial"/>
              <a:ea typeface="+mn-ea"/>
              <a:cs typeface="+mn-cs"/>
            </a:endParaRPr>
          </a:p>
        </p:txBody>
      </p:sp>
      <p:pic>
        <p:nvPicPr>
          <p:cNvPr id="5" name="Grafik 5" descr="PICT2074_Politiker Berlin.jpg"/>
          <p:cNvPicPr>
            <a:picLocks noChangeAspect="1"/>
          </p:cNvPicPr>
          <p:nvPr/>
        </p:nvPicPr>
        <p:blipFill>
          <a:blip r:embed="rId2" cstate="print"/>
          <a:srcRect r="3197"/>
          <a:stretch>
            <a:fillRect/>
          </a:stretch>
        </p:blipFill>
        <p:spPr bwMode="auto">
          <a:xfrm>
            <a:off x="2967038" y="1462088"/>
            <a:ext cx="6397625" cy="4956175"/>
          </a:xfrm>
          <a:prstGeom prst="rect">
            <a:avLst/>
          </a:prstGeom>
          <a:noFill/>
          <a:ln w="9525">
            <a:noFill/>
            <a:miter lim="800000"/>
            <a:headEnd/>
            <a:tailEnd/>
          </a:ln>
        </p:spPr>
      </p:pic>
      <p:pic>
        <p:nvPicPr>
          <p:cNvPr id="6" name="Picture 4"/>
          <p:cNvPicPr>
            <a:picLocks noChangeAspect="1" noChangeArrowheads="1"/>
          </p:cNvPicPr>
          <p:nvPr/>
        </p:nvPicPr>
        <p:blipFill>
          <a:blip r:embed="rId3" cstate="print"/>
          <a:srcRect l="626"/>
          <a:stretch>
            <a:fillRect/>
          </a:stretch>
        </p:blipFill>
        <p:spPr bwMode="auto">
          <a:xfrm>
            <a:off x="414338" y="6137275"/>
            <a:ext cx="3897312" cy="592138"/>
          </a:xfrm>
          <a:prstGeom prst="rect">
            <a:avLst/>
          </a:prstGeom>
          <a:noFill/>
          <a:ln w="9525" algn="ctr">
            <a:noFill/>
            <a:miter lim="800000"/>
            <a:headEnd/>
            <a:tailEnd/>
          </a:ln>
        </p:spPr>
      </p:pic>
      <p:sp>
        <p:nvSpPr>
          <p:cNvPr id="2" name="Titel 1"/>
          <p:cNvSpPr>
            <a:spLocks noGrp="1"/>
          </p:cNvSpPr>
          <p:nvPr>
            <p:ph type="title"/>
          </p:nvPr>
        </p:nvSpPr>
        <p:spPr/>
        <p:txBody>
          <a:bodyPr/>
          <a:lstStyle/>
          <a:p>
            <a:r>
              <a:rPr lang="de-DE" sz="1800" kern="1200" dirty="0" err="1">
                <a:latin typeface="Arial" charset="0"/>
              </a:rPr>
              <a:t>ecopolicyade</a:t>
            </a:r>
            <a:r>
              <a:rPr lang="de-DE" sz="1800" kern="1200" dirty="0">
                <a:latin typeface="Arial" charset="0"/>
              </a:rPr>
              <a:t>® </a:t>
            </a:r>
            <a:br>
              <a:rPr lang="de-DE" sz="1800" kern="1200" dirty="0">
                <a:latin typeface="Arial" charset="0"/>
              </a:rPr>
            </a:br>
            <a:r>
              <a:rPr lang="de-DE" sz="1800" kern="1200" dirty="0">
                <a:latin typeface="Arial" charset="0"/>
              </a:rPr>
              <a:t>The </a:t>
            </a:r>
            <a:r>
              <a:rPr lang="de-DE" sz="1800" kern="1200" dirty="0" err="1">
                <a:latin typeface="Arial" charset="0"/>
              </a:rPr>
              <a:t>finals</a:t>
            </a:r>
            <a:r>
              <a:rPr lang="de-DE" sz="1800" kern="1200" dirty="0">
                <a:latin typeface="Arial" charset="0"/>
              </a:rPr>
              <a:t> in Berlin 2008</a:t>
            </a:r>
            <a:br>
              <a:rPr lang="de-DE" sz="1800" kern="1200" dirty="0">
                <a:latin typeface="Arial" charset="0"/>
              </a:rPr>
            </a:br>
            <a:endParaRPr lang="en-GB" dirty="0"/>
          </a:p>
        </p:txBody>
      </p:sp>
    </p:spTree>
    <p:extLst>
      <p:ext uri="{BB962C8B-B14F-4D97-AF65-F5344CB8AC3E}">
        <p14:creationId xmlns:p14="http://schemas.microsoft.com/office/powerpoint/2010/main" val="79555461"/>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7&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1.72900000000000010000E+000&quot;&gt;&lt;m_ppcolschidx val=&quot;0&quot;/&gt;&lt;m_rgb r=&quot;a8&quot; g=&quot;ae&quot; b=&quot;ff&quot;/&gt;&lt;/elem&gt;&lt;elem m_fUsage=&quot;1.71000000000000000000E+000&quot;&gt;&lt;m_ppcolschidx val=&quot;0&quot;/&gt;&lt;m_rgb r=&quot;f0&quot; g=&quot;f0&quot; b=&quot;f0&quot;/&gt;&lt;/elem&gt;&lt;/m_vecMRU&gt;&lt;/m_mruColor&gt;&lt;m_agendatheme&gt;&lt;m_aagendaitemprops&gt;&lt;elem&gt;&lt;m_bVisible val=&quot;1&quot;/&gt;&lt;m_font&gt;&lt;m_nSize val=&quot;20&quot;/&gt;&lt;m_bBold val=&quot;1&quot;/&gt;&lt;/m_font&gt;&lt;m_colFont&gt;&lt;m_ppcolschidx val=&quot;4&quot;/&gt;&lt;/m_colFont&gt;&lt;m_fill&gt;&lt;m_bVisible val=&quot;0&quot;/&gt;&lt;/m_fill&gt;&lt;m_linestyle&gt;&lt;m_bVisible val=&quot;0&quot;/&gt;&lt;/m_linestyle&gt;&lt;/elem&gt;&lt;elem&gt;&lt;m_bVisible val=&quot;1&quot;/&gt;&lt;m_font&gt;&lt;m_nSize val=&quot;20&quot;/&gt;&lt;m_bBold val=&quot;1&quot;/&gt;&lt;/m_font&gt;&lt;m_colFont&gt;&lt;m_ppcolschidx val=&quot;0&quot;/&gt;&lt;m_rgb r=&quot;b2&quot; g=&quot;b2&quot; b=&quot;b2&quot;/&gt;&lt;/m_colFont&gt;&lt;m_fill&gt;&lt;m_bVisible val=&quot;0&quot;/&gt;&lt;/m_fill&gt;&lt;m_linestyle&gt;&lt;m_bVisible val=&quot;0&quot;/&gt;&lt;/m_linestyle&gt;&lt;/elem&gt;&lt;elem&gt;&lt;m_bVisible val=&quot;1&quot;/&gt;&lt;m_font&gt;&lt;m_nSize val=&quot;20&quot;/&gt;&lt;m_bBold val=&quot;1&quot;/&gt;&lt;/m_font&gt;&lt;m_colFont&gt;&lt;m_ppcolschidx val=&quot;0&quot;/&gt;&lt;m_rgb r=&quot;b2&quot; g=&quot;b2&quot; b=&quot;b2&quot;/&gt;&lt;/m_colFont&gt;&lt;m_fill&gt;&lt;m_bVisible val=&quot;0&quot;/&gt;&lt;/m_fill&gt;&lt;m_linestyle&gt;&lt;m_bVisible val=&quot;0&quot;/&gt;&lt;/m_linestyle&gt;&lt;/elem&gt;&lt;elem&gt;&lt;m_bVisible val=&quot;1&quot;/&gt;&lt;m_font&gt;&lt;m_nSize val=&quot;20&quot;/&gt;&lt;m_bBold val=&quot;0&quot;/&gt;&lt;/m_font&gt;&lt;m_colFont&gt;&lt;m_ppcolschidx val=&quot;4&quot;/&gt;&lt;/m_colFont&gt;&lt;m_fill&gt;&lt;m_bVisible val=&quot;0&quot;/&gt;&lt;/m_fill&gt;&lt;m_linestyle&gt;&lt;m_bVisible val=&quot;0&quot;/&gt;&lt;/m_linestyle&gt;&lt;/elem&gt;&lt;elem&gt;&lt;m_bVisible val=&quot;1&quot;/&gt;&lt;m_font&gt;&lt;m_nSize val=&quot;20&quot;/&gt;&lt;m_bBold val=&quot;0&quot;/&gt;&lt;/m_font&gt;&lt;m_colFont&gt;&lt;m_ppcolschidx val=&quot;4&quot;/&gt;&lt;/m_colFont&gt;&lt;m_fill&gt;&lt;m_bVisible val=&quot;0&quot;/&gt;&lt;/m_fill&gt;&lt;m_linestyle&gt;&lt;m_bVisible val=&quot;0&quot;/&gt;&lt;/m_linestyle&gt;&lt;/elem&gt;&lt;elem&gt;&lt;m_bVisible val=&quot;1&quot;/&gt;&lt;m_font&gt;&lt;m_nSize val=&quot;20&quot;/&gt;&lt;m_bBold val=&quot;0&quot;/&gt;&lt;/m_font&gt;&lt;m_colFont&gt;&lt;m_ppcolschidx val=&quot;0&quot;/&gt;&lt;m_rgb r=&quot;b2&quot; g=&quot;b2&quot; b=&quot;b2&quot;/&gt;&lt;/m_colFont&gt;&lt;m_fill&gt;&lt;m_bVisible val=&quot;0&quot;/&gt;&lt;/m_fill&gt;&lt;m_linestyle&gt;&lt;m_bVisible val=&quot;0&quot;/&gt;&lt;/m_linestyle&gt;&lt;/elem&gt;&lt;elem&gt;&lt;m_bVisible val=&quot;1&quot;/&gt;&lt;m_font&gt;&lt;m_nSize val=&quot;20&quot;/&gt;&lt;m_bBold val=&quot;0&quot;/&gt;&lt;/m_font&gt;&lt;m_colFont&gt;&lt;m_ppcolschidx val=&quot;4&quot;/&gt;&lt;/m_colFont&gt;&lt;m_fill&gt;&lt;m_bVisible val=&quot;0&quot;/&gt;&lt;/m_fill&gt;&lt;m_linestyle&gt;&lt;m_bVisible val=&quot;0&quot;/&gt;&lt;/m_linestyle&gt;&lt;/elem&gt;&lt;elem&gt;&lt;m_bVisible val=&quot;1&quot;/&gt;&lt;m_font&gt;&lt;m_nSize val=&quot;20&quot;/&gt;&lt;m_bBold val=&quot;0&quot;/&gt;&lt;/m_font&gt;&lt;m_colFont&gt;&lt;m_ppcolschidx val=&quot;0&quot;/&gt;&lt;m_rgb r=&quot;b2&quot; g=&quot;b2&quot; b=&quot;b2&quot;/&gt;&lt;/m_colFont&gt;&lt;m_fill&gt;&lt;m_bVisible val=&quot;0&quot;/&gt;&lt;/m_fill&gt;&lt;m_linestyle&gt;&lt;m_bVisible val=&quot;0&quot;/&gt;&lt;/m_linestyle&gt;&lt;/elem&gt;&lt;elem&gt;&lt;m_bVisible val=&quot;1&quot;/&gt;&lt;m_font&gt;&lt;m_nSize val=&quot;20&quot;/&gt;&lt;m_bBold val=&quot;0&quot;/&gt;&lt;/m_font&gt;&lt;m_colFont&gt;&lt;m_ppcolschidx val=&quot;0&quot;/&gt;&lt;m_rgb r=&quot;b2&quot; g=&quot;b2&quot; b=&quot;b2&quot;/&gt;&lt;/m_colFont&gt;&lt;m_fill&gt;&lt;m_bVisible val=&quot;0&quot;/&gt;&lt;/m_fill&gt;&lt;m_linestyle&gt;&lt;m_bVisible val=&quot;0&quot;/&gt;&lt;/m_linestyle&gt;&lt;/elem&gt;&lt;elem&gt;&lt;m_bVisible val=&quot;1&quot;/&gt;&lt;m_font&gt;&lt;m_nSize val=&quot;20&quot;/&gt;&lt;m_bBold val=&quot;1&quot;/&gt;&lt;/m_font&gt;&lt;m_colFont&gt;&lt;m_ppcolschidx val=&quot;4&quot;/&gt;&lt;/m_colFont&gt;&lt;m_fill&gt;&lt;m_bVisible val=&quot;0&quot;/&gt;&lt;/m_fill&gt;&lt;m_linestyle&gt;&lt;m_bVisible val=&quot;0&quot;/&gt;&lt;/m_linestyle&gt;&lt;/elem&gt;&lt;elem&gt;&lt;m_bVisible val=&quot;1&quot;/&gt;&lt;m_font&gt;&lt;m_nSize val=&quot;20&quot;/&gt;&lt;m_bBold val=&quot;0&quot;/&gt;&lt;/m_font&gt;&lt;m_colFont&gt;&lt;m_ppcolschidx val=&quot;4&quot;/&gt;&lt;/m_colFont&gt;&lt;m_fill&gt;&lt;m_bVisible val=&quot;0&quot;/&gt;&lt;/m_fill&gt;&lt;m_linestyle&gt;&lt;m_bVisible val=&quot;0&quot;/&gt;&lt;/m_linestyle&gt;&lt;/elem&gt;&lt;/m_aagendaitemprops&gt;&lt;m_linestyleTopBottomLine&gt;&lt;m_bVisible val=&quot;0&quot;/&gt;&lt;/m_linestyleTopBottomLine&gt;&lt;/m_agendatheme&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515"/>
  <p:tag name="SMARTBOX_SB5" val="klD2XhTWr/69XnJIw1RiGZbDvzomqdNb"/>
  <p:tag name="SMARTBOX_SB1" val="tJLR0xhJQzDMzmTvEF35QRSVfSU2Kx7dvhz3l/SV5+QcoMJFHG4aF92Yo7uqWkdto6suCoLcS919KPPNh42B0IlchXNhV3wea/jQxOR18i3QFKrxdbfyqtg8YYs6F+YjV11r3QZQjX9khiwDdZe0yxUP1Rv1uQn576wq205FQVU="/>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q8VDbHUokagaSjMdI0d9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ZuaRqXqM0eafU_y8yx07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QMxA9iNp0KIWCZDUqSSA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od_RpeUpUeLSeeIDz66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6sqsSr.D0e5l8bpxfUeFA"/>
</p:tagLst>
</file>

<file path=ppt/tags/tag15.xml><?xml version="1.0" encoding="utf-8"?>
<p:tagLst xmlns:a="http://schemas.openxmlformats.org/drawingml/2006/main" xmlns:r="http://schemas.openxmlformats.org/officeDocument/2006/relationships" xmlns:p="http://schemas.openxmlformats.org/presentationml/2006/main">
  <p:tag name="ISPRING_SLIDE_ID_2" val="{F119DB84-DE75-44CB-AE38-B8A931FE5A00}"/>
  <p:tag name="GENSWF_ADVANCE_TIME" val="5.000"/>
  <p:tag name="ISPRING_CUSTOM_TIMING_USED"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xx3ADCPsk2vGGrfYyZO6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xx3ADCPsk2vGGrfYyZO6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od_RpeUpUeLSeeIDz66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q8VDbHUokagaSjMdI0d9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K291ow5d0ivF5pJ6Qdi1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ryMGi3Af0Wr9_OI94.oD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dk8LPc660a.Sh673z1m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ZuaRqXqM0eafU_y8yx07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K291ow5d0ivF5pJ6Qdi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ryMGi3Af0Wr9_OI94.oDQ"/>
</p:tagLst>
</file>

<file path=ppt/theme/theme1.xml><?xml version="1.0" encoding="utf-8"?>
<a:theme xmlns:a="http://schemas.openxmlformats.org/drawingml/2006/main" name="Malik-CH-DE">
  <a:themeElements>
    <a:clrScheme name="Malik">
      <a:dk1>
        <a:srgbClr val="000000"/>
      </a:dk1>
      <a:lt1>
        <a:srgbClr val="FFFFFF"/>
      </a:lt1>
      <a:dk2>
        <a:srgbClr val="000000"/>
      </a:dk2>
      <a:lt2>
        <a:srgbClr val="E62614"/>
      </a:lt2>
      <a:accent1>
        <a:srgbClr val="15935A"/>
      </a:accent1>
      <a:accent2>
        <a:srgbClr val="C0C0C0"/>
      </a:accent2>
      <a:accent3>
        <a:srgbClr val="4B4B4B"/>
      </a:accent3>
      <a:accent4>
        <a:srgbClr val="345996"/>
      </a:accent4>
      <a:accent5>
        <a:srgbClr val="A6B8D0"/>
      </a:accent5>
      <a:accent6>
        <a:srgbClr val="6382AD"/>
      </a:accent6>
      <a:hlink>
        <a:srgbClr val="00007F"/>
      </a:hlink>
      <a:folHlink>
        <a:srgbClr val="800080"/>
      </a:folHlink>
    </a:clrScheme>
    <a:fontScheme name="Malik Vorlage Calibri">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accent4"/>
          </a:solidFill>
          <a:prstDash val="solid"/>
          <a:round/>
          <a:headEnd type="none" w="med" len="med"/>
          <a:tailEnd type="none" w="med" len="med"/>
        </a:ln>
        <a:effectLst/>
      </a:spPr>
      <a:bodyPr vert="horz" wrap="square" lIns="36000" tIns="46800" rIns="36000" bIns="46800" numCol="1" rtlCol="0" anchor="ctr" anchorCtr="0" compatLnSpc="1">
        <a:prstTxWarp prst="textNoShape">
          <a:avLst/>
        </a:prstTxWarp>
      </a:bodyPr>
      <a:lstStyle>
        <a:defPPr algn="ctr">
          <a:spcBef>
            <a:spcPts val="0"/>
          </a:spcBef>
          <a:spcAft>
            <a:spcPts val="0"/>
          </a:spcAft>
          <a:defRPr sz="1200" b="1" dirty="0" err="1" smtClean="0">
            <a:solidFill>
              <a:schemeClr val="tx1"/>
            </a:solidFill>
            <a:latin typeface="+mj-lt"/>
          </a:defRPr>
        </a:defPPr>
      </a:lstStyle>
    </a:spDef>
    <a:lnDef>
      <a:spPr bwMode="auto">
        <a:solidFill>
          <a:schemeClr val="accent1"/>
        </a:solidFill>
        <a:ln w="9525" cap="flat" cmpd="sng" algn="ctr">
          <a:solidFill>
            <a:schemeClr val="accent4"/>
          </a:solidFill>
          <a:prstDash val="solid"/>
          <a:round/>
          <a:headEnd type="none" w="med" len="med"/>
          <a:tailEnd type="none" w="med" len="med"/>
        </a:ln>
        <a:effectLst/>
      </a:spPr>
      <a:bodyPr/>
      <a:lstStyle/>
    </a:lnDef>
    <a:txDef>
      <a:spPr>
        <a:ln algn="ctr"/>
      </a:spPr>
      <a:bodyPr wrap="square" lIns="36000" tIns="36000" rIns="36000" bIns="36000" rtlCol="0" anchor="t">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sz="1200" i="0" u="none" strike="noStrike" kern="0" cap="none" spc="0" normalizeH="0" baseline="0" noProof="0" dirty="0" smtClean="0">
            <a:ln>
              <a:noFill/>
            </a:ln>
            <a:solidFill>
              <a:schemeClr val="tx1"/>
            </a:solidFill>
            <a:effectLst/>
            <a:uLnTx/>
            <a:uFillTx/>
            <a:latin typeface="+mn-lt"/>
            <a:ea typeface="+mj-ea"/>
            <a:cs typeface="+mj-cs"/>
          </a:defRPr>
        </a:defPPr>
      </a:lstStyle>
    </a:txDef>
  </a:objectDefaults>
  <a:extraClrSchemeLst>
    <a:extraClrScheme>
      <a:clrScheme name="Malik-MZSG-leer 1">
        <a:dk1>
          <a:srgbClr val="000000"/>
        </a:dk1>
        <a:lt1>
          <a:srgbClr val="FFFFFF"/>
        </a:lt1>
        <a:dk2>
          <a:srgbClr val="000000"/>
        </a:dk2>
        <a:lt2>
          <a:srgbClr val="808080"/>
        </a:lt2>
        <a:accent1>
          <a:srgbClr val="E3E3E3"/>
        </a:accent1>
        <a:accent2>
          <a:srgbClr val="D0D0D0"/>
        </a:accent2>
        <a:accent3>
          <a:srgbClr val="FFFFFF"/>
        </a:accent3>
        <a:accent4>
          <a:srgbClr val="000000"/>
        </a:accent4>
        <a:accent5>
          <a:srgbClr val="EFEFEF"/>
        </a:accent5>
        <a:accent6>
          <a:srgbClr val="BCBCBC"/>
        </a:accent6>
        <a:hlink>
          <a:srgbClr val="B0B0B0"/>
        </a:hlink>
        <a:folHlink>
          <a:srgbClr val="858585"/>
        </a:folHlink>
      </a:clrScheme>
      <a:clrMap bg1="lt1" tx1="dk1" bg2="lt2" tx2="dk2" accent1="accent1" accent2="accent2" accent3="accent3" accent4="accent4" accent5="accent5" accent6="accent6" hlink="hlink" folHlink="folHlink"/>
    </a:extraClrScheme>
    <a:extraClrScheme>
      <a:clrScheme name="Malik-MZSG-leer 2">
        <a:dk1>
          <a:srgbClr val="000000"/>
        </a:dk1>
        <a:lt1>
          <a:srgbClr val="FFFFFF"/>
        </a:lt1>
        <a:dk2>
          <a:srgbClr val="000000"/>
        </a:dk2>
        <a:lt2>
          <a:srgbClr val="FF0000"/>
        </a:lt2>
        <a:accent1>
          <a:srgbClr val="F0F0F0"/>
        </a:accent1>
        <a:accent2>
          <a:srgbClr val="DDDDDD"/>
        </a:accent2>
        <a:accent3>
          <a:srgbClr val="FFFFFF"/>
        </a:accent3>
        <a:accent4>
          <a:srgbClr val="000000"/>
        </a:accent4>
        <a:accent5>
          <a:srgbClr val="F6F6F6"/>
        </a:accent5>
        <a:accent6>
          <a:srgbClr val="C8C8C8"/>
        </a:accent6>
        <a:hlink>
          <a:srgbClr val="B2C2E0"/>
        </a:hlink>
        <a:folHlink>
          <a:srgbClr val="767CAD"/>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International_DE.potx" id="{C99CD118-2CE2-426B-81AB-7D16452E2C71}" vid="{FA4D2976-8664-44AC-85EA-6CBAD418DF86}"/>
    </a:ext>
  </a:extLst>
</a:theme>
</file>

<file path=ppt/theme/theme2.xml><?xml version="1.0" encoding="utf-8"?>
<a:theme xmlns:a="http://schemas.openxmlformats.org/drawingml/2006/main" name="Larissa-Design">
  <a:themeElements>
    <a:clrScheme name="Malik-MZSG-Colors">
      <a:dk1>
        <a:srgbClr val="000000"/>
      </a:dk1>
      <a:lt1>
        <a:srgbClr val="FFFFFF"/>
      </a:lt1>
      <a:dk2>
        <a:srgbClr val="000000"/>
      </a:dk2>
      <a:lt2>
        <a:srgbClr val="FF0000"/>
      </a:lt2>
      <a:accent1>
        <a:srgbClr val="EAEAEA"/>
      </a:accent1>
      <a:accent2>
        <a:srgbClr val="D6D6D6"/>
      </a:accent2>
      <a:accent3>
        <a:srgbClr val="A1A1A1"/>
      </a:accent3>
      <a:accent4>
        <a:srgbClr val="53608A"/>
      </a:accent4>
      <a:accent5>
        <a:srgbClr val="C8D2E8"/>
      </a:accent5>
      <a:accent6>
        <a:srgbClr val="767CAD"/>
      </a:accent6>
      <a:hlink>
        <a:srgbClr val="000000"/>
      </a:hlink>
      <a:folHlink>
        <a:srgbClr val="000000"/>
      </a:folHlink>
    </a:clrScheme>
    <a:fontScheme name="Malik-MZSG-Font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Malik-MZSG-Colors">
      <a:dk1>
        <a:srgbClr val="000000"/>
      </a:dk1>
      <a:lt1>
        <a:srgbClr val="FFFFFF"/>
      </a:lt1>
      <a:dk2>
        <a:srgbClr val="000000"/>
      </a:dk2>
      <a:lt2>
        <a:srgbClr val="FF0000"/>
      </a:lt2>
      <a:accent1>
        <a:srgbClr val="EAEAEA"/>
      </a:accent1>
      <a:accent2>
        <a:srgbClr val="D6D6D6"/>
      </a:accent2>
      <a:accent3>
        <a:srgbClr val="A1A1A1"/>
      </a:accent3>
      <a:accent4>
        <a:srgbClr val="53608A"/>
      </a:accent4>
      <a:accent5>
        <a:srgbClr val="C8D2E8"/>
      </a:accent5>
      <a:accent6>
        <a:srgbClr val="767CAD"/>
      </a:accent6>
      <a:hlink>
        <a:srgbClr val="C8D2E8"/>
      </a:hlink>
      <a:folHlink>
        <a:srgbClr val="767CAD"/>
      </a:folHlink>
    </a:clrScheme>
    <a:fontScheme name="Malik-MZSG-Font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ternational_DE</Template>
  <TotalTime>0</TotalTime>
  <Words>2255</Words>
  <Application>Microsoft Office PowerPoint</Application>
  <PresentationFormat>A4-Papier (210 x 297 mm)</PresentationFormat>
  <Paragraphs>429</Paragraphs>
  <Slides>40</Slides>
  <Notes>24</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40</vt:i4>
      </vt:variant>
    </vt:vector>
  </HeadingPairs>
  <TitlesOfParts>
    <vt:vector size="46" baseType="lpstr">
      <vt:lpstr>Arial</vt:lpstr>
      <vt:lpstr>Calibri</vt:lpstr>
      <vt:lpstr>Symbol</vt:lpstr>
      <vt:lpstr>Wingdings</vt:lpstr>
      <vt:lpstr>Malik-CH-DE</vt:lpstr>
      <vt:lpstr>think-cell Slide</vt:lpstr>
      <vt:lpstr>“Die Grosse Transformation21”und der Klimawandel  Herausforderungen und Lösungen  25 Jahre REM e.V.</vt:lpstr>
      <vt:lpstr>Prof. Dr. oec. habil. Fredmund Malik; Vorsitzender Malik Institute Wirksame Lösungen für die Klima-Herausforderungen und ihre Komplexität  </vt:lpstr>
      <vt:lpstr>Wie es vor 15 Jahren angefangen hat  Die Ecopolicyade in Deutschland </vt:lpstr>
      <vt:lpstr>ecopolicyade®  Germanywide Finals in the German Parliament, Berlin 2010</vt:lpstr>
      <vt:lpstr>ecopolicyade® Contest 2009 The Finals and the Winning Teams in the German Parliament </vt:lpstr>
      <vt:lpstr>Excited students at the Final competition of one School</vt:lpstr>
      <vt:lpstr>Listening in silence </vt:lpstr>
      <vt:lpstr>ecopolicyade®  2005 - 2008 - 2010 - 2011 - 2014 - bundesweit &amp; international </vt:lpstr>
      <vt:lpstr>ecopolicyade®  The finals in Berlin 2008 </vt:lpstr>
      <vt:lpstr>ecopolicyade® - Students and Politicians inSchleswig- Holstein 2008 “Statal Leaders with Virtual Vision“ </vt:lpstr>
      <vt:lpstr>PowerPoint-Präsentation</vt:lpstr>
      <vt:lpstr>TV-News Lower Saxony 2006 “Management Game for Governance“ </vt:lpstr>
      <vt:lpstr>Die «Grosse Transformation21»:  Was ändert sich?   </vt:lpstr>
      <vt:lpstr>Das Muster der Grossen Transformation21. Das Grundgesetz des Wandels  Die Alte Welt, die wir kennen, wird verdrängt durch die Neue Welt die wir noch nicht kennen.  Das Bild des Wandels durch Substitution (Schöpferische Zerstörung).   </vt:lpstr>
      <vt:lpstr>Vier Haupt-Triebkräfte der Grossen Transformation  und eine 5. neue Kraft …   die gemeinsam zu einer neuen Realität führen.  Die Alte Welt, wie wir sie kennen, wird verdrängt von einer Neuen Welt, die noch weitgehend unbekannt ist.   Treiber 1 : Digitalisierung  Haupteffekt:  Globale Vernetzung alles mit allem   Treiber 2: Bevölkerungsstruktur Überalterung in den entwickelten Ländern  überforderte Sozialsysteme, mangelnde digitale Ausbildung,  Wanderungsbewegungen aus unterentwickelten Ländern  Treiber 3 : Ökologie  Auch dann ernst zu nehmen, wenn man nicht allen Wissenschaftlern  zustimmen will. Unter anderem geht es auch um soziale Verwerfungen  Treiber 4: Ökonomie  Hauptfaktor weltweite Verschuldung, bisher aufgefangen durch Notenbanken und Nullzinsen radikaler Preiszerfall durch Digitale Lösungen,  drohende Handelskriege, Gegeneinander statt Miteinander       </vt:lpstr>
      <vt:lpstr>Der entscheidende 5. Faktor als neue Realität ist die exponentiell steigende,   sich selbst verstärkende Komplexität.   Deswegen greifen die bisherigen Methoden zu kurz  Sie ist Gefahr und Chance zugleich. Ihre Quelle ist die Vernetzung der 4 Haupt-Triebkräfte - Weltweit in immer mehr Bereichen,  die sich vernetzen  - wachsende politische und soziale Instabilität,  weil die bisherigen Regierungssysteme mit der Komplexität nicht Schritt halten - Zerfallen bisheriger  Zusammenschlüsse von Ländern -  volatile Finanzmärkte - neue Risiken durch die Cyber-Kriminalität, Erpressung und Hacking - Verfälschung der medialen Berichterstattung, Faked News, systematische  Desinformation und Missbrauch von Daten     Siehe dazu meine bereits einleitend aufgeführten Bücher: 1. Unternehmenspolitik und Corporate Governance: Wie Organisationen sich selbst organisieren  2. Strategie – Navigieren in der Komplexität der Neuen Welt  Navigieren in Zeiten des Umbruchs          </vt:lpstr>
      <vt:lpstr>Die Grosse Transformation21.  Das Grundgesetz des Wandels  Von der Alten Welt, die wir kennen, zu einer Neuen Welt die wir noch nicht kennen. Das Bild des Wandels durch Substitution. </vt:lpstr>
      <vt:lpstr>Die Grosse Transformation21.  Das Grundgesetz des Wandels  Von der Alten Welt, die wir kennen, zu einer Neuen Welt die wir noch nicht kennen. Das Bild des Wandels durch Substitution. </vt:lpstr>
      <vt:lpstr>WIE WIR DEN WANDEL MEISTERN  </vt:lpstr>
      <vt:lpstr>Um heute richtig handeln zu können, muss man die Muster des Wandels kennen. Herkömmliche Navigationssysteme geben an diesem Punkt systematisch irreführende Signale. An dieser Stelle braucht man drei Strategien, nicht nur eine: Strategie 1: Für die rote Kurve, solange sie etwas hergibt. Strategie 2: Die grüne Kurve rechtzeitig aufbauen, damit man sie hat, wenn man sie braucht. Strategie 3: Für den Übergang von der roten auf die grüne Kurve. </vt:lpstr>
      <vt:lpstr>Um heute richtig handeln zu können, muss man die Muster des Wandels kennen. Herkömmliche Navigationssysteme geben an diesem Punkt systematisch irreführende Signale. An dieser Stelle braucht man drei Strategien, nicht nur eine: Strategie 1: Für die rote Kurve, solange sie etwas hergibt. Strategie 2: Die grüne Kurve rechtzeitig aufbauen, damit man sie hat, wenn man sie braucht. Strategie 3: Für den Übergang von der roten auf die grüne Kurve. </vt:lpstr>
      <vt:lpstr>Das Wachstum kann weitergehen, aber auf einem anderen Pfad. Wenn komplexe Systeme zu stark gestretcht werden, können sie kollabieren. </vt:lpstr>
      <vt:lpstr>Wie wir die Transformation meistern können.   Und wie wir mit der wachsenden Komplexität der natürlichen Systeme und vom Menschen gemachten Systeme umgehen können.   Und wie wir diese Komplexität sogar nützen können.   Dargelegt an ein paar Beispielen ...     </vt:lpstr>
      <vt:lpstr>Systemdiagnose „SMART Klima“  Die Faktoren für die Hochleistungsorganisation - und wie sie zusammenhängen</vt:lpstr>
      <vt:lpstr>38 TeilnehmerInnen diskutieren und gestalten die Zukunft … </vt:lpstr>
      <vt:lpstr>Systemmodell SMARTilience (Initiative des deutschen Forschungsministeriums) Aus den Diskussionen und Ergebnissen der Syntegration wurden 22 wesentliche Faktoren abgeleitet.  Daran nahmen rund 45 Personen teil und die Städte Mannheim und Halle   Die Einfluss-Faktoren für die Verbesserung des Klimas</vt:lpstr>
      <vt:lpstr>19 Einfluss-Faktoren und ihre – noch - unsichtbaren Regelkreise … </vt:lpstr>
      <vt:lpstr>… die erst mit system-kybernetischen Methoden erkennbar sind </vt:lpstr>
      <vt:lpstr>Die zwei stärksten Einflussfaktoren von SMARTilience, wie sie wirken… Das „Röntgenbild“ für die Rettung des Klimas   </vt:lpstr>
      <vt:lpstr>… und wie Gemeinsame/ Wirksame Strategie und Verbindlichkeiten  schaffen auf sie wirken </vt:lpstr>
      <vt:lpstr>Die Wirkungs-Risiko Systemkarte Wie das System funktioniert</vt:lpstr>
      <vt:lpstr>Ein Motor der Transformation, der für das SMARTilience System genutzt werden kann </vt:lpstr>
      <vt:lpstr>Systemische Priorisierung der Handlungsempfehlungen durch das Malik Experten-Team 15 (=65%) der Handlungsempfehlungen machen &gt; 80% der Wirkung</vt:lpstr>
      <vt:lpstr>Das Wachstum kann weitergehen, aber auf einem anderen Pfad. Wenn komplexe Systeme zu stark gestretcht werden, können sie kollabieren. </vt:lpstr>
      <vt:lpstr>Kommunikation Richtig, verständlich, zuverlässig und wirksam    Kurze Anmerkungen zur Syntegrations-Methode Syntegration = Syn-ergie + In-tegration  Die beste und schnellste Methode  für die grossen Herausforderungen  </vt:lpstr>
      <vt:lpstr>PowerPoint-Präsentation</vt:lpstr>
      <vt:lpstr>Kommunikation Kommunikationsdurchlauf Version 2 </vt:lpstr>
      <vt:lpstr>Kommunikation Kommunikationsdurchlauf Version 2 </vt:lpstr>
      <vt:lpstr>Neue Herausforderung „Komplexität“ Die Folge der Digitalisierung ist Vernetzung.  Und aus Vernetzung entsteht Komplexität   Soll man sie reduzieren?  Oder verstärken und nutzen!  Komplexität ist der neue Rohstoff der neuen Welt Komplexität ist die Quelle für Intelligenz und Kreativität Sie liefert neue Lösungen für bisher unlösbare Herausforderungen </vt:lpstr>
      <vt:lpstr>  </vt:lpstr>
    </vt:vector>
  </TitlesOfParts>
  <Company>Malik Managemen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e Grosse Transformation21”</dc:title>
  <dc:creator>Malik, Fredmund</dc:creator>
  <cp:lastModifiedBy>Hazeraj, Jetmire</cp:lastModifiedBy>
  <cp:revision>77</cp:revision>
  <cp:lastPrinted>2017-04-06T06:46:55Z</cp:lastPrinted>
  <dcterms:created xsi:type="dcterms:W3CDTF">2019-11-24T15:02:36Z</dcterms:created>
  <dcterms:modified xsi:type="dcterms:W3CDTF">2019-11-25T15:34:46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jektnummer">
    <vt:lpwstr> </vt:lpwstr>
  </property>
  <property fmtid="{D5CDD505-2E9C-101B-9397-08002B2CF9AE}" pid="3" name="Doc-ID">
    <vt:lpwstr> </vt:lpwstr>
  </property>
  <property fmtid="{D5CDD505-2E9C-101B-9397-08002B2CF9AE}" pid="4" name="Datum">
    <vt:lpwstr>dd.mm.yyyy</vt:lpwstr>
  </property>
  <property fmtid="{D5CDD505-2E9C-101B-9397-08002B2CF9AE}" pid="5" name="Ort">
    <vt:lpwstr>St.Gallen</vt:lpwstr>
  </property>
  <property fmtid="{D5CDD505-2E9C-101B-9397-08002B2CF9AE}" pid="6" name="Malik-MZSG">
    <vt:bool>true</vt:bool>
  </property>
  <property fmtid="{D5CDD505-2E9C-101B-9397-08002B2CF9AE}" pid="7" name="Sprache">
    <vt:lpwstr>English (United Kingdom)</vt:lpwstr>
  </property>
  <property fmtid="{D5CDD505-2E9C-101B-9397-08002B2CF9AE}" pid="8" name="Kundenlogo">
    <vt:bool>false</vt:bool>
  </property>
  <property fmtid="{D5CDD505-2E9C-101B-9397-08002B2CF9AE}" pid="9" name="Name Funktion">
    <vt:lpwstr> </vt:lpwstr>
  </property>
  <property fmtid="{D5CDD505-2E9C-101B-9397-08002B2CF9AE}" pid="10" name="_CustomerlogoTitle">
    <vt:bool>false</vt:bool>
  </property>
  <property fmtid="{D5CDD505-2E9C-101B-9397-08002B2CF9AE}" pid="11" name="_CustomerlogoSlide">
    <vt:bool>false</vt:bool>
  </property>
  <property fmtid="{D5CDD505-2E9C-101B-9397-08002B2CF9AE}" pid="12" name="_Active">
    <vt:lpwstr> </vt:lpwstr>
  </property>
</Properties>
</file>